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2.xml" ContentType="application/vnd.openxmlformats-officedocument.them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44" r:id="rId1"/>
  </p:sldMasterIdLst>
  <p:notesMasterIdLst>
    <p:notesMasterId r:id="rId4"/>
  </p:notesMasterIdLst>
  <p:sldIdLst>
    <p:sldId id="258" r:id="rId2"/>
    <p:sldId id="257" r:id="rId3"/>
  </p:sldIdLst>
  <p:sldSz cx="12192000" cy="6858000"/>
  <p:notesSz cx="6858000" cy="9144000"/>
  <p:custDataLst>
    <p:tags r:id="rId5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BDD5470-D571-454E-BC54-C635A312B0DF}" v="392" dt="2024-04-19T18:40:48.277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>
        <p:scale>
          <a:sx n="125" d="100"/>
          <a:sy n="125" d="100"/>
        </p:scale>
        <p:origin x="90" y="-33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11" Type="http://schemas.microsoft.com/office/2015/10/relationships/revisionInfo" Target="revisionInfo.xml"/><Relationship Id="rId5" Type="http://schemas.openxmlformats.org/officeDocument/2006/relationships/tags" Target="tags/tag1.xml"/><Relationship Id="rId10" Type="http://schemas.microsoft.com/office/2016/11/relationships/changesInfo" Target="changesInfos/changesInfo1.xml"/><Relationship Id="rId4" Type="http://schemas.openxmlformats.org/officeDocument/2006/relationships/notesMaster" Target="notesMasters/notesMaster1.xml"/><Relationship Id="rId9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icardo Omar Hernandez" userId="0bbf43ff-7497-4e18-ba51-e8372d008d2e" providerId="ADAL" clId="{4BDD5470-D571-454E-BC54-C635A312B0DF}"/>
    <pc:docChg chg="undo redo custSel addSld delSld modSld modMainMaster replTag delTag">
      <pc:chgData name="Ricardo Omar Hernandez" userId="0bbf43ff-7497-4e18-ba51-e8372d008d2e" providerId="ADAL" clId="{4BDD5470-D571-454E-BC54-C635A312B0DF}" dt="2024-04-19T18:40:49.446" v="29777"/>
      <pc:docMkLst>
        <pc:docMk/>
      </pc:docMkLst>
      <pc:sldChg chg="modSp new del">
        <pc:chgData name="Ricardo Omar Hernandez" userId="0bbf43ff-7497-4e18-ba51-e8372d008d2e" providerId="ADAL" clId="{4BDD5470-D571-454E-BC54-C635A312B0DF}" dt="2024-04-19T15:11:14.150" v="25583" actId="47"/>
        <pc:sldMkLst>
          <pc:docMk/>
          <pc:sldMk cId="2369657417" sldId="256"/>
        </pc:sldMkLst>
        <pc:spChg chg="mod">
          <ac:chgData name="Ricardo Omar Hernandez" userId="0bbf43ff-7497-4e18-ba51-e8372d008d2e" providerId="ADAL" clId="{4BDD5470-D571-454E-BC54-C635A312B0DF}" dt="2024-04-19T15:11:04.527" v="25581"/>
          <ac:spMkLst>
            <pc:docMk/>
            <pc:sldMk cId="2369657417" sldId="256"/>
            <ac:spMk id="2" creationId="{6F72C1C7-0C3A-F56E-784E-74BDF596769F}"/>
          </ac:spMkLst>
        </pc:spChg>
        <pc:spChg chg="mod">
          <ac:chgData name="Ricardo Omar Hernandez" userId="0bbf43ff-7497-4e18-ba51-e8372d008d2e" providerId="ADAL" clId="{4BDD5470-D571-454E-BC54-C635A312B0DF}" dt="2024-04-19T15:11:04.527" v="25581"/>
          <ac:spMkLst>
            <pc:docMk/>
            <pc:sldMk cId="2369657417" sldId="256"/>
            <ac:spMk id="3" creationId="{297B1B8E-F24F-38FD-8241-5A4846C8E90B}"/>
          </ac:spMkLst>
        </pc:spChg>
      </pc:sldChg>
      <pc:sldChg chg="addSp delSp modSp new mod">
        <pc:chgData name="Ricardo Omar Hernandez" userId="0bbf43ff-7497-4e18-ba51-e8372d008d2e" providerId="ADAL" clId="{4BDD5470-D571-454E-BC54-C635A312B0DF}" dt="2024-04-19T18:40:49.423" v="29775"/>
        <pc:sldMkLst>
          <pc:docMk/>
          <pc:sldMk cId="528512669" sldId="257"/>
        </pc:sldMkLst>
        <pc:spChg chg="add del mod ord replST delST">
          <ac:chgData name="Ricardo Omar Hernandez" userId="0bbf43ff-7497-4e18-ba51-e8372d008d2e" providerId="ADAL" clId="{4BDD5470-D571-454E-BC54-C635A312B0DF}" dt="2024-04-19T15:13:22.335" v="26039" actId="478"/>
          <ac:spMkLst>
            <pc:docMk/>
            <pc:sldMk cId="528512669" sldId="257"/>
            <ac:spMk id="2" creationId="{4C323B7D-ACF7-E4A6-BF78-D15824BC8AE6}"/>
          </ac:spMkLst>
        </pc:spChg>
        <pc:spChg chg="del">
          <ac:chgData name="Ricardo Omar Hernandez" userId="0bbf43ff-7497-4e18-ba51-e8372d008d2e" providerId="ADAL" clId="{4BDD5470-D571-454E-BC54-C635A312B0DF}" dt="2024-04-18T16:44:15.514" v="8" actId="478"/>
          <ac:spMkLst>
            <pc:docMk/>
            <pc:sldMk cId="528512669" sldId="257"/>
            <ac:spMk id="2" creationId="{DCEA35A9-9D79-9FE2-2DB0-F423AE3209FE}"/>
          </ac:spMkLst>
        </pc:spChg>
        <pc:spChg chg="add del mod">
          <ac:chgData name="Ricardo Omar Hernandez" userId="0bbf43ff-7497-4e18-ba51-e8372d008d2e" providerId="ADAL" clId="{4BDD5470-D571-454E-BC54-C635A312B0DF}" dt="2024-04-18T20:13:16.100" v="768"/>
          <ac:spMkLst>
            <pc:docMk/>
            <pc:sldMk cId="528512669" sldId="257"/>
            <ac:spMk id="3" creationId="{A317760E-AF1F-C1BB-ECAB-1AF3E70FA188}"/>
          </ac:spMkLst>
        </pc:spChg>
        <pc:spChg chg="add del mod ord replST">
          <ac:chgData name="Ricardo Omar Hernandez" userId="0bbf43ff-7497-4e18-ba51-e8372d008d2e" providerId="ADAL" clId="{4BDD5470-D571-454E-BC54-C635A312B0DF}" dt="2024-04-18T17:06:12.523" v="30"/>
          <ac:spMkLst>
            <pc:docMk/>
            <pc:sldMk cId="528512669" sldId="257"/>
            <ac:spMk id="4" creationId="{7241664D-A0C2-B32A-D33F-26AF49CC287F}"/>
          </ac:spMkLst>
        </pc:spChg>
        <pc:spChg chg="add mod topLvl modVis replST delST">
          <ac:chgData name="Ricardo Omar Hernandez" userId="0bbf43ff-7497-4e18-ba51-e8372d008d2e" providerId="ADAL" clId="{4BDD5470-D571-454E-BC54-C635A312B0DF}" dt="2024-04-19T18:40:49.423" v="29775"/>
          <ac:spMkLst>
            <pc:docMk/>
            <pc:sldMk cId="528512669" sldId="257"/>
            <ac:spMk id="6" creationId="{EC3ABF94-C91A-52E0-9189-6BAD9C7C40C1}"/>
          </ac:spMkLst>
        </pc:spChg>
        <pc:spChg chg="add mod ord topLvl replST">
          <ac:chgData name="Ricardo Omar Hernandez" userId="0bbf43ff-7497-4e18-ba51-e8372d008d2e" providerId="ADAL" clId="{4BDD5470-D571-454E-BC54-C635A312B0DF}" dt="2024-04-19T18:40:48.356" v="29738"/>
          <ac:spMkLst>
            <pc:docMk/>
            <pc:sldMk cId="528512669" sldId="257"/>
            <ac:spMk id="7" creationId="{B874E3CA-3DFA-7DE4-F423-7024449B0DCD}"/>
          </ac:spMkLst>
        </pc:spChg>
        <pc:spChg chg="add mod ord topLvl replST">
          <ac:chgData name="Ricardo Omar Hernandez" userId="0bbf43ff-7497-4e18-ba51-e8372d008d2e" providerId="ADAL" clId="{4BDD5470-D571-454E-BC54-C635A312B0DF}" dt="2024-04-19T18:40:48.356" v="29738"/>
          <ac:spMkLst>
            <pc:docMk/>
            <pc:sldMk cId="528512669" sldId="257"/>
            <ac:spMk id="8" creationId="{53F1075E-A420-FA16-A3BB-0E1FF085041B}"/>
          </ac:spMkLst>
        </pc:spChg>
        <pc:spChg chg="add mod ord topLvl replST">
          <ac:chgData name="Ricardo Omar Hernandez" userId="0bbf43ff-7497-4e18-ba51-e8372d008d2e" providerId="ADAL" clId="{4BDD5470-D571-454E-BC54-C635A312B0DF}" dt="2024-04-19T18:40:48.356" v="29738"/>
          <ac:spMkLst>
            <pc:docMk/>
            <pc:sldMk cId="528512669" sldId="257"/>
            <ac:spMk id="9" creationId="{A0A52F95-E30B-768C-2792-81817936A662}"/>
          </ac:spMkLst>
        </pc:spChg>
        <pc:spChg chg="add mod ord topLvl replST">
          <ac:chgData name="Ricardo Omar Hernandez" userId="0bbf43ff-7497-4e18-ba51-e8372d008d2e" providerId="ADAL" clId="{4BDD5470-D571-454E-BC54-C635A312B0DF}" dt="2024-04-19T18:40:48.356" v="29738"/>
          <ac:spMkLst>
            <pc:docMk/>
            <pc:sldMk cId="528512669" sldId="257"/>
            <ac:spMk id="10" creationId="{70B99247-50FA-896C-03C9-1290357129E7}"/>
          </ac:spMkLst>
        </pc:spChg>
        <pc:spChg chg="add mod ord topLvl replST">
          <ac:chgData name="Ricardo Omar Hernandez" userId="0bbf43ff-7497-4e18-ba51-e8372d008d2e" providerId="ADAL" clId="{4BDD5470-D571-454E-BC54-C635A312B0DF}" dt="2024-04-19T18:40:48.356" v="29738"/>
          <ac:spMkLst>
            <pc:docMk/>
            <pc:sldMk cId="528512669" sldId="257"/>
            <ac:spMk id="11" creationId="{F2F26A6B-3641-546B-AFE5-CBFA6C3A0C24}"/>
          </ac:spMkLst>
        </pc:spChg>
        <pc:spChg chg="add mod ord topLvl replST">
          <ac:chgData name="Ricardo Omar Hernandez" userId="0bbf43ff-7497-4e18-ba51-e8372d008d2e" providerId="ADAL" clId="{4BDD5470-D571-454E-BC54-C635A312B0DF}" dt="2024-04-19T18:40:48.356" v="29738"/>
          <ac:spMkLst>
            <pc:docMk/>
            <pc:sldMk cId="528512669" sldId="257"/>
            <ac:spMk id="12" creationId="{12075341-ACD8-8A86-70B1-E9B9577CD11C}"/>
          </ac:spMkLst>
        </pc:spChg>
        <pc:spChg chg="add mod ord topLvl replST">
          <ac:chgData name="Ricardo Omar Hernandez" userId="0bbf43ff-7497-4e18-ba51-e8372d008d2e" providerId="ADAL" clId="{4BDD5470-D571-454E-BC54-C635A312B0DF}" dt="2024-04-19T18:40:48.356" v="29738"/>
          <ac:spMkLst>
            <pc:docMk/>
            <pc:sldMk cId="528512669" sldId="257"/>
            <ac:spMk id="13" creationId="{F556502A-A7C9-F6A8-BD3E-1A9655BE69FF}"/>
          </ac:spMkLst>
        </pc:spChg>
        <pc:spChg chg="add mod ord topLvl replST">
          <ac:chgData name="Ricardo Omar Hernandez" userId="0bbf43ff-7497-4e18-ba51-e8372d008d2e" providerId="ADAL" clId="{4BDD5470-D571-454E-BC54-C635A312B0DF}" dt="2024-04-19T18:40:48.356" v="29738"/>
          <ac:spMkLst>
            <pc:docMk/>
            <pc:sldMk cId="528512669" sldId="257"/>
            <ac:spMk id="14" creationId="{43E36B62-3380-E2C6-814D-1C301EE45280}"/>
          </ac:spMkLst>
        </pc:spChg>
        <pc:spChg chg="add mod ord topLvl replST">
          <ac:chgData name="Ricardo Omar Hernandez" userId="0bbf43ff-7497-4e18-ba51-e8372d008d2e" providerId="ADAL" clId="{4BDD5470-D571-454E-BC54-C635A312B0DF}" dt="2024-04-19T18:40:48.356" v="29738"/>
          <ac:spMkLst>
            <pc:docMk/>
            <pc:sldMk cId="528512669" sldId="257"/>
            <ac:spMk id="15" creationId="{144CA99F-6E04-4B21-2737-CC743BE0C8EA}"/>
          </ac:spMkLst>
        </pc:spChg>
        <pc:spChg chg="add mod ord topLvl replST">
          <ac:chgData name="Ricardo Omar Hernandez" userId="0bbf43ff-7497-4e18-ba51-e8372d008d2e" providerId="ADAL" clId="{4BDD5470-D571-454E-BC54-C635A312B0DF}" dt="2024-04-19T18:40:48.356" v="29738"/>
          <ac:spMkLst>
            <pc:docMk/>
            <pc:sldMk cId="528512669" sldId="257"/>
            <ac:spMk id="16" creationId="{2914C590-8B56-078F-8C51-4CC939B99F2B}"/>
          </ac:spMkLst>
        </pc:spChg>
        <pc:spChg chg="add mod ord topLvl replST">
          <ac:chgData name="Ricardo Omar Hernandez" userId="0bbf43ff-7497-4e18-ba51-e8372d008d2e" providerId="ADAL" clId="{4BDD5470-D571-454E-BC54-C635A312B0DF}" dt="2024-04-19T18:40:48.356" v="29738"/>
          <ac:spMkLst>
            <pc:docMk/>
            <pc:sldMk cId="528512669" sldId="257"/>
            <ac:spMk id="17" creationId="{19CCBB93-BA7C-1A6E-BE4E-70CFB6642A9C}"/>
          </ac:spMkLst>
        </pc:spChg>
        <pc:spChg chg="add mod ord topLvl replST">
          <ac:chgData name="Ricardo Omar Hernandez" userId="0bbf43ff-7497-4e18-ba51-e8372d008d2e" providerId="ADAL" clId="{4BDD5470-D571-454E-BC54-C635A312B0DF}" dt="2024-04-19T18:40:48.356" v="29738"/>
          <ac:spMkLst>
            <pc:docMk/>
            <pc:sldMk cId="528512669" sldId="257"/>
            <ac:spMk id="18" creationId="{FC057803-0A16-8A81-ED95-1E7FD501D03A}"/>
          </ac:spMkLst>
        </pc:spChg>
        <pc:spChg chg="add mod ord topLvl replST">
          <ac:chgData name="Ricardo Omar Hernandez" userId="0bbf43ff-7497-4e18-ba51-e8372d008d2e" providerId="ADAL" clId="{4BDD5470-D571-454E-BC54-C635A312B0DF}" dt="2024-04-19T18:40:48.356" v="29738"/>
          <ac:spMkLst>
            <pc:docMk/>
            <pc:sldMk cId="528512669" sldId="257"/>
            <ac:spMk id="19" creationId="{82105F27-6C5B-7E44-D1F9-E129EAD7F287}"/>
          </ac:spMkLst>
        </pc:spChg>
        <pc:spChg chg="add mod ord topLvl replST">
          <ac:chgData name="Ricardo Omar Hernandez" userId="0bbf43ff-7497-4e18-ba51-e8372d008d2e" providerId="ADAL" clId="{4BDD5470-D571-454E-BC54-C635A312B0DF}" dt="2024-04-19T18:40:48.356" v="29738"/>
          <ac:spMkLst>
            <pc:docMk/>
            <pc:sldMk cId="528512669" sldId="257"/>
            <ac:spMk id="20" creationId="{B5BD13D4-08B1-FCFC-8B82-548D7574A50E}"/>
          </ac:spMkLst>
        </pc:spChg>
        <pc:spChg chg="add mod ord topLvl replST">
          <ac:chgData name="Ricardo Omar Hernandez" userId="0bbf43ff-7497-4e18-ba51-e8372d008d2e" providerId="ADAL" clId="{4BDD5470-D571-454E-BC54-C635A312B0DF}" dt="2024-04-19T18:40:48.356" v="29738"/>
          <ac:spMkLst>
            <pc:docMk/>
            <pc:sldMk cId="528512669" sldId="257"/>
            <ac:spMk id="21" creationId="{4ECD7A71-9BC2-5B6B-E3E0-35B506A14685}"/>
          </ac:spMkLst>
        </pc:spChg>
        <pc:spChg chg="add mod ord topLvl replST">
          <ac:chgData name="Ricardo Omar Hernandez" userId="0bbf43ff-7497-4e18-ba51-e8372d008d2e" providerId="ADAL" clId="{4BDD5470-D571-454E-BC54-C635A312B0DF}" dt="2024-04-19T18:40:48.356" v="29738"/>
          <ac:spMkLst>
            <pc:docMk/>
            <pc:sldMk cId="528512669" sldId="257"/>
            <ac:spMk id="22" creationId="{D6CF148F-6310-4DD8-234E-3C6A22233841}"/>
          </ac:spMkLst>
        </pc:spChg>
        <pc:spChg chg="add del mod ord topLvl replST">
          <ac:chgData name="Ricardo Omar Hernandez" userId="0bbf43ff-7497-4e18-ba51-e8372d008d2e" providerId="ADAL" clId="{4BDD5470-D571-454E-BC54-C635A312B0DF}" dt="2024-04-18T20:13:42.704" v="983"/>
          <ac:spMkLst>
            <pc:docMk/>
            <pc:sldMk cId="528512669" sldId="257"/>
            <ac:spMk id="23" creationId="{9CA694AD-0ADC-BBC3-FFBD-DF13C7B62BEB}"/>
          </ac:spMkLst>
        </pc:spChg>
        <pc:spChg chg="add mod ord topLvl replST">
          <ac:chgData name="Ricardo Omar Hernandez" userId="0bbf43ff-7497-4e18-ba51-e8372d008d2e" providerId="ADAL" clId="{4BDD5470-D571-454E-BC54-C635A312B0DF}" dt="2024-04-19T18:40:48.356" v="29738"/>
          <ac:spMkLst>
            <pc:docMk/>
            <pc:sldMk cId="528512669" sldId="257"/>
            <ac:spMk id="24" creationId="{FA3F4FFD-BE32-BFAA-88E0-5B230035E5B3}"/>
          </ac:spMkLst>
        </pc:spChg>
        <pc:spChg chg="add del mod ord topLvl replST">
          <ac:chgData name="Ricardo Omar Hernandez" userId="0bbf43ff-7497-4e18-ba51-e8372d008d2e" providerId="ADAL" clId="{4BDD5470-D571-454E-BC54-C635A312B0DF}" dt="2024-04-18T20:26:41.344" v="5445"/>
          <ac:spMkLst>
            <pc:docMk/>
            <pc:sldMk cId="528512669" sldId="257"/>
            <ac:spMk id="25" creationId="{B10A0EC7-94FF-DAD5-CCE7-E7F2D8DC2900}"/>
          </ac:spMkLst>
        </pc:spChg>
        <pc:spChg chg="add mod ord topLvl replST">
          <ac:chgData name="Ricardo Omar Hernandez" userId="0bbf43ff-7497-4e18-ba51-e8372d008d2e" providerId="ADAL" clId="{4BDD5470-D571-454E-BC54-C635A312B0DF}" dt="2024-04-19T18:40:48.356" v="29738"/>
          <ac:spMkLst>
            <pc:docMk/>
            <pc:sldMk cId="528512669" sldId="257"/>
            <ac:spMk id="26" creationId="{DAA5ADBE-E39C-D2AE-8B7C-7894BB1E81C6}"/>
          </ac:spMkLst>
        </pc:spChg>
        <pc:spChg chg="add mod ord topLvl replST">
          <ac:chgData name="Ricardo Omar Hernandez" userId="0bbf43ff-7497-4e18-ba51-e8372d008d2e" providerId="ADAL" clId="{4BDD5470-D571-454E-BC54-C635A312B0DF}" dt="2024-04-19T18:40:48.356" v="29738"/>
          <ac:spMkLst>
            <pc:docMk/>
            <pc:sldMk cId="528512669" sldId="257"/>
            <ac:spMk id="27" creationId="{FB90FC84-7EA1-CCB0-2A21-5F052CC300C4}"/>
          </ac:spMkLst>
        </pc:spChg>
        <pc:spChg chg="add mod ord topLvl replST">
          <ac:chgData name="Ricardo Omar Hernandez" userId="0bbf43ff-7497-4e18-ba51-e8372d008d2e" providerId="ADAL" clId="{4BDD5470-D571-454E-BC54-C635A312B0DF}" dt="2024-04-19T18:40:48.356" v="29738"/>
          <ac:spMkLst>
            <pc:docMk/>
            <pc:sldMk cId="528512669" sldId="257"/>
            <ac:spMk id="28" creationId="{4192C9D9-5D5E-F55A-3761-F3482A6BF064}"/>
          </ac:spMkLst>
        </pc:spChg>
        <pc:spChg chg="add mod ord topLvl replST">
          <ac:chgData name="Ricardo Omar Hernandez" userId="0bbf43ff-7497-4e18-ba51-e8372d008d2e" providerId="ADAL" clId="{4BDD5470-D571-454E-BC54-C635A312B0DF}" dt="2024-04-19T18:40:48.356" v="29738"/>
          <ac:spMkLst>
            <pc:docMk/>
            <pc:sldMk cId="528512669" sldId="257"/>
            <ac:spMk id="29" creationId="{5DDFC5FF-AF06-B1EF-4203-F25AB3EEBBAA}"/>
          </ac:spMkLst>
        </pc:spChg>
        <pc:spChg chg="add mod ord topLvl replST">
          <ac:chgData name="Ricardo Omar Hernandez" userId="0bbf43ff-7497-4e18-ba51-e8372d008d2e" providerId="ADAL" clId="{4BDD5470-D571-454E-BC54-C635A312B0DF}" dt="2024-04-19T18:40:48.356" v="29738"/>
          <ac:spMkLst>
            <pc:docMk/>
            <pc:sldMk cId="528512669" sldId="257"/>
            <ac:spMk id="42" creationId="{5E0A5B2E-F6B1-F8BF-C81A-3769A1654349}"/>
          </ac:spMkLst>
        </pc:spChg>
        <pc:spChg chg="add mod ord topLvl replST">
          <ac:chgData name="Ricardo Omar Hernandez" userId="0bbf43ff-7497-4e18-ba51-e8372d008d2e" providerId="ADAL" clId="{4BDD5470-D571-454E-BC54-C635A312B0DF}" dt="2024-04-19T18:40:48.356" v="29738"/>
          <ac:spMkLst>
            <pc:docMk/>
            <pc:sldMk cId="528512669" sldId="257"/>
            <ac:spMk id="46" creationId="{59768E68-B566-3699-152E-F2D5B93A96DA}"/>
          </ac:spMkLst>
        </pc:spChg>
        <pc:spChg chg="add mod ord topLvl replST">
          <ac:chgData name="Ricardo Omar Hernandez" userId="0bbf43ff-7497-4e18-ba51-e8372d008d2e" providerId="ADAL" clId="{4BDD5470-D571-454E-BC54-C635A312B0DF}" dt="2024-04-19T18:40:48.356" v="29738"/>
          <ac:spMkLst>
            <pc:docMk/>
            <pc:sldMk cId="528512669" sldId="257"/>
            <ac:spMk id="47" creationId="{7C278C7F-3D82-9EBE-5475-956A94501E76}"/>
          </ac:spMkLst>
        </pc:spChg>
        <pc:spChg chg="add del mod ord topLvl replST">
          <ac:chgData name="Ricardo Omar Hernandez" userId="0bbf43ff-7497-4e18-ba51-e8372d008d2e" providerId="ADAL" clId="{4BDD5470-D571-454E-BC54-C635A312B0DF}" dt="2024-04-18T20:16:26.080" v="1446"/>
          <ac:spMkLst>
            <pc:docMk/>
            <pc:sldMk cId="528512669" sldId="257"/>
            <ac:spMk id="53" creationId="{E58122F3-83BB-D3FD-F027-B8943A004742}"/>
          </ac:spMkLst>
        </pc:spChg>
        <pc:spChg chg="add mod ord topLvl replST">
          <ac:chgData name="Ricardo Omar Hernandez" userId="0bbf43ff-7497-4e18-ba51-e8372d008d2e" providerId="ADAL" clId="{4BDD5470-D571-454E-BC54-C635A312B0DF}" dt="2024-04-19T18:40:48.356" v="29738"/>
          <ac:spMkLst>
            <pc:docMk/>
            <pc:sldMk cId="528512669" sldId="257"/>
            <ac:spMk id="60" creationId="{019EDC1D-5D94-79E2-1622-E8ACB5B13544}"/>
          </ac:spMkLst>
        </pc:spChg>
        <pc:spChg chg="add del mod ord topLvl replST">
          <ac:chgData name="Ricardo Omar Hernandez" userId="0bbf43ff-7497-4e18-ba51-e8372d008d2e" providerId="ADAL" clId="{4BDD5470-D571-454E-BC54-C635A312B0DF}" dt="2024-04-18T20:16:42.212" v="1602"/>
          <ac:spMkLst>
            <pc:docMk/>
            <pc:sldMk cId="528512669" sldId="257"/>
            <ac:spMk id="60" creationId="{9FD05880-C961-F944-10DF-09AC58736432}"/>
          </ac:spMkLst>
        </pc:spChg>
        <pc:spChg chg="add mod ord topLvl replST">
          <ac:chgData name="Ricardo Omar Hernandez" userId="0bbf43ff-7497-4e18-ba51-e8372d008d2e" providerId="ADAL" clId="{4BDD5470-D571-454E-BC54-C635A312B0DF}" dt="2024-04-19T18:40:48.356" v="29738"/>
          <ac:spMkLst>
            <pc:docMk/>
            <pc:sldMk cId="528512669" sldId="257"/>
            <ac:spMk id="70" creationId="{2CD4BCFD-CFC7-EA3B-9980-412AD6AF7880}"/>
          </ac:spMkLst>
        </pc:spChg>
        <pc:spChg chg="add mod ord topLvl replST">
          <ac:chgData name="Ricardo Omar Hernandez" userId="0bbf43ff-7497-4e18-ba51-e8372d008d2e" providerId="ADAL" clId="{4BDD5470-D571-454E-BC54-C635A312B0DF}" dt="2024-04-19T18:40:48.356" v="29738"/>
          <ac:spMkLst>
            <pc:docMk/>
            <pc:sldMk cId="528512669" sldId="257"/>
            <ac:spMk id="80" creationId="{2DC393AA-8E71-7CA1-D8B8-73CC0D7DF318}"/>
          </ac:spMkLst>
        </pc:spChg>
        <pc:spChg chg="add del mod ord topLvl modVis replST">
          <ac:chgData name="Ricardo Omar Hernandez" userId="0bbf43ff-7497-4e18-ba51-e8372d008d2e" providerId="ADAL" clId="{4BDD5470-D571-454E-BC54-C635A312B0DF}" dt="2024-04-18T20:18:47.613" v="3267"/>
          <ac:spMkLst>
            <pc:docMk/>
            <pc:sldMk cId="528512669" sldId="257"/>
            <ac:spMk id="80" creationId="{3ED7ECDD-9628-FBCA-25F3-0D704AB4105B}"/>
          </ac:spMkLst>
        </pc:spChg>
        <pc:spChg chg="add mod ord topLvl replST">
          <ac:chgData name="Ricardo Omar Hernandez" userId="0bbf43ff-7497-4e18-ba51-e8372d008d2e" providerId="ADAL" clId="{4BDD5470-D571-454E-BC54-C635A312B0DF}" dt="2024-04-19T18:40:48.356" v="29738"/>
          <ac:spMkLst>
            <pc:docMk/>
            <pc:sldMk cId="528512669" sldId="257"/>
            <ac:spMk id="105" creationId="{26E46578-1425-5942-E1E8-B93248374C1D}"/>
          </ac:spMkLst>
        </pc:spChg>
        <pc:spChg chg="add mod ord topLvl replST">
          <ac:chgData name="Ricardo Omar Hernandez" userId="0bbf43ff-7497-4e18-ba51-e8372d008d2e" providerId="ADAL" clId="{4BDD5470-D571-454E-BC54-C635A312B0DF}" dt="2024-04-19T18:40:48.356" v="29738"/>
          <ac:spMkLst>
            <pc:docMk/>
            <pc:sldMk cId="528512669" sldId="257"/>
            <ac:spMk id="108" creationId="{1D49BDC4-239B-ED87-CF84-42816AB4A806}"/>
          </ac:spMkLst>
        </pc:spChg>
        <pc:spChg chg="add mod ord topLvl replST">
          <ac:chgData name="Ricardo Omar Hernandez" userId="0bbf43ff-7497-4e18-ba51-e8372d008d2e" providerId="ADAL" clId="{4BDD5470-D571-454E-BC54-C635A312B0DF}" dt="2024-04-19T18:40:48.356" v="29738"/>
          <ac:spMkLst>
            <pc:docMk/>
            <pc:sldMk cId="528512669" sldId="257"/>
            <ac:spMk id="112" creationId="{DBC9550B-266A-994D-F1F9-D84A284A7211}"/>
          </ac:spMkLst>
        </pc:spChg>
        <pc:spChg chg="add mod ord topLvl replST">
          <ac:chgData name="Ricardo Omar Hernandez" userId="0bbf43ff-7497-4e18-ba51-e8372d008d2e" providerId="ADAL" clId="{4BDD5470-D571-454E-BC54-C635A312B0DF}" dt="2024-04-19T18:40:48.356" v="29738"/>
          <ac:spMkLst>
            <pc:docMk/>
            <pc:sldMk cId="528512669" sldId="257"/>
            <ac:spMk id="128" creationId="{B794290E-6CB7-6120-F60C-77B50A45FC44}"/>
          </ac:spMkLst>
        </pc:spChg>
        <pc:spChg chg="add mod ord topLvl replST">
          <ac:chgData name="Ricardo Omar Hernandez" userId="0bbf43ff-7497-4e18-ba51-e8372d008d2e" providerId="ADAL" clId="{4BDD5470-D571-454E-BC54-C635A312B0DF}" dt="2024-04-19T18:40:48.356" v="29738"/>
          <ac:spMkLst>
            <pc:docMk/>
            <pc:sldMk cId="528512669" sldId="257"/>
            <ac:spMk id="141" creationId="{DA6D3D44-C5B8-CFB3-A7B1-3CFD3CA71BC6}"/>
          </ac:spMkLst>
        </pc:spChg>
        <pc:spChg chg="add mod ord topLvl replST">
          <ac:chgData name="Ricardo Omar Hernandez" userId="0bbf43ff-7497-4e18-ba51-e8372d008d2e" providerId="ADAL" clId="{4BDD5470-D571-454E-BC54-C635A312B0DF}" dt="2024-04-19T18:40:48.356" v="29738"/>
          <ac:spMkLst>
            <pc:docMk/>
            <pc:sldMk cId="528512669" sldId="257"/>
            <ac:spMk id="152" creationId="{AABE9FE8-DC44-B5AD-E240-698409F3E9C5}"/>
          </ac:spMkLst>
        </pc:spChg>
        <pc:spChg chg="add mod ord topLvl replST">
          <ac:chgData name="Ricardo Omar Hernandez" userId="0bbf43ff-7497-4e18-ba51-e8372d008d2e" providerId="ADAL" clId="{4BDD5470-D571-454E-BC54-C635A312B0DF}" dt="2024-04-19T18:40:48.356" v="29738"/>
          <ac:spMkLst>
            <pc:docMk/>
            <pc:sldMk cId="528512669" sldId="257"/>
            <ac:spMk id="154" creationId="{903E9D5F-3DFD-E8C2-289C-B9234D405A3B}"/>
          </ac:spMkLst>
        </pc:spChg>
        <pc:spChg chg="add mod ord topLvl replST">
          <ac:chgData name="Ricardo Omar Hernandez" userId="0bbf43ff-7497-4e18-ba51-e8372d008d2e" providerId="ADAL" clId="{4BDD5470-D571-454E-BC54-C635A312B0DF}" dt="2024-04-19T18:40:48.356" v="29738"/>
          <ac:spMkLst>
            <pc:docMk/>
            <pc:sldMk cId="528512669" sldId="257"/>
            <ac:spMk id="158" creationId="{297BD74F-0910-C192-7922-214B47C1BAEC}"/>
          </ac:spMkLst>
        </pc:spChg>
        <pc:spChg chg="add del mod ord topLvl replST">
          <ac:chgData name="Ricardo Omar Hernandez" userId="0bbf43ff-7497-4e18-ba51-e8372d008d2e" providerId="ADAL" clId="{4BDD5470-D571-454E-BC54-C635A312B0DF}" dt="2024-04-19T15:09:24.966" v="24071"/>
          <ac:spMkLst>
            <pc:docMk/>
            <pc:sldMk cId="528512669" sldId="257"/>
            <ac:spMk id="164" creationId="{0F0D5516-0E3E-9944-6AB8-4E30C9581364}"/>
          </ac:spMkLst>
        </pc:spChg>
        <pc:spChg chg="add mod ord topLvl replST">
          <ac:chgData name="Ricardo Omar Hernandez" userId="0bbf43ff-7497-4e18-ba51-e8372d008d2e" providerId="ADAL" clId="{4BDD5470-D571-454E-BC54-C635A312B0DF}" dt="2024-04-19T18:40:48.356" v="29738"/>
          <ac:spMkLst>
            <pc:docMk/>
            <pc:sldMk cId="528512669" sldId="257"/>
            <ac:spMk id="171" creationId="{B52A6EB0-0C36-22B4-8BCF-2A054661D516}"/>
          </ac:spMkLst>
        </pc:spChg>
        <pc:spChg chg="add mod ord topLvl replST">
          <ac:chgData name="Ricardo Omar Hernandez" userId="0bbf43ff-7497-4e18-ba51-e8372d008d2e" providerId="ADAL" clId="{4BDD5470-D571-454E-BC54-C635A312B0DF}" dt="2024-04-19T18:40:48.356" v="29738"/>
          <ac:spMkLst>
            <pc:docMk/>
            <pc:sldMk cId="528512669" sldId="257"/>
            <ac:spMk id="175" creationId="{A7866E01-ED86-85BA-C66C-41C1284AFD23}"/>
          </ac:spMkLst>
        </pc:spChg>
        <pc:spChg chg="add del mod ord topLvl replST">
          <ac:chgData name="Ricardo Omar Hernandez" userId="0bbf43ff-7497-4e18-ba51-e8372d008d2e" providerId="ADAL" clId="{4BDD5470-D571-454E-BC54-C635A312B0DF}" dt="2024-04-19T15:09:24.966" v="24075"/>
          <ac:spMkLst>
            <pc:docMk/>
            <pc:sldMk cId="528512669" sldId="257"/>
            <ac:spMk id="179" creationId="{98FA28ED-4B48-16B9-5B29-486AF4B59577}"/>
          </ac:spMkLst>
        </pc:spChg>
        <pc:spChg chg="add del mod ord topLvl replST">
          <ac:chgData name="Ricardo Omar Hernandez" userId="0bbf43ff-7497-4e18-ba51-e8372d008d2e" providerId="ADAL" clId="{4BDD5470-D571-454E-BC54-C635A312B0DF}" dt="2024-04-18T20:35:13.058" v="11425"/>
          <ac:spMkLst>
            <pc:docMk/>
            <pc:sldMk cId="528512669" sldId="257"/>
            <ac:spMk id="181" creationId="{677A6A49-9B01-C214-4118-EE1BCD881B77}"/>
          </ac:spMkLst>
        </pc:spChg>
        <pc:spChg chg="add del mod ord topLvl replST">
          <ac:chgData name="Ricardo Omar Hernandez" userId="0bbf43ff-7497-4e18-ba51-e8372d008d2e" providerId="ADAL" clId="{4BDD5470-D571-454E-BC54-C635A312B0DF}" dt="2024-04-19T15:09:24.966" v="24079"/>
          <ac:spMkLst>
            <pc:docMk/>
            <pc:sldMk cId="528512669" sldId="257"/>
            <ac:spMk id="189" creationId="{16BB603B-D997-393E-836E-529C1DB5D4D1}"/>
          </ac:spMkLst>
        </pc:spChg>
        <pc:spChg chg="add del mod ord topLvl replST">
          <ac:chgData name="Ricardo Omar Hernandez" userId="0bbf43ff-7497-4e18-ba51-e8372d008d2e" providerId="ADAL" clId="{4BDD5470-D571-454E-BC54-C635A312B0DF}" dt="2024-04-18T20:35:18.018" v="11547"/>
          <ac:spMkLst>
            <pc:docMk/>
            <pc:sldMk cId="528512669" sldId="257"/>
            <ac:spMk id="191" creationId="{8D46A524-B71A-CFA5-5231-6F30EFB69EBD}"/>
          </ac:spMkLst>
        </pc:spChg>
        <pc:spChg chg="add del mod ord topLvl replST">
          <ac:chgData name="Ricardo Omar Hernandez" userId="0bbf43ff-7497-4e18-ba51-e8372d008d2e" providerId="ADAL" clId="{4BDD5470-D571-454E-BC54-C635A312B0DF}" dt="2024-04-19T15:09:24.966" v="24073"/>
          <ac:spMkLst>
            <pc:docMk/>
            <pc:sldMk cId="528512669" sldId="257"/>
            <ac:spMk id="205" creationId="{DEF81C34-7320-6DB9-7B5B-21792583CFDB}"/>
          </ac:spMkLst>
        </pc:spChg>
        <pc:spChg chg="add del mod ord topLvl replST">
          <ac:chgData name="Ricardo Omar Hernandez" userId="0bbf43ff-7497-4e18-ba51-e8372d008d2e" providerId="ADAL" clId="{4BDD5470-D571-454E-BC54-C635A312B0DF}" dt="2024-04-19T15:09:24.966" v="24077"/>
          <ac:spMkLst>
            <pc:docMk/>
            <pc:sldMk cId="528512669" sldId="257"/>
            <ac:spMk id="218" creationId="{3506DE04-C797-5C80-F687-694C3713B668}"/>
          </ac:spMkLst>
        </pc:spChg>
        <pc:spChg chg="add mod ord topLvl replST">
          <ac:chgData name="Ricardo Omar Hernandez" userId="0bbf43ff-7497-4e18-ba51-e8372d008d2e" providerId="ADAL" clId="{4BDD5470-D571-454E-BC54-C635A312B0DF}" dt="2024-04-19T18:40:48.356" v="29738"/>
          <ac:spMkLst>
            <pc:docMk/>
            <pc:sldMk cId="528512669" sldId="257"/>
            <ac:spMk id="219" creationId="{AC3ADABB-4395-5353-82AA-67030B5ECA65}"/>
          </ac:spMkLst>
        </pc:spChg>
        <pc:spChg chg="add mod ord topLvl replST">
          <ac:chgData name="Ricardo Omar Hernandez" userId="0bbf43ff-7497-4e18-ba51-e8372d008d2e" providerId="ADAL" clId="{4BDD5470-D571-454E-BC54-C635A312B0DF}" dt="2024-04-19T18:40:48.356" v="29738"/>
          <ac:spMkLst>
            <pc:docMk/>
            <pc:sldMk cId="528512669" sldId="257"/>
            <ac:spMk id="229" creationId="{C070CAD8-C1A6-C696-15EB-FECB8F8B5B78}"/>
          </ac:spMkLst>
        </pc:spChg>
        <pc:spChg chg="add del mod ord topLvl replST">
          <ac:chgData name="Ricardo Omar Hernandez" userId="0bbf43ff-7497-4e18-ba51-e8372d008d2e" providerId="ADAL" clId="{4BDD5470-D571-454E-BC54-C635A312B0DF}" dt="2024-04-19T15:09:24.966" v="24081"/>
          <ac:spMkLst>
            <pc:docMk/>
            <pc:sldMk cId="528512669" sldId="257"/>
            <ac:spMk id="236" creationId="{94A6A663-520E-F190-55C8-CD1CA8A45D4F}"/>
          </ac:spMkLst>
        </pc:spChg>
        <pc:spChg chg="add del mod ord topLvl replST">
          <ac:chgData name="Ricardo Omar Hernandez" userId="0bbf43ff-7497-4e18-ba51-e8372d008d2e" providerId="ADAL" clId="{4BDD5470-D571-454E-BC54-C635A312B0DF}" dt="2024-04-18T20:52:44.659" v="13610"/>
          <ac:spMkLst>
            <pc:docMk/>
            <pc:sldMk cId="528512669" sldId="257"/>
            <ac:spMk id="236" creationId="{C68D6235-E2A9-C906-A671-159809B33C2D}"/>
          </ac:spMkLst>
        </pc:spChg>
        <pc:spChg chg="add del mod ord topLvl replST">
          <ac:chgData name="Ricardo Omar Hernandez" userId="0bbf43ff-7497-4e18-ba51-e8372d008d2e" providerId="ADAL" clId="{4BDD5470-D571-454E-BC54-C635A312B0DF}" dt="2024-04-18T20:52:40.494" v="13502"/>
          <ac:spMkLst>
            <pc:docMk/>
            <pc:sldMk cId="528512669" sldId="257"/>
            <ac:spMk id="240" creationId="{02C9D168-EE6F-73DE-C6D2-9865A8356634}"/>
          </ac:spMkLst>
        </pc:spChg>
        <pc:spChg chg="mod ord topLvl replST">
          <ac:chgData name="Ricardo Omar Hernandez" userId="0bbf43ff-7497-4e18-ba51-e8372d008d2e" providerId="ADAL" clId="{4BDD5470-D571-454E-BC54-C635A312B0DF}" dt="2024-04-19T18:40:48.356" v="29738"/>
          <ac:spMkLst>
            <pc:docMk/>
            <pc:sldMk cId="528512669" sldId="257"/>
            <ac:spMk id="259" creationId="{0F768A62-D709-81E3-A3A5-F72B9EDC469C}"/>
          </ac:spMkLst>
        </pc:spChg>
        <pc:spChg chg="mod ord topLvl replST">
          <ac:chgData name="Ricardo Omar Hernandez" userId="0bbf43ff-7497-4e18-ba51-e8372d008d2e" providerId="ADAL" clId="{4BDD5470-D571-454E-BC54-C635A312B0DF}" dt="2024-04-19T18:40:48.356" v="29738"/>
          <ac:spMkLst>
            <pc:docMk/>
            <pc:sldMk cId="528512669" sldId="257"/>
            <ac:spMk id="260" creationId="{CEDB5FB8-F09D-17B4-7880-8780698023BE}"/>
          </ac:spMkLst>
        </pc:spChg>
        <pc:spChg chg="mod ord topLvl replST">
          <ac:chgData name="Ricardo Omar Hernandez" userId="0bbf43ff-7497-4e18-ba51-e8372d008d2e" providerId="ADAL" clId="{4BDD5470-D571-454E-BC54-C635A312B0DF}" dt="2024-04-19T18:40:48.356" v="29738"/>
          <ac:spMkLst>
            <pc:docMk/>
            <pc:sldMk cId="528512669" sldId="257"/>
            <ac:spMk id="261" creationId="{D95D5482-D47D-2608-850D-9A2F832CB0F1}"/>
          </ac:spMkLst>
        </pc:spChg>
        <pc:spChg chg="mod ord topLvl replST">
          <ac:chgData name="Ricardo Omar Hernandez" userId="0bbf43ff-7497-4e18-ba51-e8372d008d2e" providerId="ADAL" clId="{4BDD5470-D571-454E-BC54-C635A312B0DF}" dt="2024-04-19T18:40:48.356" v="29738"/>
          <ac:spMkLst>
            <pc:docMk/>
            <pc:sldMk cId="528512669" sldId="257"/>
            <ac:spMk id="262" creationId="{AA24BF94-2099-409A-BCF8-D9D0BC81DC75}"/>
          </ac:spMkLst>
        </pc:spChg>
        <pc:spChg chg="mod ord topLvl replST">
          <ac:chgData name="Ricardo Omar Hernandez" userId="0bbf43ff-7497-4e18-ba51-e8372d008d2e" providerId="ADAL" clId="{4BDD5470-D571-454E-BC54-C635A312B0DF}" dt="2024-04-19T18:40:48.356" v="29738"/>
          <ac:spMkLst>
            <pc:docMk/>
            <pc:sldMk cId="528512669" sldId="257"/>
            <ac:spMk id="263" creationId="{57E94282-5CC9-11B0-6954-21FB1E264390}"/>
          </ac:spMkLst>
        </pc:spChg>
        <pc:spChg chg="mod ord topLvl replST">
          <ac:chgData name="Ricardo Omar Hernandez" userId="0bbf43ff-7497-4e18-ba51-e8372d008d2e" providerId="ADAL" clId="{4BDD5470-D571-454E-BC54-C635A312B0DF}" dt="2024-04-19T18:40:48.356" v="29738"/>
          <ac:spMkLst>
            <pc:docMk/>
            <pc:sldMk cId="528512669" sldId="257"/>
            <ac:spMk id="264" creationId="{176A3A7D-F335-9D3E-646B-2533E62AFDFF}"/>
          </ac:spMkLst>
        </pc:spChg>
        <pc:spChg chg="mod ord topLvl replST">
          <ac:chgData name="Ricardo Omar Hernandez" userId="0bbf43ff-7497-4e18-ba51-e8372d008d2e" providerId="ADAL" clId="{4BDD5470-D571-454E-BC54-C635A312B0DF}" dt="2024-04-19T18:40:48.356" v="29738"/>
          <ac:spMkLst>
            <pc:docMk/>
            <pc:sldMk cId="528512669" sldId="257"/>
            <ac:spMk id="265" creationId="{9885EF18-EA2A-4227-2800-77CB56926314}"/>
          </ac:spMkLst>
        </pc:spChg>
        <pc:spChg chg="mod ord topLvl replST">
          <ac:chgData name="Ricardo Omar Hernandez" userId="0bbf43ff-7497-4e18-ba51-e8372d008d2e" providerId="ADAL" clId="{4BDD5470-D571-454E-BC54-C635A312B0DF}" dt="2024-04-19T18:40:48.356" v="29738"/>
          <ac:spMkLst>
            <pc:docMk/>
            <pc:sldMk cId="528512669" sldId="257"/>
            <ac:spMk id="266" creationId="{4369C8CD-8235-DFEA-3592-41679363608E}"/>
          </ac:spMkLst>
        </pc:spChg>
        <pc:spChg chg="mod ord topLvl replST">
          <ac:chgData name="Ricardo Omar Hernandez" userId="0bbf43ff-7497-4e18-ba51-e8372d008d2e" providerId="ADAL" clId="{4BDD5470-D571-454E-BC54-C635A312B0DF}" dt="2024-04-19T18:40:48.356" v="29738"/>
          <ac:spMkLst>
            <pc:docMk/>
            <pc:sldMk cId="528512669" sldId="257"/>
            <ac:spMk id="267" creationId="{3032A8B2-73A6-05C8-E6AD-FD6FB3325D16}"/>
          </ac:spMkLst>
        </pc:spChg>
        <pc:spChg chg="mod ord topLvl replST">
          <ac:chgData name="Ricardo Omar Hernandez" userId="0bbf43ff-7497-4e18-ba51-e8372d008d2e" providerId="ADAL" clId="{4BDD5470-D571-454E-BC54-C635A312B0DF}" dt="2024-04-19T18:40:48.356" v="29738"/>
          <ac:spMkLst>
            <pc:docMk/>
            <pc:sldMk cId="528512669" sldId="257"/>
            <ac:spMk id="268" creationId="{D4D40DCE-FC13-A279-45A4-C7CF1D38D2BC}"/>
          </ac:spMkLst>
        </pc:spChg>
        <pc:spChg chg="mod ord topLvl replST">
          <ac:chgData name="Ricardo Omar Hernandez" userId="0bbf43ff-7497-4e18-ba51-e8372d008d2e" providerId="ADAL" clId="{4BDD5470-D571-454E-BC54-C635A312B0DF}" dt="2024-04-19T18:40:48.356" v="29738"/>
          <ac:spMkLst>
            <pc:docMk/>
            <pc:sldMk cId="528512669" sldId="257"/>
            <ac:spMk id="269" creationId="{86B42A5C-9ECF-6D9D-1C01-0FCF116E5C9B}"/>
          </ac:spMkLst>
        </pc:spChg>
        <pc:spChg chg="mod ord topLvl replST">
          <ac:chgData name="Ricardo Omar Hernandez" userId="0bbf43ff-7497-4e18-ba51-e8372d008d2e" providerId="ADAL" clId="{4BDD5470-D571-454E-BC54-C635A312B0DF}" dt="2024-04-19T18:40:48.356" v="29738"/>
          <ac:spMkLst>
            <pc:docMk/>
            <pc:sldMk cId="528512669" sldId="257"/>
            <ac:spMk id="270" creationId="{8CB97A00-5CD9-11D4-19E9-819F68EF907A}"/>
          </ac:spMkLst>
        </pc:spChg>
        <pc:spChg chg="mod ord topLvl replST">
          <ac:chgData name="Ricardo Omar Hernandez" userId="0bbf43ff-7497-4e18-ba51-e8372d008d2e" providerId="ADAL" clId="{4BDD5470-D571-454E-BC54-C635A312B0DF}" dt="2024-04-19T18:40:48.356" v="29738"/>
          <ac:spMkLst>
            <pc:docMk/>
            <pc:sldMk cId="528512669" sldId="257"/>
            <ac:spMk id="271" creationId="{B4CF8612-9DE4-48D6-C6FB-853FA5917312}"/>
          </ac:spMkLst>
        </pc:spChg>
        <pc:spChg chg="mod ord topLvl replST">
          <ac:chgData name="Ricardo Omar Hernandez" userId="0bbf43ff-7497-4e18-ba51-e8372d008d2e" providerId="ADAL" clId="{4BDD5470-D571-454E-BC54-C635A312B0DF}" dt="2024-04-19T18:40:48.356" v="29738"/>
          <ac:spMkLst>
            <pc:docMk/>
            <pc:sldMk cId="528512669" sldId="257"/>
            <ac:spMk id="272" creationId="{B326B9F0-DCDF-1CFA-40F6-6016CB989A3E}"/>
          </ac:spMkLst>
        </pc:spChg>
        <pc:spChg chg="mod ord topLvl replST">
          <ac:chgData name="Ricardo Omar Hernandez" userId="0bbf43ff-7497-4e18-ba51-e8372d008d2e" providerId="ADAL" clId="{4BDD5470-D571-454E-BC54-C635A312B0DF}" dt="2024-04-19T18:40:48.356" v="29738"/>
          <ac:spMkLst>
            <pc:docMk/>
            <pc:sldMk cId="528512669" sldId="257"/>
            <ac:spMk id="273" creationId="{508895D0-3D8B-4D15-F32D-9DE68F68768C}"/>
          </ac:spMkLst>
        </pc:spChg>
        <pc:spChg chg="mod ord topLvl replST">
          <ac:chgData name="Ricardo Omar Hernandez" userId="0bbf43ff-7497-4e18-ba51-e8372d008d2e" providerId="ADAL" clId="{4BDD5470-D571-454E-BC54-C635A312B0DF}" dt="2024-04-19T18:40:48.356" v="29738"/>
          <ac:spMkLst>
            <pc:docMk/>
            <pc:sldMk cId="528512669" sldId="257"/>
            <ac:spMk id="274" creationId="{C0ED0E15-5153-5063-02E8-F83823D64955}"/>
          </ac:spMkLst>
        </pc:spChg>
        <pc:spChg chg="add mod ord topLvl replST">
          <ac:chgData name="Ricardo Omar Hernandez" userId="0bbf43ff-7497-4e18-ba51-e8372d008d2e" providerId="ADAL" clId="{4BDD5470-D571-454E-BC54-C635A312B0DF}" dt="2024-04-19T18:40:48.356" v="29738"/>
          <ac:spMkLst>
            <pc:docMk/>
            <pc:sldMk cId="528512669" sldId="257"/>
            <ac:spMk id="289" creationId="{3BEC54D3-3DEA-C255-452A-CACE46571521}"/>
          </ac:spMkLst>
        </pc:spChg>
        <pc:spChg chg="add mod ord topLvl replST">
          <ac:chgData name="Ricardo Omar Hernandez" userId="0bbf43ff-7497-4e18-ba51-e8372d008d2e" providerId="ADAL" clId="{4BDD5470-D571-454E-BC54-C635A312B0DF}" dt="2024-04-19T18:40:48.356" v="29738"/>
          <ac:spMkLst>
            <pc:docMk/>
            <pc:sldMk cId="528512669" sldId="257"/>
            <ac:spMk id="290" creationId="{58975180-5F21-9CAA-2D9C-013F80B934EF}"/>
          </ac:spMkLst>
        </pc:spChg>
        <pc:spChg chg="add mod ord topLvl replST">
          <ac:chgData name="Ricardo Omar Hernandez" userId="0bbf43ff-7497-4e18-ba51-e8372d008d2e" providerId="ADAL" clId="{4BDD5470-D571-454E-BC54-C635A312B0DF}" dt="2024-04-19T18:40:48.356" v="29738"/>
          <ac:spMkLst>
            <pc:docMk/>
            <pc:sldMk cId="528512669" sldId="257"/>
            <ac:spMk id="291" creationId="{1F9E1F00-0B0A-5F91-BF2B-6D9FC390C843}"/>
          </ac:spMkLst>
        </pc:spChg>
        <pc:spChg chg="add mod ord topLvl replST">
          <ac:chgData name="Ricardo Omar Hernandez" userId="0bbf43ff-7497-4e18-ba51-e8372d008d2e" providerId="ADAL" clId="{4BDD5470-D571-454E-BC54-C635A312B0DF}" dt="2024-04-19T18:40:48.356" v="29738"/>
          <ac:spMkLst>
            <pc:docMk/>
            <pc:sldMk cId="528512669" sldId="257"/>
            <ac:spMk id="292" creationId="{B24B711C-A2EA-CAAB-88D2-C17DD40F0A09}"/>
          </ac:spMkLst>
        </pc:spChg>
        <pc:spChg chg="add mod ord topLvl replST">
          <ac:chgData name="Ricardo Omar Hernandez" userId="0bbf43ff-7497-4e18-ba51-e8372d008d2e" providerId="ADAL" clId="{4BDD5470-D571-454E-BC54-C635A312B0DF}" dt="2024-04-19T18:40:48.356" v="29738"/>
          <ac:spMkLst>
            <pc:docMk/>
            <pc:sldMk cId="528512669" sldId="257"/>
            <ac:spMk id="293" creationId="{7D639E9D-190F-F85E-9DBE-1E68F54258BA}"/>
          </ac:spMkLst>
        </pc:spChg>
        <pc:spChg chg="add mod ord topLvl replST">
          <ac:chgData name="Ricardo Omar Hernandez" userId="0bbf43ff-7497-4e18-ba51-e8372d008d2e" providerId="ADAL" clId="{4BDD5470-D571-454E-BC54-C635A312B0DF}" dt="2024-04-19T18:40:48.356" v="29738"/>
          <ac:spMkLst>
            <pc:docMk/>
            <pc:sldMk cId="528512669" sldId="257"/>
            <ac:spMk id="294" creationId="{CABCB4D8-EA4E-EC78-81D6-5858B6546DEA}"/>
          </ac:spMkLst>
        </pc:spChg>
        <pc:spChg chg="add mod ord topLvl replST">
          <ac:chgData name="Ricardo Omar Hernandez" userId="0bbf43ff-7497-4e18-ba51-e8372d008d2e" providerId="ADAL" clId="{4BDD5470-D571-454E-BC54-C635A312B0DF}" dt="2024-04-19T18:40:48.356" v="29738"/>
          <ac:spMkLst>
            <pc:docMk/>
            <pc:sldMk cId="528512669" sldId="257"/>
            <ac:spMk id="295" creationId="{BB673D04-F76F-286B-57C9-83C37D7846A2}"/>
          </ac:spMkLst>
        </pc:spChg>
        <pc:spChg chg="add mod ord replST delST">
          <ac:chgData name="Ricardo Omar Hernandez" userId="0bbf43ff-7497-4e18-ba51-e8372d008d2e" providerId="ADAL" clId="{4BDD5470-D571-454E-BC54-C635A312B0DF}" dt="2024-04-19T18:40:48.387" v="29753"/>
          <ac:spMkLst>
            <pc:docMk/>
            <pc:sldMk cId="528512669" sldId="257"/>
            <ac:spMk id="318" creationId="{44A69474-84B4-78EF-899C-0CF910EC6619}"/>
          </ac:spMkLst>
        </pc:spChg>
        <pc:spChg chg="add del mod ord topLvl replST">
          <ac:chgData name="Ricardo Omar Hernandez" userId="0bbf43ff-7497-4e18-ba51-e8372d008d2e" providerId="ADAL" clId="{4BDD5470-D571-454E-BC54-C635A312B0DF}" dt="2024-04-19T15:13:46.002" v="26378"/>
          <ac:spMkLst>
            <pc:docMk/>
            <pc:sldMk cId="528512669" sldId="257"/>
            <ac:spMk id="353" creationId="{725705A1-B63A-907C-E364-BCAC9C05DF69}"/>
          </ac:spMkLst>
        </pc:spChg>
        <pc:spChg chg="add mod ord topLvl replST">
          <ac:chgData name="Ricardo Omar Hernandez" userId="0bbf43ff-7497-4e18-ba51-e8372d008d2e" providerId="ADAL" clId="{4BDD5470-D571-454E-BC54-C635A312B0DF}" dt="2024-04-19T18:40:48.356" v="29738"/>
          <ac:spMkLst>
            <pc:docMk/>
            <pc:sldMk cId="528512669" sldId="257"/>
            <ac:spMk id="366" creationId="{FAF067D6-C682-4844-F33B-FABC97D18EB1}"/>
          </ac:spMkLst>
        </pc:spChg>
        <pc:spChg chg="add mod ord topLvl replST">
          <ac:chgData name="Ricardo Omar Hernandez" userId="0bbf43ff-7497-4e18-ba51-e8372d008d2e" providerId="ADAL" clId="{4BDD5470-D571-454E-BC54-C635A312B0DF}" dt="2024-04-19T18:40:48.356" v="29738"/>
          <ac:spMkLst>
            <pc:docMk/>
            <pc:sldMk cId="528512669" sldId="257"/>
            <ac:spMk id="367" creationId="{16C772DF-74DE-BF9B-B3BB-3D1F29C65EDC}"/>
          </ac:spMkLst>
        </pc:spChg>
        <pc:spChg chg="add mod ord topLvl replST">
          <ac:chgData name="Ricardo Omar Hernandez" userId="0bbf43ff-7497-4e18-ba51-e8372d008d2e" providerId="ADAL" clId="{4BDD5470-D571-454E-BC54-C635A312B0DF}" dt="2024-04-19T18:40:48.356" v="29738"/>
          <ac:spMkLst>
            <pc:docMk/>
            <pc:sldMk cId="528512669" sldId="257"/>
            <ac:spMk id="376" creationId="{385099D1-1AAB-9FA5-7B61-1B579F48C51C}"/>
          </ac:spMkLst>
        </pc:spChg>
        <pc:spChg chg="add del mod ord topLvl replST">
          <ac:chgData name="Ricardo Omar Hernandez" userId="0bbf43ff-7497-4e18-ba51-e8372d008d2e" providerId="ADAL" clId="{4BDD5470-D571-454E-BC54-C635A312B0DF}" dt="2024-04-19T15:15:34.572" v="27432"/>
          <ac:spMkLst>
            <pc:docMk/>
            <pc:sldMk cId="528512669" sldId="257"/>
            <ac:spMk id="396" creationId="{CA6D7F2F-2AC7-B8DA-3084-CB87AB3EE7CD}"/>
          </ac:spMkLst>
        </pc:spChg>
        <pc:spChg chg="add mod ord topLvl replST">
          <ac:chgData name="Ricardo Omar Hernandez" userId="0bbf43ff-7497-4e18-ba51-e8372d008d2e" providerId="ADAL" clId="{4BDD5470-D571-454E-BC54-C635A312B0DF}" dt="2024-04-19T18:40:48.356" v="29738"/>
          <ac:spMkLst>
            <pc:docMk/>
            <pc:sldMk cId="528512669" sldId="257"/>
            <ac:spMk id="398" creationId="{8FAF7969-FB1E-B72E-4789-9BECDD87343A}"/>
          </ac:spMkLst>
        </pc:spChg>
        <pc:spChg chg="add mod ord topLvl replST">
          <ac:chgData name="Ricardo Omar Hernandez" userId="0bbf43ff-7497-4e18-ba51-e8372d008d2e" providerId="ADAL" clId="{4BDD5470-D571-454E-BC54-C635A312B0DF}" dt="2024-04-19T18:40:48.356" v="29738"/>
          <ac:spMkLst>
            <pc:docMk/>
            <pc:sldMk cId="528512669" sldId="257"/>
            <ac:spMk id="407" creationId="{1CBA03E9-6B99-1273-448E-CD43A7BB524E}"/>
          </ac:spMkLst>
        </pc:spChg>
        <pc:spChg chg="add del mod ord topLvl replST">
          <ac:chgData name="Ricardo Omar Hernandez" userId="0bbf43ff-7497-4e18-ba51-e8372d008d2e" providerId="ADAL" clId="{4BDD5470-D571-454E-BC54-C635A312B0DF}" dt="2024-04-18T20:51:57.372" v="12964"/>
          <ac:spMkLst>
            <pc:docMk/>
            <pc:sldMk cId="528512669" sldId="257"/>
            <ac:spMk id="408" creationId="{1122D828-88A2-AB3F-58FB-DC026F05FD5F}"/>
          </ac:spMkLst>
        </pc:spChg>
        <pc:spChg chg="add mod ord topLvl replST">
          <ac:chgData name="Ricardo Omar Hernandez" userId="0bbf43ff-7497-4e18-ba51-e8372d008d2e" providerId="ADAL" clId="{4BDD5470-D571-454E-BC54-C635A312B0DF}" dt="2024-04-19T18:40:48.356" v="29738"/>
          <ac:spMkLst>
            <pc:docMk/>
            <pc:sldMk cId="528512669" sldId="257"/>
            <ac:spMk id="415" creationId="{0C0AD231-2248-3093-7F39-5E2502EEA9A7}"/>
          </ac:spMkLst>
        </pc:spChg>
        <pc:spChg chg="add del mod ord topLvl replST">
          <ac:chgData name="Ricardo Omar Hernandez" userId="0bbf43ff-7497-4e18-ba51-e8372d008d2e" providerId="ADAL" clId="{4BDD5470-D571-454E-BC54-C635A312B0DF}" dt="2024-04-18T20:53:47.604" v="14279"/>
          <ac:spMkLst>
            <pc:docMk/>
            <pc:sldMk cId="528512669" sldId="257"/>
            <ac:spMk id="437" creationId="{0118714C-CC5C-D20F-EA6A-4771C5F159A9}"/>
          </ac:spMkLst>
        </pc:spChg>
        <pc:spChg chg="add del mod ord topLvl replST">
          <ac:chgData name="Ricardo Omar Hernandez" userId="0bbf43ff-7497-4e18-ba51-e8372d008d2e" providerId="ADAL" clId="{4BDD5470-D571-454E-BC54-C635A312B0DF}" dt="2024-04-18T20:53:47.606" v="14281"/>
          <ac:spMkLst>
            <pc:docMk/>
            <pc:sldMk cId="528512669" sldId="257"/>
            <ac:spMk id="441" creationId="{78054897-5581-8B79-9524-427994416B67}"/>
          </ac:spMkLst>
        </pc:spChg>
        <pc:spChg chg="add del mod ord topLvl replST">
          <ac:chgData name="Ricardo Omar Hernandez" userId="0bbf43ff-7497-4e18-ba51-e8372d008d2e" providerId="ADAL" clId="{4BDD5470-D571-454E-BC54-C635A312B0DF}" dt="2024-04-18T20:53:47.608" v="14283"/>
          <ac:spMkLst>
            <pc:docMk/>
            <pc:sldMk cId="528512669" sldId="257"/>
            <ac:spMk id="445" creationId="{1BE820E3-1ED8-3992-CD6D-69920B1A7807}"/>
          </ac:spMkLst>
        </pc:spChg>
        <pc:spChg chg="add mod ord topLvl replST">
          <ac:chgData name="Ricardo Omar Hernandez" userId="0bbf43ff-7497-4e18-ba51-e8372d008d2e" providerId="ADAL" clId="{4BDD5470-D571-454E-BC54-C635A312B0DF}" dt="2024-04-19T18:40:48.356" v="29738"/>
          <ac:spMkLst>
            <pc:docMk/>
            <pc:sldMk cId="528512669" sldId="257"/>
            <ac:spMk id="450" creationId="{B05AA518-E183-011F-C5B6-774D0C5C85BD}"/>
          </ac:spMkLst>
        </pc:spChg>
        <pc:spChg chg="add del mod ord topLvl replST">
          <ac:chgData name="Ricardo Omar Hernandez" userId="0bbf43ff-7497-4e18-ba51-e8372d008d2e" providerId="ADAL" clId="{4BDD5470-D571-454E-BC54-C635A312B0DF}" dt="2024-04-18T20:54:34.040" v="15109"/>
          <ac:spMkLst>
            <pc:docMk/>
            <pc:sldMk cId="528512669" sldId="257"/>
            <ac:spMk id="458" creationId="{80EA7B8B-D775-6EAD-A684-824D07360738}"/>
          </ac:spMkLst>
        </pc:spChg>
        <pc:spChg chg="add del mod ord topLvl replST">
          <ac:chgData name="Ricardo Omar Hernandez" userId="0bbf43ff-7497-4e18-ba51-e8372d008d2e" providerId="ADAL" clId="{4BDD5470-D571-454E-BC54-C635A312B0DF}" dt="2024-04-18T20:54:34.041" v="15111"/>
          <ac:spMkLst>
            <pc:docMk/>
            <pc:sldMk cId="528512669" sldId="257"/>
            <ac:spMk id="462" creationId="{4E655015-A2A9-DD16-7C58-98238085728C}"/>
          </ac:spMkLst>
        </pc:spChg>
        <pc:spChg chg="add mod ord topLvl replST">
          <ac:chgData name="Ricardo Omar Hernandez" userId="0bbf43ff-7497-4e18-ba51-e8372d008d2e" providerId="ADAL" clId="{4BDD5470-D571-454E-BC54-C635A312B0DF}" dt="2024-04-19T18:40:48.356" v="29738"/>
          <ac:spMkLst>
            <pc:docMk/>
            <pc:sldMk cId="528512669" sldId="257"/>
            <ac:spMk id="469" creationId="{D6FC8D30-EB53-9E57-E9E4-FA33074E4FFC}"/>
          </ac:spMkLst>
        </pc:spChg>
        <pc:spChg chg="add mod ord topLvl replST">
          <ac:chgData name="Ricardo Omar Hernandez" userId="0bbf43ff-7497-4e18-ba51-e8372d008d2e" providerId="ADAL" clId="{4BDD5470-D571-454E-BC54-C635A312B0DF}" dt="2024-04-19T18:40:48.356" v="29738"/>
          <ac:spMkLst>
            <pc:docMk/>
            <pc:sldMk cId="528512669" sldId="257"/>
            <ac:spMk id="472" creationId="{6DF59259-4E3A-6FA7-F99A-AAA191A25A32}"/>
          </ac:spMkLst>
        </pc:spChg>
        <pc:spChg chg="add mod ord topLvl replST">
          <ac:chgData name="Ricardo Omar Hernandez" userId="0bbf43ff-7497-4e18-ba51-e8372d008d2e" providerId="ADAL" clId="{4BDD5470-D571-454E-BC54-C635A312B0DF}" dt="2024-04-19T18:40:48.356" v="29738"/>
          <ac:spMkLst>
            <pc:docMk/>
            <pc:sldMk cId="528512669" sldId="257"/>
            <ac:spMk id="479" creationId="{DBF8DA7F-9EC6-F907-47F2-845669AC88DA}"/>
          </ac:spMkLst>
        </pc:spChg>
        <pc:spChg chg="add mod ord topLvl replST">
          <ac:chgData name="Ricardo Omar Hernandez" userId="0bbf43ff-7497-4e18-ba51-e8372d008d2e" providerId="ADAL" clId="{4BDD5470-D571-454E-BC54-C635A312B0DF}" dt="2024-04-19T18:40:48.356" v="29738"/>
          <ac:spMkLst>
            <pc:docMk/>
            <pc:sldMk cId="528512669" sldId="257"/>
            <ac:spMk id="486" creationId="{43F4262E-736C-FF5A-6E6C-271295DBFF0D}"/>
          </ac:spMkLst>
        </pc:spChg>
        <pc:spChg chg="add mod ord topLvl replST">
          <ac:chgData name="Ricardo Omar Hernandez" userId="0bbf43ff-7497-4e18-ba51-e8372d008d2e" providerId="ADAL" clId="{4BDD5470-D571-454E-BC54-C635A312B0DF}" dt="2024-04-19T18:40:48.356" v="29738"/>
          <ac:spMkLst>
            <pc:docMk/>
            <pc:sldMk cId="528512669" sldId="257"/>
            <ac:spMk id="493" creationId="{5FA8CA78-A31D-65C1-215C-D32D9D042B15}"/>
          </ac:spMkLst>
        </pc:spChg>
        <pc:spChg chg="add mod ord topLvl replST">
          <ac:chgData name="Ricardo Omar Hernandez" userId="0bbf43ff-7497-4e18-ba51-e8372d008d2e" providerId="ADAL" clId="{4BDD5470-D571-454E-BC54-C635A312B0DF}" dt="2024-04-19T18:40:48.356" v="29738"/>
          <ac:spMkLst>
            <pc:docMk/>
            <pc:sldMk cId="528512669" sldId="257"/>
            <ac:spMk id="498" creationId="{3FD5D720-268B-F1D0-347B-B14FAD6B0EBC}"/>
          </ac:spMkLst>
        </pc:spChg>
        <pc:spChg chg="add mod ord topLvl replST">
          <ac:chgData name="Ricardo Omar Hernandez" userId="0bbf43ff-7497-4e18-ba51-e8372d008d2e" providerId="ADAL" clId="{4BDD5470-D571-454E-BC54-C635A312B0DF}" dt="2024-04-19T18:40:48.356" v="29738"/>
          <ac:spMkLst>
            <pc:docMk/>
            <pc:sldMk cId="528512669" sldId="257"/>
            <ac:spMk id="503" creationId="{68D7458A-8A7C-8095-8F37-C23DCF694238}"/>
          </ac:spMkLst>
        </pc:spChg>
        <pc:spChg chg="add mod ord topLvl modVis replST">
          <ac:chgData name="Ricardo Omar Hernandez" userId="0bbf43ff-7497-4e18-ba51-e8372d008d2e" providerId="ADAL" clId="{4BDD5470-D571-454E-BC54-C635A312B0DF}" dt="2024-04-19T18:40:48.356" v="29738"/>
          <ac:spMkLst>
            <pc:docMk/>
            <pc:sldMk cId="528512669" sldId="257"/>
            <ac:spMk id="506" creationId="{75797FF2-6932-E757-A97C-CBEE2585B748}"/>
          </ac:spMkLst>
        </pc:spChg>
        <pc:spChg chg="add mod ord topLvl replST">
          <ac:chgData name="Ricardo Omar Hernandez" userId="0bbf43ff-7497-4e18-ba51-e8372d008d2e" providerId="ADAL" clId="{4BDD5470-D571-454E-BC54-C635A312B0DF}" dt="2024-04-19T18:40:48.356" v="29738"/>
          <ac:spMkLst>
            <pc:docMk/>
            <pc:sldMk cId="528512669" sldId="257"/>
            <ac:spMk id="522" creationId="{6547A717-5EB5-1FDA-D8C3-15966419A0BF}"/>
          </ac:spMkLst>
        </pc:spChg>
        <pc:spChg chg="add mod ord topLvl replST">
          <ac:chgData name="Ricardo Omar Hernandez" userId="0bbf43ff-7497-4e18-ba51-e8372d008d2e" providerId="ADAL" clId="{4BDD5470-D571-454E-BC54-C635A312B0DF}" dt="2024-04-19T18:40:48.356" v="29738"/>
          <ac:spMkLst>
            <pc:docMk/>
            <pc:sldMk cId="528512669" sldId="257"/>
            <ac:spMk id="526" creationId="{1B1BA4E4-B7A8-C0B6-D3FD-6D5B31217C25}"/>
          </ac:spMkLst>
        </pc:spChg>
        <pc:spChg chg="add mod ord topLvl replST">
          <ac:chgData name="Ricardo Omar Hernandez" userId="0bbf43ff-7497-4e18-ba51-e8372d008d2e" providerId="ADAL" clId="{4BDD5470-D571-454E-BC54-C635A312B0DF}" dt="2024-04-19T18:40:48.356" v="29738"/>
          <ac:spMkLst>
            <pc:docMk/>
            <pc:sldMk cId="528512669" sldId="257"/>
            <ac:spMk id="532" creationId="{07B84EEB-7827-EFBA-D282-470289FBDE28}"/>
          </ac:spMkLst>
        </pc:spChg>
        <pc:spChg chg="add mod ord topLvl replST">
          <ac:chgData name="Ricardo Omar Hernandez" userId="0bbf43ff-7497-4e18-ba51-e8372d008d2e" providerId="ADAL" clId="{4BDD5470-D571-454E-BC54-C635A312B0DF}" dt="2024-04-19T18:40:48.356" v="29738"/>
          <ac:spMkLst>
            <pc:docMk/>
            <pc:sldMk cId="528512669" sldId="257"/>
            <ac:spMk id="539" creationId="{12D8F71C-D0E1-6E60-F007-BA2EE8EE3890}"/>
          </ac:spMkLst>
        </pc:spChg>
        <pc:spChg chg="add mod ord topLvl replST">
          <ac:chgData name="Ricardo Omar Hernandez" userId="0bbf43ff-7497-4e18-ba51-e8372d008d2e" providerId="ADAL" clId="{4BDD5470-D571-454E-BC54-C635A312B0DF}" dt="2024-04-19T18:40:48.356" v="29738"/>
          <ac:spMkLst>
            <pc:docMk/>
            <pc:sldMk cId="528512669" sldId="257"/>
            <ac:spMk id="549" creationId="{C8FF1236-9158-E5DB-A6D6-B4AFE5BCEEB1}"/>
          </ac:spMkLst>
        </pc:spChg>
        <pc:spChg chg="add mod ord topLvl replST">
          <ac:chgData name="Ricardo Omar Hernandez" userId="0bbf43ff-7497-4e18-ba51-e8372d008d2e" providerId="ADAL" clId="{4BDD5470-D571-454E-BC54-C635A312B0DF}" dt="2024-04-19T18:40:48.356" v="29738"/>
          <ac:spMkLst>
            <pc:docMk/>
            <pc:sldMk cId="528512669" sldId="257"/>
            <ac:spMk id="598" creationId="{A1F76661-13EF-C6B5-F576-1FE012C769E6}"/>
          </ac:spMkLst>
        </pc:spChg>
        <pc:spChg chg="add mod ord topLvl replST">
          <ac:chgData name="Ricardo Omar Hernandez" userId="0bbf43ff-7497-4e18-ba51-e8372d008d2e" providerId="ADAL" clId="{4BDD5470-D571-454E-BC54-C635A312B0DF}" dt="2024-04-19T18:40:48.356" v="29738"/>
          <ac:spMkLst>
            <pc:docMk/>
            <pc:sldMk cId="528512669" sldId="257"/>
            <ac:spMk id="608" creationId="{4CDB9F5D-77C0-CEEC-6CA2-6CCE01049837}"/>
          </ac:spMkLst>
        </pc:spChg>
        <pc:spChg chg="add mod ord topLvl replST">
          <ac:chgData name="Ricardo Omar Hernandez" userId="0bbf43ff-7497-4e18-ba51-e8372d008d2e" providerId="ADAL" clId="{4BDD5470-D571-454E-BC54-C635A312B0DF}" dt="2024-04-19T18:40:48.356" v="29738"/>
          <ac:spMkLst>
            <pc:docMk/>
            <pc:sldMk cId="528512669" sldId="257"/>
            <ac:spMk id="621" creationId="{9F5B6FD4-D229-E948-73A0-4FCC569525EB}"/>
          </ac:spMkLst>
        </pc:spChg>
        <pc:grpChg chg="add del mod replST delST">
          <ac:chgData name="Ricardo Omar Hernandez" userId="0bbf43ff-7497-4e18-ba51-e8372d008d2e" providerId="ADAL" clId="{4BDD5470-D571-454E-BC54-C635A312B0DF}" dt="2024-04-19T14:55:34.193" v="19202"/>
          <ac:grpSpMkLst>
            <pc:docMk/>
            <pc:sldMk cId="528512669" sldId="257"/>
            <ac:grpSpMk id="5" creationId="{01142D43-CB7E-5422-89A8-4EF764DE4ABF}"/>
          </ac:grpSpMkLst>
        </pc:grpChg>
        <pc:grpChg chg="add del mod replST">
          <ac:chgData name="Ricardo Omar Hernandez" userId="0bbf43ff-7497-4e18-ba51-e8372d008d2e" providerId="ADAL" clId="{4BDD5470-D571-454E-BC54-C635A312B0DF}" dt="2024-04-18T20:13:20.386" v="795"/>
          <ac:grpSpMkLst>
            <pc:docMk/>
            <pc:sldMk cId="528512669" sldId="257"/>
            <ac:grpSpMk id="30" creationId="{227B7110-FD79-AEE6-C468-DA4A38718415}"/>
          </ac:grpSpMkLst>
        </pc:grpChg>
        <pc:grpChg chg="add del mod replST delST">
          <ac:chgData name="Ricardo Omar Hernandez" userId="0bbf43ff-7497-4e18-ba51-e8372d008d2e" providerId="ADAL" clId="{4BDD5470-D571-454E-BC54-C635A312B0DF}" dt="2024-04-19T14:55:43.585" v="19251"/>
          <ac:grpSpMkLst>
            <pc:docMk/>
            <pc:sldMk cId="528512669" sldId="257"/>
            <ac:grpSpMk id="30" creationId="{FA44568D-0D4D-8C39-2B5A-3A9A1186E2A0}"/>
          </ac:grpSpMkLst>
        </pc:grpChg>
        <pc:grpChg chg="add del mod replST delST">
          <ac:chgData name="Ricardo Omar Hernandez" userId="0bbf43ff-7497-4e18-ba51-e8372d008d2e" providerId="ADAL" clId="{4BDD5470-D571-454E-BC54-C635A312B0DF}" dt="2024-04-19T14:55:49.968" v="19311"/>
          <ac:grpSpMkLst>
            <pc:docMk/>
            <pc:sldMk cId="528512669" sldId="257"/>
            <ac:grpSpMk id="33" creationId="{A7DF06F8-734E-0678-DA6F-0D516991EA76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13:26.176" v="845"/>
          <ac:grpSpMkLst>
            <pc:docMk/>
            <pc:sldMk cId="528512669" sldId="257"/>
            <ac:grpSpMk id="33" creationId="{D917B9B1-AA09-53BD-654F-5D4CB3437F02}"/>
          </ac:grpSpMkLst>
        </pc:grpChg>
        <pc:grpChg chg="add del mod replST delST">
          <ac:chgData name="Ricardo Omar Hernandez" userId="0bbf43ff-7497-4e18-ba51-e8372d008d2e" providerId="ADAL" clId="{4BDD5470-D571-454E-BC54-C635A312B0DF}" dt="2024-04-19T14:56:13.180" v="19371"/>
          <ac:grpSpMkLst>
            <pc:docMk/>
            <pc:sldMk cId="528512669" sldId="257"/>
            <ac:grpSpMk id="36" creationId="{459FD6DA-DFE8-CAE8-5CBA-D2531B1C22E2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13:42.697" v="972"/>
          <ac:grpSpMkLst>
            <pc:docMk/>
            <pc:sldMk cId="528512669" sldId="257"/>
            <ac:grpSpMk id="36" creationId="{759574A3-5EEB-8097-4DCF-EB2DE1D05C78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15:29.831" v="1055"/>
          <ac:grpSpMkLst>
            <pc:docMk/>
            <pc:sldMk cId="528512669" sldId="257"/>
            <ac:grpSpMk id="39" creationId="{09BBCD10-3E3D-99B4-0020-CC6062BF76C4}"/>
          </ac:grpSpMkLst>
        </pc:grpChg>
        <pc:grpChg chg="add del mod replST delST">
          <ac:chgData name="Ricardo Omar Hernandez" userId="0bbf43ff-7497-4e18-ba51-e8372d008d2e" providerId="ADAL" clId="{4BDD5470-D571-454E-BC54-C635A312B0DF}" dt="2024-04-19T14:56:17.890" v="19431"/>
          <ac:grpSpMkLst>
            <pc:docMk/>
            <pc:sldMk cId="528512669" sldId="257"/>
            <ac:grpSpMk id="39" creationId="{F99FE752-A74A-1158-6F1C-A101CA9E713A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16:06.768" v="1165"/>
          <ac:grpSpMkLst>
            <pc:docMk/>
            <pc:sldMk cId="528512669" sldId="257"/>
            <ac:grpSpMk id="43" creationId="{08AE3914-D15A-21AB-7289-334A7E54A1E9}"/>
          </ac:grpSpMkLst>
        </pc:grpChg>
        <pc:grpChg chg="add del mod replST delST">
          <ac:chgData name="Ricardo Omar Hernandez" userId="0bbf43ff-7497-4e18-ba51-e8372d008d2e" providerId="ADAL" clId="{4BDD5470-D571-454E-BC54-C635A312B0DF}" dt="2024-04-19T14:56:23.956" v="19516"/>
          <ac:grpSpMkLst>
            <pc:docMk/>
            <pc:sldMk cId="528512669" sldId="257"/>
            <ac:grpSpMk id="43" creationId="{A8F63000-6BA2-4BA1-460E-DE67A52447CE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16:11.449" v="1224"/>
          <ac:grpSpMkLst>
            <pc:docMk/>
            <pc:sldMk cId="528512669" sldId="257"/>
            <ac:grpSpMk id="47" creationId="{74F848D1-05D5-DD6D-B53E-653F4551F501}"/>
          </ac:grpSpMkLst>
        </pc:grpChg>
        <pc:grpChg chg="add del mod replST delST">
          <ac:chgData name="Ricardo Omar Hernandez" userId="0bbf43ff-7497-4e18-ba51-e8372d008d2e" providerId="ADAL" clId="{4BDD5470-D571-454E-BC54-C635A312B0DF}" dt="2024-04-19T14:56:29.255" v="19585"/>
          <ac:grpSpMkLst>
            <pc:docMk/>
            <pc:sldMk cId="528512669" sldId="257"/>
            <ac:grpSpMk id="48" creationId="{E1789248-3985-EAA5-1749-CC27E5362350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16:19.044" v="1365"/>
          <ac:grpSpMkLst>
            <pc:docMk/>
            <pc:sldMk cId="528512669" sldId="257"/>
            <ac:grpSpMk id="50" creationId="{58FAAD79-18DF-7160-8439-7459935461F5}"/>
          </ac:grpSpMkLst>
        </pc:grpChg>
        <pc:grpChg chg="add del mod replST delST">
          <ac:chgData name="Ricardo Omar Hernandez" userId="0bbf43ff-7497-4e18-ba51-e8372d008d2e" providerId="ADAL" clId="{4BDD5470-D571-454E-BC54-C635A312B0DF}" dt="2024-04-19T14:56:33.242" v="19641"/>
          <ac:grpSpMkLst>
            <pc:docMk/>
            <pc:sldMk cId="528512669" sldId="257"/>
            <ac:grpSpMk id="51" creationId="{511FF05C-F17A-6388-A06A-CBAE013E3F07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16:26.074" v="1435"/>
          <ac:grpSpMkLst>
            <pc:docMk/>
            <pc:sldMk cId="528512669" sldId="257"/>
            <ac:grpSpMk id="54" creationId="{3251EA30-B0CF-4C85-AACE-FE223F629E31}"/>
          </ac:grpSpMkLst>
        </pc:grpChg>
        <pc:grpChg chg="add del mod replST delST">
          <ac:chgData name="Ricardo Omar Hernandez" userId="0bbf43ff-7497-4e18-ba51-e8372d008d2e" providerId="ADAL" clId="{4BDD5470-D571-454E-BC54-C635A312B0DF}" dt="2024-04-19T15:01:07.512" v="19703"/>
          <ac:grpSpMkLst>
            <pc:docMk/>
            <pc:sldMk cId="528512669" sldId="257"/>
            <ac:grpSpMk id="54" creationId="{8CF044BF-1F08-AFE9-D97E-1C7C820A1A4E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16:34.780" v="1521"/>
          <ac:grpSpMkLst>
            <pc:docMk/>
            <pc:sldMk cId="528512669" sldId="257"/>
            <ac:grpSpMk id="57" creationId="{AF007B5A-A17E-FD24-E9BC-BAEE4F29FC7E}"/>
          </ac:grpSpMkLst>
        </pc:grpChg>
        <pc:grpChg chg="add del mod replST delST">
          <ac:chgData name="Ricardo Omar Hernandez" userId="0bbf43ff-7497-4e18-ba51-e8372d008d2e" providerId="ADAL" clId="{4BDD5470-D571-454E-BC54-C635A312B0DF}" dt="2024-04-19T15:01:12.063" v="19788"/>
          <ac:grpSpMkLst>
            <pc:docMk/>
            <pc:sldMk cId="528512669" sldId="257"/>
            <ac:grpSpMk id="57" creationId="{D9BBF4A1-99C6-2EDC-B65A-E579834576A6}"/>
          </ac:grpSpMkLst>
        </pc:grpChg>
        <pc:grpChg chg="add del mod replST delST">
          <ac:chgData name="Ricardo Omar Hernandez" userId="0bbf43ff-7497-4e18-ba51-e8372d008d2e" providerId="ADAL" clId="{4BDD5470-D571-454E-BC54-C635A312B0DF}" dt="2024-04-19T15:01:15.240" v="19845"/>
          <ac:grpSpMkLst>
            <pc:docMk/>
            <pc:sldMk cId="528512669" sldId="257"/>
            <ac:grpSpMk id="61" creationId="{2343F277-D91E-4664-2E2F-37ABBE742291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16:42.194" v="1591"/>
          <ac:grpSpMkLst>
            <pc:docMk/>
            <pc:sldMk cId="528512669" sldId="257"/>
            <ac:grpSpMk id="61" creationId="{463D307B-7BD6-E5C0-C186-C4D6A493A50E}"/>
          </ac:grpSpMkLst>
        </pc:grpChg>
        <pc:grpChg chg="add del mod replST delST">
          <ac:chgData name="Ricardo Omar Hernandez" userId="0bbf43ff-7497-4e18-ba51-e8372d008d2e" providerId="ADAL" clId="{4BDD5470-D571-454E-BC54-C635A312B0DF}" dt="2024-04-19T15:01:24.057" v="19905"/>
          <ac:grpSpMkLst>
            <pc:docMk/>
            <pc:sldMk cId="528512669" sldId="257"/>
            <ac:grpSpMk id="64" creationId="{880512A2-D29C-B268-D31D-814622F6844F}"/>
          </ac:grpSpMkLst>
        </pc:grpChg>
        <pc:grpChg chg="add mod replST delST">
          <ac:chgData name="Ricardo Omar Hernandez" userId="0bbf43ff-7497-4e18-ba51-e8372d008d2e" providerId="ADAL" clId="{4BDD5470-D571-454E-BC54-C635A312B0DF}" dt="2024-04-18T20:16:42.209" v="1600"/>
          <ac:grpSpMkLst>
            <pc:docMk/>
            <pc:sldMk cId="528512669" sldId="257"/>
            <ac:grpSpMk id="64" creationId="{CD4AF053-A756-F4C4-B304-155340453EB9}"/>
          </ac:grpSpMkLst>
        </pc:grpChg>
        <pc:grpChg chg="add del mod replST delST">
          <ac:chgData name="Ricardo Omar Hernandez" userId="0bbf43ff-7497-4e18-ba51-e8372d008d2e" providerId="ADAL" clId="{4BDD5470-D571-454E-BC54-C635A312B0DF}" dt="2024-04-19T15:01:28.756" v="19959"/>
          <ac:grpSpMkLst>
            <pc:docMk/>
            <pc:sldMk cId="528512669" sldId="257"/>
            <ac:grpSpMk id="67" creationId="{5E7CFCB0-706C-491D-8D6C-5286DAFD508B}"/>
          </ac:grpSpMkLst>
        </pc:grpChg>
        <pc:grpChg chg="del replST delST">
          <ac:chgData name="Ricardo Omar Hernandez" userId="0bbf43ff-7497-4e18-ba51-e8372d008d2e" providerId="ADAL" clId="{4BDD5470-D571-454E-BC54-C635A312B0DF}" dt="2024-04-18T20:16:58.791" v="2629"/>
          <ac:grpSpMkLst>
            <pc:docMk/>
            <pc:sldMk cId="528512669" sldId="257"/>
            <ac:grpSpMk id="67" creationId="{BA202978-5BA9-8465-7EB8-34A35E58DB7F}"/>
          </ac:grpSpMkLst>
        </pc:grpChg>
        <pc:grpChg chg="add del mod replST delST">
          <ac:chgData name="Ricardo Omar Hernandez" userId="0bbf43ff-7497-4e18-ba51-e8372d008d2e" providerId="ADAL" clId="{4BDD5470-D571-454E-BC54-C635A312B0DF}" dt="2024-04-19T15:01:36.826" v="20019"/>
          <ac:grpSpMkLst>
            <pc:docMk/>
            <pc:sldMk cId="528512669" sldId="257"/>
            <ac:grpSpMk id="71" creationId="{2DCFB3D9-B3A9-F191-9EBD-1DFFB1E98947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17:05.828" v="2701"/>
          <ac:grpSpMkLst>
            <pc:docMk/>
            <pc:sldMk cId="528512669" sldId="257"/>
            <ac:grpSpMk id="71" creationId="{3FE88C06-9CC5-FB6A-F2A2-6AC0EF4BB277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17:16.759" v="2778"/>
          <ac:grpSpMkLst>
            <pc:docMk/>
            <pc:sldMk cId="528512669" sldId="257"/>
            <ac:grpSpMk id="74" creationId="{1569DDA9-E02D-CE6B-2640-E2B5C172A520}"/>
          </ac:grpSpMkLst>
        </pc:grpChg>
        <pc:grpChg chg="add del mod replST delST">
          <ac:chgData name="Ricardo Omar Hernandez" userId="0bbf43ff-7497-4e18-ba51-e8372d008d2e" providerId="ADAL" clId="{4BDD5470-D571-454E-BC54-C635A312B0DF}" dt="2024-04-19T15:01:40.183" v="20081"/>
          <ac:grpSpMkLst>
            <pc:docMk/>
            <pc:sldMk cId="528512669" sldId="257"/>
            <ac:grpSpMk id="74" creationId="{9AA93E0B-0F34-289B-A7FB-59583B46D9C8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17:46.523" v="2909"/>
          <ac:grpSpMkLst>
            <pc:docMk/>
            <pc:sldMk cId="528512669" sldId="257"/>
            <ac:grpSpMk id="77" creationId="{17B9787B-8A4A-F432-DBB3-5F27B9869281}"/>
          </ac:grpSpMkLst>
        </pc:grpChg>
        <pc:grpChg chg="add del mod replST delST">
          <ac:chgData name="Ricardo Omar Hernandez" userId="0bbf43ff-7497-4e18-ba51-e8372d008d2e" providerId="ADAL" clId="{4BDD5470-D571-454E-BC54-C635A312B0DF}" dt="2024-04-19T15:01:50.494" v="20153"/>
          <ac:grpSpMkLst>
            <pc:docMk/>
            <pc:sldMk cId="528512669" sldId="257"/>
            <ac:grpSpMk id="77" creationId="{A5BD5061-3FD7-D52C-DC6E-B5AB139C0FE0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18:15.788" v="2993"/>
          <ac:grpSpMkLst>
            <pc:docMk/>
            <pc:sldMk cId="528512669" sldId="257"/>
            <ac:grpSpMk id="81" creationId="{1F49D632-58A5-29CC-021B-F5EC73655CE7}"/>
          </ac:grpSpMkLst>
        </pc:grpChg>
        <pc:grpChg chg="add del mod replST delST">
          <ac:chgData name="Ricardo Omar Hernandez" userId="0bbf43ff-7497-4e18-ba51-e8372d008d2e" providerId="ADAL" clId="{4BDD5470-D571-454E-BC54-C635A312B0DF}" dt="2024-04-19T15:01:52.959" v="20210"/>
          <ac:grpSpMkLst>
            <pc:docMk/>
            <pc:sldMk cId="528512669" sldId="257"/>
            <ac:grpSpMk id="81" creationId="{E0E55FC2-EDF0-2F4F-FE64-DFC7287EB777}"/>
          </ac:grpSpMkLst>
        </pc:grpChg>
        <pc:grpChg chg="add del mod replST delST">
          <ac:chgData name="Ricardo Omar Hernandez" userId="0bbf43ff-7497-4e18-ba51-e8372d008d2e" providerId="ADAL" clId="{4BDD5470-D571-454E-BC54-C635A312B0DF}" dt="2024-04-19T15:01:58.091" v="20270"/>
          <ac:grpSpMkLst>
            <pc:docMk/>
            <pc:sldMk cId="528512669" sldId="257"/>
            <ac:grpSpMk id="84" creationId="{E10DE8AB-1B21-47C6-921B-E9243A3CD588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18:20.030" v="3058"/>
          <ac:grpSpMkLst>
            <pc:docMk/>
            <pc:sldMk cId="528512669" sldId="257"/>
            <ac:grpSpMk id="84" creationId="{E866DB04-7989-0D84-3679-BA752D4A9449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18:24.024" v="3118"/>
          <ac:grpSpMkLst>
            <pc:docMk/>
            <pc:sldMk cId="528512669" sldId="257"/>
            <ac:grpSpMk id="87" creationId="{CEE89C49-6380-ED73-0580-6FC15A16CCAD}"/>
          </ac:grpSpMkLst>
        </pc:grpChg>
        <pc:grpChg chg="add del mod replST delST">
          <ac:chgData name="Ricardo Omar Hernandez" userId="0bbf43ff-7497-4e18-ba51-e8372d008d2e" providerId="ADAL" clId="{4BDD5470-D571-454E-BC54-C635A312B0DF}" dt="2024-04-19T15:02:08.736" v="20324"/>
          <ac:grpSpMkLst>
            <pc:docMk/>
            <pc:sldMk cId="528512669" sldId="257"/>
            <ac:grpSpMk id="87" creationId="{ED3E4905-0BB4-05B4-0BE7-6B46AFAE779A}"/>
          </ac:grpSpMkLst>
        </pc:grpChg>
        <pc:grpChg chg="add del mod replST delST">
          <ac:chgData name="Ricardo Omar Hernandez" userId="0bbf43ff-7497-4e18-ba51-e8372d008d2e" providerId="ADAL" clId="{4BDD5470-D571-454E-BC54-C635A312B0DF}" dt="2024-04-19T15:02:17.789" v="20384"/>
          <ac:grpSpMkLst>
            <pc:docMk/>
            <pc:sldMk cId="528512669" sldId="257"/>
            <ac:grpSpMk id="90" creationId="{1C0F558B-C014-D6E9-0382-59CC5FE311A9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18:47.606" v="3256"/>
          <ac:grpSpMkLst>
            <pc:docMk/>
            <pc:sldMk cId="528512669" sldId="257"/>
            <ac:grpSpMk id="90" creationId="{7BA64E0F-343C-742D-7EB0-8D7B7087F298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19:08.842" v="3314"/>
          <ac:grpSpMkLst>
            <pc:docMk/>
            <pc:sldMk cId="528512669" sldId="257"/>
            <ac:grpSpMk id="93" creationId="{876FF21E-E562-FEF4-6292-C39A111059BD}"/>
          </ac:grpSpMkLst>
        </pc:grpChg>
        <pc:grpChg chg="add del mod replST delST">
          <ac:chgData name="Ricardo Omar Hernandez" userId="0bbf43ff-7497-4e18-ba51-e8372d008d2e" providerId="ADAL" clId="{4BDD5470-D571-454E-BC54-C635A312B0DF}" dt="2024-04-19T15:02:22.477" v="20446"/>
          <ac:grpSpMkLst>
            <pc:docMk/>
            <pc:sldMk cId="528512669" sldId="257"/>
            <ac:grpSpMk id="93" creationId="{E30645CB-E5F9-13B1-4669-5D0E5AAD8498}"/>
          </ac:grpSpMkLst>
        </pc:grpChg>
        <pc:grpChg chg="add del mod replST delST">
          <ac:chgData name="Ricardo Omar Hernandez" userId="0bbf43ff-7497-4e18-ba51-e8372d008d2e" providerId="ADAL" clId="{4BDD5470-D571-454E-BC54-C635A312B0DF}" dt="2024-04-19T15:02:30.824" v="20495"/>
          <ac:grpSpMkLst>
            <pc:docMk/>
            <pc:sldMk cId="528512669" sldId="257"/>
            <ac:grpSpMk id="96" creationId="{4D2644F6-22DE-8A11-CECC-37A02FDEB197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19:22.009" v="3374"/>
          <ac:grpSpMkLst>
            <pc:docMk/>
            <pc:sldMk cId="528512669" sldId="257"/>
            <ac:grpSpMk id="96" creationId="{4D4B41F0-BC04-216B-0FE2-14E250756646}"/>
          </ac:grpSpMkLst>
        </pc:grpChg>
        <pc:grpChg chg="add del mod replST delST">
          <ac:chgData name="Ricardo Omar Hernandez" userId="0bbf43ff-7497-4e18-ba51-e8372d008d2e" providerId="ADAL" clId="{4BDD5470-D571-454E-BC54-C635A312B0DF}" dt="2024-04-19T15:02:36.025" v="20555"/>
          <ac:grpSpMkLst>
            <pc:docMk/>
            <pc:sldMk cId="528512669" sldId="257"/>
            <ac:grpSpMk id="99" creationId="{2BAB7DF3-560D-2B9D-B3BA-0CFCA9ECACA8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19:32.546" v="3471"/>
          <ac:grpSpMkLst>
            <pc:docMk/>
            <pc:sldMk cId="528512669" sldId="257"/>
            <ac:grpSpMk id="99" creationId="{A18F661C-8D3C-11E5-01FA-8178CF768666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20:07.732" v="3587"/>
          <ac:grpSpMkLst>
            <pc:docMk/>
            <pc:sldMk cId="528512669" sldId="257"/>
            <ac:grpSpMk id="102" creationId="{1AECD4DD-CF63-7985-1629-36A620857E3D}"/>
          </ac:grpSpMkLst>
        </pc:grpChg>
        <pc:grpChg chg="add del mod replST delST">
          <ac:chgData name="Ricardo Omar Hernandez" userId="0bbf43ff-7497-4e18-ba51-e8372d008d2e" providerId="ADAL" clId="{4BDD5470-D571-454E-BC54-C635A312B0DF}" dt="2024-04-19T15:02:55.549" v="20638"/>
          <ac:grpSpMkLst>
            <pc:docMk/>
            <pc:sldMk cId="528512669" sldId="257"/>
            <ac:grpSpMk id="102" creationId="{A796C3F7-7F97-6E16-C434-B1BD73BEC106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20:18.689" v="3669"/>
          <ac:grpSpMkLst>
            <pc:docMk/>
            <pc:sldMk cId="528512669" sldId="257"/>
            <ac:grpSpMk id="105" creationId="{2B408327-1158-7576-D5B7-D6D38F812795}"/>
          </ac:grpSpMkLst>
        </pc:grpChg>
        <pc:grpChg chg="add del mod replST delST">
          <ac:chgData name="Ricardo Omar Hernandez" userId="0bbf43ff-7497-4e18-ba51-e8372d008d2e" providerId="ADAL" clId="{4BDD5470-D571-454E-BC54-C635A312B0DF}" dt="2024-04-19T15:02:58.149" v="20695"/>
          <ac:grpSpMkLst>
            <pc:docMk/>
            <pc:sldMk cId="528512669" sldId="257"/>
            <ac:grpSpMk id="106" creationId="{255F988F-3550-3301-152F-9FBD4273C433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20:42.188" v="3784"/>
          <ac:grpSpMkLst>
            <pc:docMk/>
            <pc:sldMk cId="528512669" sldId="257"/>
            <ac:grpSpMk id="109" creationId="{2D1F2FB1-FE48-20FF-2530-4F30C91C37AE}"/>
          </ac:grpSpMkLst>
        </pc:grpChg>
        <pc:grpChg chg="add del mod replST delST">
          <ac:chgData name="Ricardo Omar Hernandez" userId="0bbf43ff-7497-4e18-ba51-e8372d008d2e" providerId="ADAL" clId="{4BDD5470-D571-454E-BC54-C635A312B0DF}" dt="2024-04-19T15:03:06.620" v="20755"/>
          <ac:grpSpMkLst>
            <pc:docMk/>
            <pc:sldMk cId="528512669" sldId="257"/>
            <ac:grpSpMk id="110" creationId="{0E03D014-93DE-00F6-3E48-817C0BAF6752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20:45.729" v="3841"/>
          <ac:grpSpMkLst>
            <pc:docMk/>
            <pc:sldMk cId="528512669" sldId="257"/>
            <ac:grpSpMk id="113" creationId="{37560914-2C90-5FD9-3515-256B42E83AF4}"/>
          </ac:grpSpMkLst>
        </pc:grpChg>
        <pc:grpChg chg="add del mod replST delST">
          <ac:chgData name="Ricardo Omar Hernandez" userId="0bbf43ff-7497-4e18-ba51-e8372d008d2e" providerId="ADAL" clId="{4BDD5470-D571-454E-BC54-C635A312B0DF}" dt="2024-04-19T15:03:16.921" v="20809"/>
          <ac:grpSpMkLst>
            <pc:docMk/>
            <pc:sldMk cId="528512669" sldId="257"/>
            <ac:grpSpMk id="114" creationId="{161A2793-F3F0-EE5E-3FDF-911BC2376769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21:02.243" v="3926"/>
          <ac:grpSpMkLst>
            <pc:docMk/>
            <pc:sldMk cId="528512669" sldId="257"/>
            <ac:grpSpMk id="116" creationId="{9C5218E2-3D28-79FA-1980-13FD5849D0D0}"/>
          </ac:grpSpMkLst>
        </pc:grpChg>
        <pc:grpChg chg="add del mod replST delST">
          <ac:chgData name="Ricardo Omar Hernandez" userId="0bbf43ff-7497-4e18-ba51-e8372d008d2e" providerId="ADAL" clId="{4BDD5470-D571-454E-BC54-C635A312B0DF}" dt="2024-04-19T15:03:22.228" v="20869"/>
          <ac:grpSpMkLst>
            <pc:docMk/>
            <pc:sldMk cId="528512669" sldId="257"/>
            <ac:grpSpMk id="117" creationId="{C0C8432A-25D6-8AF9-DA6B-1369D36468D6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22:27.393" v="4222"/>
          <ac:grpSpMkLst>
            <pc:docMk/>
            <pc:sldMk cId="528512669" sldId="257"/>
            <ac:grpSpMk id="119" creationId="{08E9AE79-A8A4-4623-8156-EEF3F7FB9E00}"/>
          </ac:grpSpMkLst>
        </pc:grpChg>
        <pc:grpChg chg="add del mod replST delST">
          <ac:chgData name="Ricardo Omar Hernandez" userId="0bbf43ff-7497-4e18-ba51-e8372d008d2e" providerId="ADAL" clId="{4BDD5470-D571-454E-BC54-C635A312B0DF}" dt="2024-04-19T15:03:35.137" v="20918"/>
          <ac:grpSpMkLst>
            <pc:docMk/>
            <pc:sldMk cId="528512669" sldId="257"/>
            <ac:grpSpMk id="120" creationId="{712A805A-E834-736E-366B-A438C45FD670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23:00.621" v="4304"/>
          <ac:grpSpMkLst>
            <pc:docMk/>
            <pc:sldMk cId="528512669" sldId="257"/>
            <ac:grpSpMk id="122" creationId="{6E172DBA-3114-1D63-2A49-10B6288CAB3B}"/>
          </ac:grpSpMkLst>
        </pc:grpChg>
        <pc:grpChg chg="add del mod replST delST">
          <ac:chgData name="Ricardo Omar Hernandez" userId="0bbf43ff-7497-4e18-ba51-e8372d008d2e" providerId="ADAL" clId="{4BDD5470-D571-454E-BC54-C635A312B0DF}" dt="2024-04-19T15:03:41.432" v="20980"/>
          <ac:grpSpMkLst>
            <pc:docMk/>
            <pc:sldMk cId="528512669" sldId="257"/>
            <ac:grpSpMk id="123" creationId="{9CDB7D56-A491-3FAC-0B0E-310F768F5C56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23:10.121" v="4385"/>
          <ac:grpSpMkLst>
            <pc:docMk/>
            <pc:sldMk cId="528512669" sldId="257"/>
            <ac:grpSpMk id="125" creationId="{7DD93505-D31B-395D-EF6B-FADEDDDA9A6C}"/>
          </ac:grpSpMkLst>
        </pc:grpChg>
        <pc:grpChg chg="add del mod replST delST">
          <ac:chgData name="Ricardo Omar Hernandez" userId="0bbf43ff-7497-4e18-ba51-e8372d008d2e" providerId="ADAL" clId="{4BDD5470-D571-454E-BC54-C635A312B0DF}" dt="2024-04-19T15:03:49.207" v="21029"/>
          <ac:grpSpMkLst>
            <pc:docMk/>
            <pc:sldMk cId="528512669" sldId="257"/>
            <ac:grpSpMk id="126" creationId="{4C5C39AB-9D2B-8893-E6E8-72DEEA8658BA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23:49.071" v="4544"/>
          <ac:grpSpMkLst>
            <pc:docMk/>
            <pc:sldMk cId="528512669" sldId="257"/>
            <ac:grpSpMk id="129" creationId="{4BE13C86-562F-C91A-400F-915A681AB1BC}"/>
          </ac:grpSpMkLst>
        </pc:grpChg>
        <pc:grpChg chg="add del mod replST delST">
          <ac:chgData name="Ricardo Omar Hernandez" userId="0bbf43ff-7497-4e18-ba51-e8372d008d2e" providerId="ADAL" clId="{4BDD5470-D571-454E-BC54-C635A312B0DF}" dt="2024-04-19T15:03:52.309" v="21089"/>
          <ac:grpSpMkLst>
            <pc:docMk/>
            <pc:sldMk cId="528512669" sldId="257"/>
            <ac:grpSpMk id="130" creationId="{E5A7DD72-3389-15C4-5C7D-9339BADE7630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23:56.029" v="4617"/>
          <ac:grpSpMkLst>
            <pc:docMk/>
            <pc:sldMk cId="528512669" sldId="257"/>
            <ac:grpSpMk id="132" creationId="{107A810D-9379-0188-AE59-EF0400D3275B}"/>
          </ac:grpSpMkLst>
        </pc:grpChg>
        <pc:grpChg chg="add del mod replST delST">
          <ac:chgData name="Ricardo Omar Hernandez" userId="0bbf43ff-7497-4e18-ba51-e8372d008d2e" providerId="ADAL" clId="{4BDD5470-D571-454E-BC54-C635A312B0DF}" dt="2024-04-19T15:04:04.886" v="21149"/>
          <ac:grpSpMkLst>
            <pc:docMk/>
            <pc:sldMk cId="528512669" sldId="257"/>
            <ac:grpSpMk id="133" creationId="{A8B1650A-7544-99DA-CCF1-37D7C45C2E27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23:57.265" v="4672"/>
          <ac:grpSpMkLst>
            <pc:docMk/>
            <pc:sldMk cId="528512669" sldId="257"/>
            <ac:grpSpMk id="135" creationId="{E3E0D925-B8A2-42AC-420F-B3031BF9B310}"/>
          </ac:grpSpMkLst>
        </pc:grpChg>
        <pc:grpChg chg="add del mod replST delST">
          <ac:chgData name="Ricardo Omar Hernandez" userId="0bbf43ff-7497-4e18-ba51-e8372d008d2e" providerId="ADAL" clId="{4BDD5470-D571-454E-BC54-C635A312B0DF}" dt="2024-04-19T15:04:10.560" v="21209"/>
          <ac:grpSpMkLst>
            <pc:docMk/>
            <pc:sldMk cId="528512669" sldId="257"/>
            <ac:grpSpMk id="136" creationId="{6A6C9C0D-FDD5-72BD-DA58-A5EAF288CFE5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24:15.697" v="4763"/>
          <ac:grpSpMkLst>
            <pc:docMk/>
            <pc:sldMk cId="528512669" sldId="257"/>
            <ac:grpSpMk id="138" creationId="{902BB216-4FFD-1F92-0A18-5F505ADE57CE}"/>
          </ac:grpSpMkLst>
        </pc:grpChg>
        <pc:grpChg chg="add del mod replST delST">
          <ac:chgData name="Ricardo Omar Hernandez" userId="0bbf43ff-7497-4e18-ba51-e8372d008d2e" providerId="ADAL" clId="{4BDD5470-D571-454E-BC54-C635A312B0DF}" dt="2024-04-19T15:04:30.738" v="21269"/>
          <ac:grpSpMkLst>
            <pc:docMk/>
            <pc:sldMk cId="528512669" sldId="257"/>
            <ac:grpSpMk id="139" creationId="{321D87F9-CE6C-647E-9BB9-40154E6162EE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24:28.926" v="4832"/>
          <ac:grpSpMkLst>
            <pc:docMk/>
            <pc:sldMk cId="528512669" sldId="257"/>
            <ac:grpSpMk id="142" creationId="{A38FD09E-6BEC-B7F2-768A-E3649080777B}"/>
          </ac:grpSpMkLst>
        </pc:grpChg>
        <pc:grpChg chg="add del mod replST delST">
          <ac:chgData name="Ricardo Omar Hernandez" userId="0bbf43ff-7497-4e18-ba51-e8372d008d2e" providerId="ADAL" clId="{4BDD5470-D571-454E-BC54-C635A312B0DF}" dt="2024-04-19T15:04:35.795" v="21333"/>
          <ac:grpSpMkLst>
            <pc:docMk/>
            <pc:sldMk cId="528512669" sldId="257"/>
            <ac:grpSpMk id="143" creationId="{6DE4552F-12FE-906D-D45A-F3C489A35B43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25:06.377" v="4948"/>
          <ac:grpSpMkLst>
            <pc:docMk/>
            <pc:sldMk cId="528512669" sldId="257"/>
            <ac:grpSpMk id="145" creationId="{9BD1B33C-D3E4-170E-9D6E-68886B076AFC}"/>
          </ac:grpSpMkLst>
        </pc:grpChg>
        <pc:grpChg chg="add del mod replST delST">
          <ac:chgData name="Ricardo Omar Hernandez" userId="0bbf43ff-7497-4e18-ba51-e8372d008d2e" providerId="ADAL" clId="{4BDD5470-D571-454E-BC54-C635A312B0DF}" dt="2024-04-19T15:04:46.445" v="21387"/>
          <ac:grpSpMkLst>
            <pc:docMk/>
            <pc:sldMk cId="528512669" sldId="257"/>
            <ac:grpSpMk id="146" creationId="{98DDAF8A-AE92-FC14-4675-C2E37A1EE5EB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25:09.092" v="5006"/>
          <ac:grpSpMkLst>
            <pc:docMk/>
            <pc:sldMk cId="528512669" sldId="257"/>
            <ac:grpSpMk id="148" creationId="{ABE72B27-D97D-488B-1784-0689C3597EED}"/>
          </ac:grpSpMkLst>
        </pc:grpChg>
        <pc:grpChg chg="add del mod replST delST">
          <ac:chgData name="Ricardo Omar Hernandez" userId="0bbf43ff-7497-4e18-ba51-e8372d008d2e" providerId="ADAL" clId="{4BDD5470-D571-454E-BC54-C635A312B0DF}" dt="2024-04-19T15:05:12.342" v="21463"/>
          <ac:grpSpMkLst>
            <pc:docMk/>
            <pc:sldMk cId="528512669" sldId="257"/>
            <ac:grpSpMk id="149" creationId="{55B76068-D071-BAAF-A553-D248276DC689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25:14.284" v="5095"/>
          <ac:grpSpMkLst>
            <pc:docMk/>
            <pc:sldMk cId="528512669" sldId="257"/>
            <ac:grpSpMk id="151" creationId="{39E2E221-AC46-940A-F336-C6133D6716B7}"/>
          </ac:grpSpMkLst>
        </pc:grpChg>
        <pc:grpChg chg="add del mod replST delST">
          <ac:chgData name="Ricardo Omar Hernandez" userId="0bbf43ff-7497-4e18-ba51-e8372d008d2e" providerId="ADAL" clId="{4BDD5470-D571-454E-BC54-C635A312B0DF}" dt="2024-04-19T15:05:23.816" v="21646"/>
          <ac:grpSpMkLst>
            <pc:docMk/>
            <pc:sldMk cId="528512669" sldId="257"/>
            <ac:grpSpMk id="153" creationId="{940D7D14-DC10-7B00-960E-47C582D7045B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25:35.016" v="5243"/>
          <ac:grpSpMkLst>
            <pc:docMk/>
            <pc:sldMk cId="528512669" sldId="257"/>
            <ac:grpSpMk id="155" creationId="{BF298B3B-FEB8-C82B-C939-0899A915C748}"/>
          </ac:grpSpMkLst>
        </pc:grpChg>
        <pc:grpChg chg="add del mod replST delST">
          <ac:chgData name="Ricardo Omar Hernandez" userId="0bbf43ff-7497-4e18-ba51-e8372d008d2e" providerId="ADAL" clId="{4BDD5470-D571-454E-BC54-C635A312B0DF}" dt="2024-04-19T15:05:25.025" v="21690"/>
          <ac:grpSpMkLst>
            <pc:docMk/>
            <pc:sldMk cId="528512669" sldId="257"/>
            <ac:grpSpMk id="157" creationId="{E0E122A9-E247-E55D-19B1-BDCFD896B236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25:38.450" v="5300"/>
          <ac:grpSpMkLst>
            <pc:docMk/>
            <pc:sldMk cId="528512669" sldId="257"/>
            <ac:grpSpMk id="159" creationId="{23BC3826-A87E-0E41-F20C-C82D4702C8EB}"/>
          </ac:grpSpMkLst>
        </pc:grpChg>
        <pc:grpChg chg="add del mod replST delST">
          <ac:chgData name="Ricardo Omar Hernandez" userId="0bbf43ff-7497-4e18-ba51-e8372d008d2e" providerId="ADAL" clId="{4BDD5470-D571-454E-BC54-C635A312B0DF}" dt="2024-04-19T15:05:27.988" v="21763"/>
          <ac:grpSpMkLst>
            <pc:docMk/>
            <pc:sldMk cId="528512669" sldId="257"/>
            <ac:grpSpMk id="161" creationId="{E536E787-507C-93F0-9CB8-94EF5C89F2A4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26:41.333" v="5434"/>
          <ac:grpSpMkLst>
            <pc:docMk/>
            <pc:sldMk cId="528512669" sldId="257"/>
            <ac:grpSpMk id="162" creationId="{848DE0A7-4CB9-D303-4EFA-649ADF618F34}"/>
          </ac:grpSpMkLst>
        </pc:grpChg>
        <pc:grpChg chg="add del mod replST delST">
          <ac:chgData name="Ricardo Omar Hernandez" userId="0bbf43ff-7497-4e18-ba51-e8372d008d2e" providerId="ADAL" clId="{4BDD5470-D571-454E-BC54-C635A312B0DF}" dt="2024-04-19T15:05:32.838" v="21948"/>
          <ac:grpSpMkLst>
            <pc:docMk/>
            <pc:sldMk cId="528512669" sldId="257"/>
            <ac:grpSpMk id="165" creationId="{3E85849A-D888-24E0-B218-85123C84E18D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26:47.768" v="5525"/>
          <ac:grpSpMkLst>
            <pc:docMk/>
            <pc:sldMk cId="528512669" sldId="257"/>
            <ac:grpSpMk id="165" creationId="{4D4B8AFE-3E72-1D19-5975-1A0916E8B810}"/>
          </ac:grpSpMkLst>
        </pc:grpChg>
        <pc:grpChg chg="add del mod replST delST">
          <ac:chgData name="Ricardo Omar Hernandez" userId="0bbf43ff-7497-4e18-ba51-e8372d008d2e" providerId="ADAL" clId="{4BDD5470-D571-454E-BC54-C635A312B0DF}" dt="2024-04-19T15:05:42.271" v="22008"/>
          <ac:grpSpMkLst>
            <pc:docMk/>
            <pc:sldMk cId="528512669" sldId="257"/>
            <ac:grpSpMk id="168" creationId="{3239F7D0-A617-CED7-574C-035915B76BD9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28:44.911" v="5680"/>
          <ac:grpSpMkLst>
            <pc:docMk/>
            <pc:sldMk cId="528512669" sldId="257"/>
            <ac:grpSpMk id="168" creationId="{A3916CB7-5479-9355-117A-47A06CF52E83}"/>
          </ac:grpSpMkLst>
        </pc:grpChg>
        <pc:grpChg chg="add del mod replST delST">
          <ac:chgData name="Ricardo Omar Hernandez" userId="0bbf43ff-7497-4e18-ba51-e8372d008d2e" providerId="ADAL" clId="{4BDD5470-D571-454E-BC54-C635A312B0DF}" dt="2024-04-19T15:05:53.940" v="22091"/>
          <ac:grpSpMkLst>
            <pc:docMk/>
            <pc:sldMk cId="528512669" sldId="257"/>
            <ac:grpSpMk id="172" creationId="{0ACC4625-F1B7-D959-CB7D-A13E33CC8048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28:57.870" v="5751"/>
          <ac:grpSpMkLst>
            <pc:docMk/>
            <pc:sldMk cId="528512669" sldId="257"/>
            <ac:grpSpMk id="172" creationId="{AECF88A8-8CCE-9151-20F8-2A81A4A2B185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29:08.263" v="5811"/>
          <ac:grpSpMkLst>
            <pc:docMk/>
            <pc:sldMk cId="528512669" sldId="257"/>
            <ac:grpSpMk id="175" creationId="{735EFCC1-C23C-BCC5-7928-00A027160670}"/>
          </ac:grpSpMkLst>
        </pc:grpChg>
        <pc:grpChg chg="add del mod replST delST">
          <ac:chgData name="Ricardo Omar Hernandez" userId="0bbf43ff-7497-4e18-ba51-e8372d008d2e" providerId="ADAL" clId="{4BDD5470-D571-454E-BC54-C635A312B0DF}" dt="2024-04-19T15:05:57.513" v="22215"/>
          <ac:grpSpMkLst>
            <pc:docMk/>
            <pc:sldMk cId="528512669" sldId="257"/>
            <ac:grpSpMk id="176" creationId="{9B49B8FF-9FB4-1004-5267-1DB5708ABA18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29:22.189" v="5896"/>
          <ac:grpSpMkLst>
            <pc:docMk/>
            <pc:sldMk cId="528512669" sldId="257"/>
            <ac:grpSpMk id="178" creationId="{4658F68E-EC26-9E90-3D11-D4143A7A5099}"/>
          </ac:grpSpMkLst>
        </pc:grpChg>
        <pc:grpChg chg="add del mod replST delST">
          <ac:chgData name="Ricardo Omar Hernandez" userId="0bbf43ff-7497-4e18-ba51-e8372d008d2e" providerId="ADAL" clId="{4BDD5470-D571-454E-BC54-C635A312B0DF}" dt="2024-04-19T15:06:07.061" v="22290"/>
          <ac:grpSpMkLst>
            <pc:docMk/>
            <pc:sldMk cId="528512669" sldId="257"/>
            <ac:grpSpMk id="180" creationId="{5D1B477A-BC67-F30D-6CA8-23C9D1C95A2A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29:31.675" v="5963"/>
          <ac:grpSpMkLst>
            <pc:docMk/>
            <pc:sldMk cId="528512669" sldId="257"/>
            <ac:grpSpMk id="182" creationId="{29049436-0273-731B-792F-D44B7E64001B}"/>
          </ac:grpSpMkLst>
        </pc:grpChg>
        <pc:grpChg chg="add del mod replST delST">
          <ac:chgData name="Ricardo Omar Hernandez" userId="0bbf43ff-7497-4e18-ba51-e8372d008d2e" providerId="ADAL" clId="{4BDD5470-D571-454E-BC54-C635A312B0DF}" dt="2024-04-19T15:06:11.638" v="22352"/>
          <ac:grpSpMkLst>
            <pc:docMk/>
            <pc:sldMk cId="528512669" sldId="257"/>
            <ac:grpSpMk id="183" creationId="{A8690985-55B6-B9F5-9C62-BE1DF71854EC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29:37.751" v="6025"/>
          <ac:grpSpMkLst>
            <pc:docMk/>
            <pc:sldMk cId="528512669" sldId="257"/>
            <ac:grpSpMk id="185" creationId="{2C2E3476-298D-1C47-1917-90EAE7FB7850}"/>
          </ac:grpSpMkLst>
        </pc:grpChg>
        <pc:grpChg chg="add del mod replST delST">
          <ac:chgData name="Ricardo Omar Hernandez" userId="0bbf43ff-7497-4e18-ba51-e8372d008d2e" providerId="ADAL" clId="{4BDD5470-D571-454E-BC54-C635A312B0DF}" dt="2024-04-19T15:06:17.320" v="22431"/>
          <ac:grpSpMkLst>
            <pc:docMk/>
            <pc:sldMk cId="528512669" sldId="257"/>
            <ac:grpSpMk id="186" creationId="{880977B1-594A-B9EF-4CA4-8B142316A8CF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29:42.843" v="6104"/>
          <ac:grpSpMkLst>
            <pc:docMk/>
            <pc:sldMk cId="528512669" sldId="257"/>
            <ac:grpSpMk id="188" creationId="{2FE2102E-AB43-096D-9C06-851874B111FB}"/>
          </ac:grpSpMkLst>
        </pc:grpChg>
        <pc:grpChg chg="add del mod replST delST">
          <ac:chgData name="Ricardo Omar Hernandez" userId="0bbf43ff-7497-4e18-ba51-e8372d008d2e" providerId="ADAL" clId="{4BDD5470-D571-454E-BC54-C635A312B0DF}" dt="2024-04-19T15:06:20.561" v="22489"/>
          <ac:grpSpMkLst>
            <pc:docMk/>
            <pc:sldMk cId="528512669" sldId="257"/>
            <ac:grpSpMk id="190" creationId="{2011B3E7-D4BD-6559-0EFE-14B5F008D808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29:45.844" v="6162"/>
          <ac:grpSpMkLst>
            <pc:docMk/>
            <pc:sldMk cId="528512669" sldId="257"/>
            <ac:grpSpMk id="192" creationId="{355AD64D-696F-3EBE-A8BF-68DEF495BA46}"/>
          </ac:grpSpMkLst>
        </pc:grpChg>
        <pc:grpChg chg="add del mod replST delST">
          <ac:chgData name="Ricardo Omar Hernandez" userId="0bbf43ff-7497-4e18-ba51-e8372d008d2e" providerId="ADAL" clId="{4BDD5470-D571-454E-BC54-C635A312B0DF}" dt="2024-04-19T15:06:26.789" v="22550"/>
          <ac:grpSpMkLst>
            <pc:docMk/>
            <pc:sldMk cId="528512669" sldId="257"/>
            <ac:grpSpMk id="193" creationId="{32982D1B-E46E-64CD-BBFD-B1A0AF1553BB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29:47.728" v="6223"/>
          <ac:grpSpMkLst>
            <pc:docMk/>
            <pc:sldMk cId="528512669" sldId="257"/>
            <ac:grpSpMk id="195" creationId="{7233803B-2490-0C1D-B5CE-323FAAE54F21}"/>
          </ac:grpSpMkLst>
        </pc:grpChg>
        <pc:grpChg chg="add del mod replST delST">
          <ac:chgData name="Ricardo Omar Hernandez" userId="0bbf43ff-7497-4e18-ba51-e8372d008d2e" providerId="ADAL" clId="{4BDD5470-D571-454E-BC54-C635A312B0DF}" dt="2024-04-19T15:06:28.192" v="22604"/>
          <ac:grpSpMkLst>
            <pc:docMk/>
            <pc:sldMk cId="528512669" sldId="257"/>
            <ac:grpSpMk id="196" creationId="{7EFB1491-AD6B-6C3B-28B2-2A1A795DEA65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29:49.678" v="6258"/>
          <ac:grpSpMkLst>
            <pc:docMk/>
            <pc:sldMk cId="528512669" sldId="257"/>
            <ac:grpSpMk id="198" creationId="{9E3A636E-8540-3A77-8B3B-FC6E9554C8FB}"/>
          </ac:grpSpMkLst>
        </pc:grpChg>
        <pc:grpChg chg="add del mod replST delST">
          <ac:chgData name="Ricardo Omar Hernandez" userId="0bbf43ff-7497-4e18-ba51-e8372d008d2e" providerId="ADAL" clId="{4BDD5470-D571-454E-BC54-C635A312B0DF}" dt="2024-04-19T15:06:39.554" v="22658"/>
          <ac:grpSpMkLst>
            <pc:docMk/>
            <pc:sldMk cId="528512669" sldId="257"/>
            <ac:grpSpMk id="199" creationId="{3A3B1A9B-1C4B-ADBB-CB15-B5DF4339245C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29:55.262" v="6293"/>
          <ac:grpSpMkLst>
            <pc:docMk/>
            <pc:sldMk cId="528512669" sldId="257"/>
            <ac:grpSpMk id="201" creationId="{69BA9485-B6D5-BFF2-3FF9-DC0A7A94CC8E}"/>
          </ac:grpSpMkLst>
        </pc:grpChg>
        <pc:grpChg chg="add del mod replST delST">
          <ac:chgData name="Ricardo Omar Hernandez" userId="0bbf43ff-7497-4e18-ba51-e8372d008d2e" providerId="ADAL" clId="{4BDD5470-D571-454E-BC54-C635A312B0DF}" dt="2024-04-19T15:06:45.786" v="22741"/>
          <ac:grpSpMkLst>
            <pc:docMk/>
            <pc:sldMk cId="528512669" sldId="257"/>
            <ac:grpSpMk id="202" creationId="{8A0879E2-ACE8-9FA8-763A-8552EF49FC50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30:04.519" v="6347"/>
          <ac:grpSpMkLst>
            <pc:docMk/>
            <pc:sldMk cId="528512669" sldId="257"/>
            <ac:grpSpMk id="204" creationId="{344F8297-0B21-6470-39DD-908B8A35D908}"/>
          </ac:grpSpMkLst>
        </pc:grpChg>
        <pc:grpChg chg="add del mod replST delST">
          <ac:chgData name="Ricardo Omar Hernandez" userId="0bbf43ff-7497-4e18-ba51-e8372d008d2e" providerId="ADAL" clId="{4BDD5470-D571-454E-BC54-C635A312B0DF}" dt="2024-04-19T15:06:50.919" v="22940"/>
          <ac:grpSpMkLst>
            <pc:docMk/>
            <pc:sldMk cId="528512669" sldId="257"/>
            <ac:grpSpMk id="206" creationId="{817D93FA-8220-D7D4-0C9C-75FA5E1C19FF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30:11.883" v="6411"/>
          <ac:grpSpMkLst>
            <pc:docMk/>
            <pc:sldMk cId="528512669" sldId="257"/>
            <ac:grpSpMk id="207" creationId="{5C4431B2-A799-CA2F-05FD-C385A8F9D048}"/>
          </ac:grpSpMkLst>
        </pc:grpChg>
        <pc:grpChg chg="add del mod replST delST">
          <ac:chgData name="Ricardo Omar Hernandez" userId="0bbf43ff-7497-4e18-ba51-e8372d008d2e" providerId="ADAL" clId="{4BDD5470-D571-454E-BC54-C635A312B0DF}" dt="2024-04-19T15:06:54.115" v="23000"/>
          <ac:grpSpMkLst>
            <pc:docMk/>
            <pc:sldMk cId="528512669" sldId="257"/>
            <ac:grpSpMk id="209" creationId="{A1D188AA-3C9D-D645-3730-3700B847F739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30:16.192" v="6471"/>
          <ac:grpSpMkLst>
            <pc:docMk/>
            <pc:sldMk cId="528512669" sldId="257"/>
            <ac:grpSpMk id="210" creationId="{FFAE3D72-DE39-5651-9B93-630B4EB108DE}"/>
          </ac:grpSpMkLst>
        </pc:grpChg>
        <pc:grpChg chg="add del mod replST delST">
          <ac:chgData name="Ricardo Omar Hernandez" userId="0bbf43ff-7497-4e18-ba51-e8372d008d2e" providerId="ADAL" clId="{4BDD5470-D571-454E-BC54-C635A312B0DF}" dt="2024-04-19T15:07:00.956" v="23058"/>
          <ac:grpSpMkLst>
            <pc:docMk/>
            <pc:sldMk cId="528512669" sldId="257"/>
            <ac:grpSpMk id="212" creationId="{8E3ED589-3F8A-55AA-5FB9-F3DADD19EAF2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30:24.398" v="6529"/>
          <ac:grpSpMkLst>
            <pc:docMk/>
            <pc:sldMk cId="528512669" sldId="257"/>
            <ac:grpSpMk id="213" creationId="{C1F99F08-857F-C116-0288-3E54B02862EB}"/>
          </ac:grpSpMkLst>
        </pc:grpChg>
        <pc:grpChg chg="add del mod replST delST">
          <ac:chgData name="Ricardo Omar Hernandez" userId="0bbf43ff-7497-4e18-ba51-e8372d008d2e" providerId="ADAL" clId="{4BDD5470-D571-454E-BC54-C635A312B0DF}" dt="2024-04-19T15:07:04.205" v="23143"/>
          <ac:grpSpMkLst>
            <pc:docMk/>
            <pc:sldMk cId="528512669" sldId="257"/>
            <ac:grpSpMk id="215" creationId="{F79097CC-C055-1F68-56F5-353012D152F2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30:29.259" v="6614"/>
          <ac:grpSpMkLst>
            <pc:docMk/>
            <pc:sldMk cId="528512669" sldId="257"/>
            <ac:grpSpMk id="216" creationId="{CAEFEC2E-B374-D10E-85FE-2EBFF2AD737F}"/>
          </ac:grpSpMkLst>
        </pc:grpChg>
        <pc:grpChg chg="add del mod replST delST">
          <ac:chgData name="Ricardo Omar Hernandez" userId="0bbf43ff-7497-4e18-ba51-e8372d008d2e" providerId="ADAL" clId="{4BDD5470-D571-454E-BC54-C635A312B0DF}" dt="2024-04-19T15:07:19.166" v="23220"/>
          <ac:grpSpMkLst>
            <pc:docMk/>
            <pc:sldMk cId="528512669" sldId="257"/>
            <ac:grpSpMk id="220" creationId="{BD1B9647-A031-2150-22C2-0D5275A4DE7F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30:38.629" v="6683"/>
          <ac:grpSpMkLst>
            <pc:docMk/>
            <pc:sldMk cId="528512669" sldId="257"/>
            <ac:grpSpMk id="220" creationId="{DEFE08ED-9113-05DE-C50A-170ED75AEDFD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30:47.591" v="6745"/>
          <ac:grpSpMkLst>
            <pc:docMk/>
            <pc:sldMk cId="528512669" sldId="257"/>
            <ac:grpSpMk id="223" creationId="{126F8D55-2729-D91D-378C-EA89456CDDD2}"/>
          </ac:grpSpMkLst>
        </pc:grpChg>
        <pc:grpChg chg="add del mod replST delST">
          <ac:chgData name="Ricardo Omar Hernandez" userId="0bbf43ff-7497-4e18-ba51-e8372d008d2e" providerId="ADAL" clId="{4BDD5470-D571-454E-BC54-C635A312B0DF}" dt="2024-04-19T15:07:21.222" v="23282"/>
          <ac:grpSpMkLst>
            <pc:docMk/>
            <pc:sldMk cId="528512669" sldId="257"/>
            <ac:grpSpMk id="223" creationId="{3AF84D4E-DF32-12DC-0E61-2CE81BA771B9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30:56.306" v="6828"/>
          <ac:grpSpMkLst>
            <pc:docMk/>
            <pc:sldMk cId="528512669" sldId="257"/>
            <ac:grpSpMk id="226" creationId="{A00CC19B-46CF-855F-183C-991CC8D1C24A}"/>
          </ac:grpSpMkLst>
        </pc:grpChg>
        <pc:grpChg chg="add del mod replST delST">
          <ac:chgData name="Ricardo Omar Hernandez" userId="0bbf43ff-7497-4e18-ba51-e8372d008d2e" providerId="ADAL" clId="{4BDD5470-D571-454E-BC54-C635A312B0DF}" dt="2024-04-19T15:07:27.249" v="23338"/>
          <ac:grpSpMkLst>
            <pc:docMk/>
            <pc:sldMk cId="528512669" sldId="257"/>
            <ac:grpSpMk id="226" creationId="{EA9436F0-A37E-2D43-7DCB-D2825EAD9335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31:01.419" v="6947"/>
          <ac:grpSpMkLst>
            <pc:docMk/>
            <pc:sldMk cId="528512669" sldId="257"/>
            <ac:grpSpMk id="230" creationId="{48CE1ACA-7F11-54D1-F957-11BCF022757E}"/>
          </ac:grpSpMkLst>
        </pc:grpChg>
        <pc:grpChg chg="add del mod replST delST">
          <ac:chgData name="Ricardo Omar Hernandez" userId="0bbf43ff-7497-4e18-ba51-e8372d008d2e" providerId="ADAL" clId="{4BDD5470-D571-454E-BC54-C635A312B0DF}" dt="2024-04-19T15:07:30.859" v="23398"/>
          <ac:grpSpMkLst>
            <pc:docMk/>
            <pc:sldMk cId="528512669" sldId="257"/>
            <ac:grpSpMk id="230" creationId="{C4402DC9-9670-78A0-D935-536985EF836A}"/>
          </ac:grpSpMkLst>
        </pc:grpChg>
        <pc:grpChg chg="add del mod replST delST">
          <ac:chgData name="Ricardo Omar Hernandez" userId="0bbf43ff-7497-4e18-ba51-e8372d008d2e" providerId="ADAL" clId="{4BDD5470-D571-454E-BC54-C635A312B0DF}" dt="2024-04-19T15:07:35.392" v="23481"/>
          <ac:grpSpMkLst>
            <pc:docMk/>
            <pc:sldMk cId="528512669" sldId="257"/>
            <ac:grpSpMk id="233" creationId="{37510E7B-DB4A-0B35-825F-84C32DB69EC7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31:05.782" v="7030"/>
          <ac:grpSpMkLst>
            <pc:docMk/>
            <pc:sldMk cId="528512669" sldId="257"/>
            <ac:grpSpMk id="233" creationId="{5A8B8B91-276B-95C2-E9BF-8C26A23AAABE}"/>
          </ac:grpSpMkLst>
        </pc:grpChg>
        <pc:grpChg chg="add del mod replST delST">
          <ac:chgData name="Ricardo Omar Hernandez" userId="0bbf43ff-7497-4e18-ba51-e8372d008d2e" providerId="ADAL" clId="{4BDD5470-D571-454E-BC54-C635A312B0DF}" dt="2024-04-19T15:07:41.904" v="23539"/>
          <ac:grpSpMkLst>
            <pc:docMk/>
            <pc:sldMk cId="528512669" sldId="257"/>
            <ac:grpSpMk id="237" creationId="{960BABC6-0990-B922-3A67-BF8B5BAB700A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31:08.792" v="7174"/>
          <ac:grpSpMkLst>
            <pc:docMk/>
            <pc:sldMk cId="528512669" sldId="257"/>
            <ac:grpSpMk id="237" creationId="{DEE1322D-D0F9-B59D-8284-0E318D8C6959}"/>
          </ac:grpSpMkLst>
        </pc:grpChg>
        <pc:grpChg chg="add del mod replST delST">
          <ac:chgData name="Ricardo Omar Hernandez" userId="0bbf43ff-7497-4e18-ba51-e8372d008d2e" providerId="ADAL" clId="{4BDD5470-D571-454E-BC54-C635A312B0DF}" dt="2024-04-19T15:08:01.940" v="23593"/>
          <ac:grpSpMkLst>
            <pc:docMk/>
            <pc:sldMk cId="528512669" sldId="257"/>
            <ac:grpSpMk id="240" creationId="{0ADD9A9C-9831-F61C-AB85-A81D476A3EE1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31:16.332" v="7297"/>
          <ac:grpSpMkLst>
            <pc:docMk/>
            <pc:sldMk cId="528512669" sldId="257"/>
            <ac:grpSpMk id="241" creationId="{829D9FFE-CDC5-5638-2FCC-A76483FD878B}"/>
          </ac:grpSpMkLst>
        </pc:grpChg>
        <pc:grpChg chg="add del mod replST delST">
          <ac:chgData name="Ricardo Omar Hernandez" userId="0bbf43ff-7497-4e18-ba51-e8372d008d2e" providerId="ADAL" clId="{4BDD5470-D571-454E-BC54-C635A312B0DF}" dt="2024-04-19T15:08:08.622" v="23653"/>
          <ac:grpSpMkLst>
            <pc:docMk/>
            <pc:sldMk cId="528512669" sldId="257"/>
            <ac:grpSpMk id="243" creationId="{04966B71-FAC2-3EA8-0650-19681F19E9E4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31:21.765" v="7357"/>
          <ac:grpSpMkLst>
            <pc:docMk/>
            <pc:sldMk cId="528512669" sldId="257"/>
            <ac:grpSpMk id="244" creationId="{CA581383-6DE3-3943-7604-7F1C3D178610}"/>
          </ac:grpSpMkLst>
        </pc:grpChg>
        <pc:grpChg chg="add del mod replST delST">
          <ac:chgData name="Ricardo Omar Hernandez" userId="0bbf43ff-7497-4e18-ba51-e8372d008d2e" providerId="ADAL" clId="{4BDD5470-D571-454E-BC54-C635A312B0DF}" dt="2024-04-19T15:08:14.928" v="23712"/>
          <ac:grpSpMkLst>
            <pc:docMk/>
            <pc:sldMk cId="528512669" sldId="257"/>
            <ac:grpSpMk id="246" creationId="{851460A4-5F56-E72A-2A41-4A153FF55A92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31:33.390" v="7417"/>
          <ac:grpSpMkLst>
            <pc:docMk/>
            <pc:sldMk cId="528512669" sldId="257"/>
            <ac:grpSpMk id="247" creationId="{E51B290A-95B2-7E26-1D76-90AC5EE9B149}"/>
          </ac:grpSpMkLst>
        </pc:grpChg>
        <pc:grpChg chg="add del mod replST delST">
          <ac:chgData name="Ricardo Omar Hernandez" userId="0bbf43ff-7497-4e18-ba51-e8372d008d2e" providerId="ADAL" clId="{4BDD5470-D571-454E-BC54-C635A312B0DF}" dt="2024-04-19T15:08:18.661" v="23747"/>
          <ac:grpSpMkLst>
            <pc:docMk/>
            <pc:sldMk cId="528512669" sldId="257"/>
            <ac:grpSpMk id="249" creationId="{AEBBAC8F-C55F-657E-35D3-72BA4612EAC9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31:45.553" v="7468"/>
          <ac:grpSpMkLst>
            <pc:docMk/>
            <pc:sldMk cId="528512669" sldId="257"/>
            <ac:grpSpMk id="250" creationId="{09538167-9DBC-1B86-0782-3C801A8F0924}"/>
          </ac:grpSpMkLst>
        </pc:grpChg>
        <pc:grpChg chg="add del mod replST delST">
          <ac:chgData name="Ricardo Omar Hernandez" userId="0bbf43ff-7497-4e18-ba51-e8372d008d2e" providerId="ADAL" clId="{4BDD5470-D571-454E-BC54-C635A312B0DF}" dt="2024-04-19T15:08:22.402" v="23782"/>
          <ac:grpSpMkLst>
            <pc:docMk/>
            <pc:sldMk cId="528512669" sldId="257"/>
            <ac:grpSpMk id="252" creationId="{C504C3AE-8CBF-86CA-5860-18189FEA15D3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31:56.194" v="7517"/>
          <ac:grpSpMkLst>
            <pc:docMk/>
            <pc:sldMk cId="528512669" sldId="257"/>
            <ac:grpSpMk id="253" creationId="{653449A1-505B-6CF5-4673-369D24F1CF74}"/>
          </ac:grpSpMkLst>
        </pc:grpChg>
        <pc:grpChg chg="add del mod replST delST">
          <ac:chgData name="Ricardo Omar Hernandez" userId="0bbf43ff-7497-4e18-ba51-e8372d008d2e" providerId="ADAL" clId="{4BDD5470-D571-454E-BC54-C635A312B0DF}" dt="2024-04-19T15:08:30.458" v="23847"/>
          <ac:grpSpMkLst>
            <pc:docMk/>
            <pc:sldMk cId="528512669" sldId="257"/>
            <ac:grpSpMk id="255" creationId="{09363471-F0ED-3FA9-2D49-92E123582F8D}"/>
          </ac:grpSpMkLst>
        </pc:grpChg>
        <pc:grpChg chg="add mod replST delST">
          <ac:chgData name="Ricardo Omar Hernandez" userId="0bbf43ff-7497-4e18-ba51-e8372d008d2e" providerId="ADAL" clId="{4BDD5470-D571-454E-BC54-C635A312B0DF}" dt="2024-04-18T20:31:56.208" v="7525"/>
          <ac:grpSpMkLst>
            <pc:docMk/>
            <pc:sldMk cId="528512669" sldId="257"/>
            <ac:grpSpMk id="256" creationId="{EF2C2A5F-03A6-F7DE-4153-86AECC91F502}"/>
          </ac:grpSpMkLst>
        </pc:grpChg>
        <pc:grpChg chg="add del mod replST delST">
          <ac:chgData name="Ricardo Omar Hernandez" userId="0bbf43ff-7497-4e18-ba51-e8372d008d2e" providerId="ADAL" clId="{4BDD5470-D571-454E-BC54-C635A312B0DF}" dt="2024-04-19T15:08:36.239" v="23906"/>
          <ac:grpSpMkLst>
            <pc:docMk/>
            <pc:sldMk cId="528512669" sldId="257"/>
            <ac:grpSpMk id="258" creationId="{2186069F-C14D-9FBC-B231-3C9E117A7F5B}"/>
          </ac:grpSpMkLst>
        </pc:grpChg>
        <pc:grpChg chg="del replST delST">
          <ac:chgData name="Ricardo Omar Hernandez" userId="0bbf43ff-7497-4e18-ba51-e8372d008d2e" providerId="ADAL" clId="{4BDD5470-D571-454E-BC54-C635A312B0DF}" dt="2024-04-18T20:32:27.744" v="10210"/>
          <ac:grpSpMkLst>
            <pc:docMk/>
            <pc:sldMk cId="528512669" sldId="257"/>
            <ac:grpSpMk id="275" creationId="{AD25CCC6-5B5A-04AB-EB8A-5E63B760BBAA}"/>
          </ac:grpSpMkLst>
        </pc:grpChg>
        <pc:grpChg chg="add del mod replST delST">
          <ac:chgData name="Ricardo Omar Hernandez" userId="0bbf43ff-7497-4e18-ba51-e8372d008d2e" providerId="ADAL" clId="{4BDD5470-D571-454E-BC54-C635A312B0DF}" dt="2024-04-19T15:08:40.182" v="23941"/>
          <ac:grpSpMkLst>
            <pc:docMk/>
            <pc:sldMk cId="528512669" sldId="257"/>
            <ac:grpSpMk id="277" creationId="{521C1A65-988F-ACBC-2937-BEC9D28BFF32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32:35.164" v="10261"/>
          <ac:grpSpMkLst>
            <pc:docMk/>
            <pc:sldMk cId="528512669" sldId="257"/>
            <ac:grpSpMk id="278" creationId="{B51348F6-4FD3-F3A0-44E7-770681B80EF7}"/>
          </ac:grpSpMkLst>
        </pc:grpChg>
        <pc:grpChg chg="add del mod replST delST">
          <ac:chgData name="Ricardo Omar Hernandez" userId="0bbf43ff-7497-4e18-ba51-e8372d008d2e" providerId="ADAL" clId="{4BDD5470-D571-454E-BC54-C635A312B0DF}" dt="2024-04-19T15:08:45.682" v="24006"/>
          <ac:grpSpMkLst>
            <pc:docMk/>
            <pc:sldMk cId="528512669" sldId="257"/>
            <ac:grpSpMk id="280" creationId="{B93DB61E-996D-3772-F74C-2F35A0FD2C32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32:41.751" v="10312"/>
          <ac:grpSpMkLst>
            <pc:docMk/>
            <pc:sldMk cId="528512669" sldId="257"/>
            <ac:grpSpMk id="281" creationId="{15E7351B-8C20-836F-0792-C44441476488}"/>
          </ac:grpSpMkLst>
        </pc:grpChg>
        <pc:grpChg chg="add del mod replST delST">
          <ac:chgData name="Ricardo Omar Hernandez" userId="0bbf43ff-7497-4e18-ba51-e8372d008d2e" providerId="ADAL" clId="{4BDD5470-D571-454E-BC54-C635A312B0DF}" dt="2024-04-19T15:09:24.950" v="24055"/>
          <ac:grpSpMkLst>
            <pc:docMk/>
            <pc:sldMk cId="528512669" sldId="257"/>
            <ac:grpSpMk id="283" creationId="{41483851-7C88-F02D-C512-1DDE3CF9D81D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32:49.702" v="10368"/>
          <ac:grpSpMkLst>
            <pc:docMk/>
            <pc:sldMk cId="528512669" sldId="257"/>
            <ac:grpSpMk id="284" creationId="{D4A02655-3A46-45E8-F1AF-C806119C82E8}"/>
          </ac:grpSpMkLst>
        </pc:grpChg>
        <pc:grpChg chg="add del mod replST delST">
          <ac:chgData name="Ricardo Omar Hernandez" userId="0bbf43ff-7497-4e18-ba51-e8372d008d2e" providerId="ADAL" clId="{4BDD5470-D571-454E-BC54-C635A312B0DF}" dt="2024-04-19T15:09:28.932" v="24334"/>
          <ac:grpSpMkLst>
            <pc:docMk/>
            <pc:sldMk cId="528512669" sldId="257"/>
            <ac:grpSpMk id="286" creationId="{7EB68DC8-7E40-B629-1EE6-F39721327CF7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33:00.101" v="10419"/>
          <ac:grpSpMkLst>
            <pc:docMk/>
            <pc:sldMk cId="528512669" sldId="257"/>
            <ac:grpSpMk id="287" creationId="{A13214C0-E769-A41D-11F7-5519BFF8139F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33:05.051" v="10502"/>
          <ac:grpSpMkLst>
            <pc:docMk/>
            <pc:sldMk cId="528512669" sldId="257"/>
            <ac:grpSpMk id="290" creationId="{C38428DA-EE09-8D14-2661-222DF3D80EAB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33:11.662" v="10571"/>
          <ac:grpSpMkLst>
            <pc:docMk/>
            <pc:sldMk cId="528512669" sldId="257"/>
            <ac:grpSpMk id="294" creationId="{95168839-6B58-36DF-04A3-8028E6B02AEE}"/>
          </ac:grpSpMkLst>
        </pc:grpChg>
        <pc:grpChg chg="add del mod replST delST">
          <ac:chgData name="Ricardo Omar Hernandez" userId="0bbf43ff-7497-4e18-ba51-e8372d008d2e" providerId="ADAL" clId="{4BDD5470-D571-454E-BC54-C635A312B0DF}" dt="2024-04-19T15:09:45.022" v="24536"/>
          <ac:grpSpMkLst>
            <pc:docMk/>
            <pc:sldMk cId="528512669" sldId="257"/>
            <ac:grpSpMk id="296" creationId="{1F9E6F72-A3F1-DFF3-BDEA-882F063034BF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33:20.292" v="10627"/>
          <ac:grpSpMkLst>
            <pc:docMk/>
            <pc:sldMk cId="528512669" sldId="257"/>
            <ac:grpSpMk id="297" creationId="{F74C06CF-91D7-A7D8-EB7B-7FF7D730A4E9}"/>
          </ac:grpSpMkLst>
        </pc:grpChg>
        <pc:grpChg chg="add del mod replST delST">
          <ac:chgData name="Ricardo Omar Hernandez" userId="0bbf43ff-7497-4e18-ba51-e8372d008d2e" providerId="ADAL" clId="{4BDD5470-D571-454E-BC54-C635A312B0DF}" dt="2024-04-19T15:09:50.709" v="24763"/>
          <ac:grpSpMkLst>
            <pc:docMk/>
            <pc:sldMk cId="528512669" sldId="257"/>
            <ac:grpSpMk id="299" creationId="{FB5A67A4-47F4-2410-5ABC-625DD119317A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33:39.445" v="10782"/>
          <ac:grpSpMkLst>
            <pc:docMk/>
            <pc:sldMk cId="528512669" sldId="257"/>
            <ac:grpSpMk id="300" creationId="{ED54A604-B7FC-65BE-EB0A-E610C3B283C8}"/>
          </ac:grpSpMkLst>
        </pc:grpChg>
        <pc:grpChg chg="add del mod replST delST">
          <ac:chgData name="Ricardo Omar Hernandez" userId="0bbf43ff-7497-4e18-ba51-e8372d008d2e" providerId="ADAL" clId="{4BDD5470-D571-454E-BC54-C635A312B0DF}" dt="2024-04-19T15:09:54.902" v="25067"/>
          <ac:grpSpMkLst>
            <pc:docMk/>
            <pc:sldMk cId="528512669" sldId="257"/>
            <ac:grpSpMk id="302" creationId="{D4E06E1D-3E0C-D599-0E30-131799375325}"/>
          </ac:grpSpMkLst>
        </pc:grpChg>
        <pc:grpChg chg="add mod replST delST">
          <ac:chgData name="Ricardo Omar Hernandez" userId="0bbf43ff-7497-4e18-ba51-e8372d008d2e" providerId="ADAL" clId="{4BDD5470-D571-454E-BC54-C635A312B0DF}" dt="2024-04-18T20:33:28.807" v="10755"/>
          <ac:grpSpMkLst>
            <pc:docMk/>
            <pc:sldMk cId="528512669" sldId="257"/>
            <ac:grpSpMk id="303" creationId="{CA00869A-F0C7-C020-A29A-18D3879BF357}"/>
          </ac:grpSpMkLst>
        </pc:grpChg>
        <pc:grpChg chg="add del mod replST delST">
          <ac:chgData name="Ricardo Omar Hernandez" userId="0bbf43ff-7497-4e18-ba51-e8372d008d2e" providerId="ADAL" clId="{4BDD5470-D571-454E-BC54-C635A312B0DF}" dt="2024-04-19T15:10:01.316" v="25369"/>
          <ac:grpSpMkLst>
            <pc:docMk/>
            <pc:sldMk cId="528512669" sldId="257"/>
            <ac:grpSpMk id="305" creationId="{57966C5A-CA01-1C8B-F157-D326E57B91A6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33:49.141" v="10886"/>
          <ac:grpSpMkLst>
            <pc:docMk/>
            <pc:sldMk cId="528512669" sldId="257"/>
            <ac:grpSpMk id="306" creationId="{7FE091B4-2EF7-5C7E-5912-05B724B94DA4}"/>
          </ac:grpSpMkLst>
        </pc:grpChg>
        <pc:grpChg chg="add del mod replST delST">
          <ac:chgData name="Ricardo Omar Hernandez" userId="0bbf43ff-7497-4e18-ba51-e8372d008d2e" providerId="ADAL" clId="{4BDD5470-D571-454E-BC54-C635A312B0DF}" dt="2024-04-19T15:13:04.651" v="25707"/>
          <ac:grpSpMkLst>
            <pc:docMk/>
            <pc:sldMk cId="528512669" sldId="257"/>
            <ac:grpSpMk id="308" creationId="{D0B0E625-2147-7B99-1C13-B004E60546A4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33:53.828" v="10945"/>
          <ac:grpSpMkLst>
            <pc:docMk/>
            <pc:sldMk cId="528512669" sldId="257"/>
            <ac:grpSpMk id="309" creationId="{2AA3771A-97FD-B7F9-C967-5C41B7754B4F}"/>
          </ac:grpSpMkLst>
        </pc:grpChg>
        <pc:grpChg chg="add del mod replST delST">
          <ac:chgData name="Ricardo Omar Hernandez" userId="0bbf43ff-7497-4e18-ba51-e8372d008d2e" providerId="ADAL" clId="{4BDD5470-D571-454E-BC54-C635A312B0DF}" dt="2024-04-19T15:13:18.716" v="25931"/>
          <ac:grpSpMkLst>
            <pc:docMk/>
            <pc:sldMk cId="528512669" sldId="257"/>
            <ac:grpSpMk id="311" creationId="{30A0384A-A977-FE8C-1E75-8FC71A5FC817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33:56.020" v="10980"/>
          <ac:grpSpMkLst>
            <pc:docMk/>
            <pc:sldMk cId="528512669" sldId="257"/>
            <ac:grpSpMk id="312" creationId="{CD22C9FC-127B-15D6-4904-86568FCFC3CA}"/>
          </ac:grpSpMkLst>
        </pc:grpChg>
        <pc:grpChg chg="add del mod replST delST">
          <ac:chgData name="Ricardo Omar Hernandez" userId="0bbf43ff-7497-4e18-ba51-e8372d008d2e" providerId="ADAL" clId="{4BDD5470-D571-454E-BC54-C635A312B0DF}" dt="2024-04-19T15:13:20.986" v="25993"/>
          <ac:grpSpMkLst>
            <pc:docMk/>
            <pc:sldMk cId="528512669" sldId="257"/>
            <ac:grpSpMk id="314" creationId="{852C88C7-F7F8-26C3-1C6D-7B5B234E4DEA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33:59.123" v="11029"/>
          <ac:grpSpMkLst>
            <pc:docMk/>
            <pc:sldMk cId="528512669" sldId="257"/>
            <ac:grpSpMk id="315" creationId="{2844E413-5A9F-475D-5FBE-33C4A80C7E53}"/>
          </ac:grpSpMkLst>
        </pc:grpChg>
        <pc:grpChg chg="add del mod replST delST">
          <ac:chgData name="Ricardo Omar Hernandez" userId="0bbf43ff-7497-4e18-ba51-e8372d008d2e" providerId="ADAL" clId="{4BDD5470-D571-454E-BC54-C635A312B0DF}" dt="2024-04-19T15:13:35.049" v="26099"/>
          <ac:grpSpMkLst>
            <pc:docMk/>
            <pc:sldMk cId="528512669" sldId="257"/>
            <ac:grpSpMk id="317" creationId="{AD64EB34-0A3F-5171-0177-F3C3B0B5D46A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34:09.068" v="11078"/>
          <ac:grpSpMkLst>
            <pc:docMk/>
            <pc:sldMk cId="528512669" sldId="257"/>
            <ac:grpSpMk id="318" creationId="{3683A92F-4EEF-8906-E6B3-4072F4941005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34:11.892" v="11138"/>
          <ac:grpSpMkLst>
            <pc:docMk/>
            <pc:sldMk cId="528512669" sldId="257"/>
            <ac:grpSpMk id="321" creationId="{2E4594B4-5E2D-6DDB-5FBE-536392D6DE9E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34:15.422" v="11198"/>
          <ac:grpSpMkLst>
            <pc:docMk/>
            <pc:sldMk cId="528512669" sldId="257"/>
            <ac:grpSpMk id="324" creationId="{D877CCD7-E0F8-E44B-8244-A9C860804541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34:19.615" v="11257"/>
          <ac:grpSpMkLst>
            <pc:docMk/>
            <pc:sldMk cId="528512669" sldId="257"/>
            <ac:grpSpMk id="327" creationId="{09B1C8EF-56E0-5F52-9BF5-3390F99FC419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34:26.477" v="11292"/>
          <ac:grpSpMkLst>
            <pc:docMk/>
            <pc:sldMk cId="528512669" sldId="257"/>
            <ac:grpSpMk id="330" creationId="{B55BBA4A-A628-BF2A-F63B-ABFBF302A146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34:37.899" v="11352"/>
          <ac:grpSpMkLst>
            <pc:docMk/>
            <pc:sldMk cId="528512669" sldId="257"/>
            <ac:grpSpMk id="333" creationId="{0AAA5B96-2660-AC15-BBF3-4A004056A5EC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35:13.048" v="11414"/>
          <ac:grpSpMkLst>
            <pc:docMk/>
            <pc:sldMk cId="528512669" sldId="257"/>
            <ac:grpSpMk id="336" creationId="{C2C34C52-B332-2828-ED81-5AF2B8857B62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35:14.879" v="11474"/>
          <ac:grpSpMkLst>
            <pc:docMk/>
            <pc:sldMk cId="528512669" sldId="257"/>
            <ac:grpSpMk id="339" creationId="{71C3DA85-AC7A-7908-ADD8-6403ECF66663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35:18.009" v="11536"/>
          <ac:grpSpMkLst>
            <pc:docMk/>
            <pc:sldMk cId="528512669" sldId="257"/>
            <ac:grpSpMk id="342" creationId="{CB35C1F2-9E7B-91F5-B946-554C88022B00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35:26.442" v="11599"/>
          <ac:grpSpMkLst>
            <pc:docMk/>
            <pc:sldMk cId="528512669" sldId="257"/>
            <ac:grpSpMk id="345" creationId="{EC9AB02D-DB23-019D-F010-589D6ADA4364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35:30.989" v="11665"/>
          <ac:grpSpMkLst>
            <pc:docMk/>
            <pc:sldMk cId="528512669" sldId="257"/>
            <ac:grpSpMk id="348" creationId="{36FC87C7-81F7-4B2F-2F66-F99FE3900D78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35:42.955" v="11729"/>
          <ac:grpSpMkLst>
            <pc:docMk/>
            <pc:sldMk cId="528512669" sldId="257"/>
            <ac:grpSpMk id="351" creationId="{263FD888-6D75-C3E9-38D2-46A7628340BB}"/>
          </ac:grpSpMkLst>
        </pc:grpChg>
        <pc:grpChg chg="add del mod replST delST">
          <ac:chgData name="Ricardo Omar Hernandez" userId="0bbf43ff-7497-4e18-ba51-e8372d008d2e" providerId="ADAL" clId="{4BDD5470-D571-454E-BC54-C635A312B0DF}" dt="2024-04-19T15:13:41.144" v="26308"/>
          <ac:grpSpMkLst>
            <pc:docMk/>
            <pc:sldMk cId="528512669" sldId="257"/>
            <ac:grpSpMk id="354" creationId="{6363B82D-2FAC-72A4-AF4E-0EEB80E1311A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35:50.339" v="11776"/>
          <ac:grpSpMkLst>
            <pc:docMk/>
            <pc:sldMk cId="528512669" sldId="257"/>
            <ac:grpSpMk id="354" creationId="{78BCE212-D524-E93B-2DBF-2CC437BBBADB}"/>
          </ac:grpSpMkLst>
        </pc:grpChg>
        <pc:grpChg chg="add del mod replST delST">
          <ac:chgData name="Ricardo Omar Hernandez" userId="0bbf43ff-7497-4e18-ba51-e8372d008d2e" providerId="ADAL" clId="{4BDD5470-D571-454E-BC54-C635A312B0DF}" dt="2024-04-19T15:13:45.987" v="26367"/>
          <ac:grpSpMkLst>
            <pc:docMk/>
            <pc:sldMk cId="528512669" sldId="257"/>
            <ac:grpSpMk id="357" creationId="{A7B1886C-C8C0-A58D-0600-C5CAC88E939C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35:56.227" v="11823"/>
          <ac:grpSpMkLst>
            <pc:docMk/>
            <pc:sldMk cId="528512669" sldId="257"/>
            <ac:grpSpMk id="357" creationId="{E5C983ED-9B33-2C5E-140E-6FF329453E81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36:01.872" v="11881"/>
          <ac:grpSpMkLst>
            <pc:docMk/>
            <pc:sldMk cId="528512669" sldId="257"/>
            <ac:grpSpMk id="360" creationId="{8802AFFE-C79B-18BE-2F30-38960CC6CC57}"/>
          </ac:grpSpMkLst>
        </pc:grpChg>
        <pc:grpChg chg="add del mod replST delST">
          <ac:chgData name="Ricardo Omar Hernandez" userId="0bbf43ff-7497-4e18-ba51-e8372d008d2e" providerId="ADAL" clId="{4BDD5470-D571-454E-BC54-C635A312B0DF}" dt="2024-04-19T15:13:52.231" v="26521"/>
          <ac:grpSpMkLst>
            <pc:docMk/>
            <pc:sldMk cId="528512669" sldId="257"/>
            <ac:grpSpMk id="360" creationId="{9EB3C82E-F175-A924-35F1-18380C84872C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49:53.719" v="11964"/>
          <ac:grpSpMkLst>
            <pc:docMk/>
            <pc:sldMk cId="528512669" sldId="257"/>
            <ac:grpSpMk id="363" creationId="{7ED4C5E9-83EC-A937-46BE-F56467A69978}"/>
          </ac:grpSpMkLst>
        </pc:grpChg>
        <pc:grpChg chg="add del mod replST delST">
          <ac:chgData name="Ricardo Omar Hernandez" userId="0bbf43ff-7497-4e18-ba51-e8372d008d2e" providerId="ADAL" clId="{4BDD5470-D571-454E-BC54-C635A312B0DF}" dt="2024-04-19T15:13:57.368" v="26603"/>
          <ac:grpSpMkLst>
            <pc:docMk/>
            <pc:sldMk cId="528512669" sldId="257"/>
            <ac:grpSpMk id="363" creationId="{891B2D0C-7252-B1CE-ED74-25829511A74E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50:01.132" v="12031"/>
          <ac:grpSpMkLst>
            <pc:docMk/>
            <pc:sldMk cId="528512669" sldId="257"/>
            <ac:grpSpMk id="367" creationId="{1201E6E0-85D1-282D-3184-CAE8BD757FF7}"/>
          </ac:grpSpMkLst>
        </pc:grpChg>
        <pc:grpChg chg="add del mod replST delST">
          <ac:chgData name="Ricardo Omar Hernandez" userId="0bbf43ff-7497-4e18-ba51-e8372d008d2e" providerId="ADAL" clId="{4BDD5470-D571-454E-BC54-C635A312B0DF}" dt="2024-04-19T15:14:05.599" v="26682"/>
          <ac:grpSpMkLst>
            <pc:docMk/>
            <pc:sldMk cId="528512669" sldId="257"/>
            <ac:grpSpMk id="368" creationId="{D6F6278B-2D09-C890-010B-3BA2F3A7FFCA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50:03.984" v="12093"/>
          <ac:grpSpMkLst>
            <pc:docMk/>
            <pc:sldMk cId="528512669" sldId="257"/>
            <ac:grpSpMk id="370" creationId="{C20DDCDE-2EF0-63A9-75E5-76D235A77991}"/>
          </ac:grpSpMkLst>
        </pc:grpChg>
        <pc:grpChg chg="add del mod replST delST">
          <ac:chgData name="Ricardo Omar Hernandez" userId="0bbf43ff-7497-4e18-ba51-e8372d008d2e" providerId="ADAL" clId="{4BDD5470-D571-454E-BC54-C635A312B0DF}" dt="2024-04-19T15:14:08.035" v="26744"/>
          <ac:grpSpMkLst>
            <pc:docMk/>
            <pc:sldMk cId="528512669" sldId="257"/>
            <ac:grpSpMk id="371" creationId="{7C9F87B7-FB00-7EE5-B7BE-377457FABB21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50:12.638" v="12172"/>
          <ac:grpSpMkLst>
            <pc:docMk/>
            <pc:sldMk cId="528512669" sldId="257"/>
            <ac:grpSpMk id="373" creationId="{4517B1E4-650E-C5B2-9A7A-66E66F590288}"/>
          </ac:grpSpMkLst>
        </pc:grpChg>
        <pc:grpChg chg="add del mod replST delST">
          <ac:chgData name="Ricardo Omar Hernandez" userId="0bbf43ff-7497-4e18-ba51-e8372d008d2e" providerId="ADAL" clId="{4BDD5470-D571-454E-BC54-C635A312B0DF}" dt="2024-04-19T15:14:12.465" v="26800"/>
          <ac:grpSpMkLst>
            <pc:docMk/>
            <pc:sldMk cId="528512669" sldId="257"/>
            <ac:grpSpMk id="374" creationId="{2E12F421-B16D-412E-C85D-FB3EE5FA08DD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50:29.059" v="12230"/>
          <ac:grpSpMkLst>
            <pc:docMk/>
            <pc:sldMk cId="528512669" sldId="257"/>
            <ac:grpSpMk id="377" creationId="{43B13996-584F-C521-E26B-D85A0F56D10D}"/>
          </ac:grpSpMkLst>
        </pc:grpChg>
        <pc:grpChg chg="add del mod replST delST">
          <ac:chgData name="Ricardo Omar Hernandez" userId="0bbf43ff-7497-4e18-ba51-e8372d008d2e" providerId="ADAL" clId="{4BDD5470-D571-454E-BC54-C635A312B0DF}" dt="2024-04-19T15:14:15.795" v="26835"/>
          <ac:grpSpMkLst>
            <pc:docMk/>
            <pc:sldMk cId="528512669" sldId="257"/>
            <ac:grpSpMk id="378" creationId="{63D60D14-6FDC-5FF7-261D-E1F5864AD68F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50:30.798" v="12294"/>
          <ac:grpSpMkLst>
            <pc:docMk/>
            <pc:sldMk cId="528512669" sldId="257"/>
            <ac:grpSpMk id="380" creationId="{8D9E8147-B774-1614-E35E-A63115424D2E}"/>
          </ac:grpSpMkLst>
        </pc:grpChg>
        <pc:grpChg chg="add del mod replST delST">
          <ac:chgData name="Ricardo Omar Hernandez" userId="0bbf43ff-7497-4e18-ba51-e8372d008d2e" providerId="ADAL" clId="{4BDD5470-D571-454E-BC54-C635A312B0DF}" dt="2024-04-19T15:14:21.861" v="26897"/>
          <ac:grpSpMkLst>
            <pc:docMk/>
            <pc:sldMk cId="528512669" sldId="257"/>
            <ac:grpSpMk id="381" creationId="{EEAA1CDD-4D13-2E55-9DFD-2013140B762F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50:35.484" v="12348"/>
          <ac:grpSpMkLst>
            <pc:docMk/>
            <pc:sldMk cId="528512669" sldId="257"/>
            <ac:grpSpMk id="383" creationId="{83E8E7AD-EB8C-F1F5-18F5-EF3D0003E245}"/>
          </ac:grpSpMkLst>
        </pc:grpChg>
        <pc:grpChg chg="add del mod replST delST">
          <ac:chgData name="Ricardo Omar Hernandez" userId="0bbf43ff-7497-4e18-ba51-e8372d008d2e" providerId="ADAL" clId="{4BDD5470-D571-454E-BC54-C635A312B0DF}" dt="2024-04-19T15:14:23.872" v="26959"/>
          <ac:grpSpMkLst>
            <pc:docMk/>
            <pc:sldMk cId="528512669" sldId="257"/>
            <ac:grpSpMk id="384" creationId="{A86E423D-45E3-1E37-35C8-54BCA8CC0EE4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50:46.016" v="12409"/>
          <ac:grpSpMkLst>
            <pc:docMk/>
            <pc:sldMk cId="528512669" sldId="257"/>
            <ac:grpSpMk id="386" creationId="{6BB750E8-D214-2E14-AD00-23EA97026D46}"/>
          </ac:grpSpMkLst>
        </pc:grpChg>
        <pc:grpChg chg="add del mod replST delST">
          <ac:chgData name="Ricardo Omar Hernandez" userId="0bbf43ff-7497-4e18-ba51-e8372d008d2e" providerId="ADAL" clId="{4BDD5470-D571-454E-BC54-C635A312B0DF}" dt="2024-04-19T15:14:25.455" v="27021"/>
          <ac:grpSpMkLst>
            <pc:docMk/>
            <pc:sldMk cId="528512669" sldId="257"/>
            <ac:grpSpMk id="387" creationId="{D1E5329C-D2E7-BCA3-096B-02B55B0FF987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50:50.280" v="12469"/>
          <ac:grpSpMkLst>
            <pc:docMk/>
            <pc:sldMk cId="528512669" sldId="257"/>
            <ac:grpSpMk id="389" creationId="{98F689AC-4B62-8302-EE91-EB86C607116F}"/>
          </ac:grpSpMkLst>
        </pc:grpChg>
        <pc:grpChg chg="add del mod replST delST">
          <ac:chgData name="Ricardo Omar Hernandez" userId="0bbf43ff-7497-4e18-ba51-e8372d008d2e" providerId="ADAL" clId="{4BDD5470-D571-454E-BC54-C635A312B0DF}" dt="2024-04-19T15:14:32.660" v="27083"/>
          <ac:grpSpMkLst>
            <pc:docMk/>
            <pc:sldMk cId="528512669" sldId="257"/>
            <ac:grpSpMk id="390" creationId="{4BDFE860-83D9-6889-DA6F-C5C6CE212D95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50:54.170" v="12527"/>
          <ac:grpSpMkLst>
            <pc:docMk/>
            <pc:sldMk cId="528512669" sldId="257"/>
            <ac:grpSpMk id="392" creationId="{7F040CA6-66CA-892B-DD7F-B56A0EB31F76}"/>
          </ac:grpSpMkLst>
        </pc:grpChg>
        <pc:grpChg chg="add del mod replST delST">
          <ac:chgData name="Ricardo Omar Hernandez" userId="0bbf43ff-7497-4e18-ba51-e8372d008d2e" providerId="ADAL" clId="{4BDD5470-D571-454E-BC54-C635A312B0DF}" dt="2024-04-19T15:15:18.769" v="27148"/>
          <ac:grpSpMkLst>
            <pc:docMk/>
            <pc:sldMk cId="528512669" sldId="257"/>
            <ac:grpSpMk id="393" creationId="{EF1751ED-3B66-AE3D-9BDC-020504A318D9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50:57.269" v="12610"/>
          <ac:grpSpMkLst>
            <pc:docMk/>
            <pc:sldMk cId="528512669" sldId="257"/>
            <ac:grpSpMk id="395" creationId="{554A1A3A-0451-35FC-3AB5-CE4D40637C4A}"/>
          </ac:grpSpMkLst>
        </pc:grpChg>
        <pc:grpChg chg="add del mod replST delST">
          <ac:chgData name="Ricardo Omar Hernandez" userId="0bbf43ff-7497-4e18-ba51-e8372d008d2e" providerId="ADAL" clId="{4BDD5470-D571-454E-BC54-C635A312B0DF}" dt="2024-04-19T15:15:31.618" v="27361"/>
          <ac:grpSpMkLst>
            <pc:docMk/>
            <pc:sldMk cId="528512669" sldId="257"/>
            <ac:grpSpMk id="397" creationId="{C9AA2631-1C62-EA4C-58CF-DC48748A110A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51:03.988" v="12679"/>
          <ac:grpSpMkLst>
            <pc:docMk/>
            <pc:sldMk cId="528512669" sldId="257"/>
            <ac:grpSpMk id="399" creationId="{F49F955E-4085-0181-A81F-E1382BC6BD42}"/>
          </ac:grpSpMkLst>
        </pc:grpChg>
        <pc:grpChg chg="add del mod replST delST">
          <ac:chgData name="Ricardo Omar Hernandez" userId="0bbf43ff-7497-4e18-ba51-e8372d008d2e" providerId="ADAL" clId="{4BDD5470-D571-454E-BC54-C635A312B0DF}" dt="2024-04-19T15:15:34.572" v="27421"/>
          <ac:grpSpMkLst>
            <pc:docMk/>
            <pc:sldMk cId="528512669" sldId="257"/>
            <ac:grpSpMk id="401" creationId="{ABB86B37-749A-1E53-31E2-D8E8151610EB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51:06.340" v="12741"/>
          <ac:grpSpMkLst>
            <pc:docMk/>
            <pc:sldMk cId="528512669" sldId="257"/>
            <ac:grpSpMk id="402" creationId="{86E7534F-EA3A-5104-3D2F-EC157A9873DC}"/>
          </ac:grpSpMkLst>
        </pc:grpChg>
        <pc:grpChg chg="add del mod replST delST">
          <ac:chgData name="Ricardo Omar Hernandez" userId="0bbf43ff-7497-4e18-ba51-e8372d008d2e" providerId="ADAL" clId="{4BDD5470-D571-454E-BC54-C635A312B0DF}" dt="2024-04-19T15:15:38.153" v="27595"/>
          <ac:grpSpMkLst>
            <pc:docMk/>
            <pc:sldMk cId="528512669" sldId="257"/>
            <ac:grpSpMk id="404" creationId="{E6C47887-1590-47A6-1D8D-7907D0E58345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51:47.361" v="12820"/>
          <ac:grpSpMkLst>
            <pc:docMk/>
            <pc:sldMk cId="528512669" sldId="257"/>
            <ac:grpSpMk id="405" creationId="{8122F213-2C07-5F1D-5F5B-F63F37661DD5}"/>
          </ac:grpSpMkLst>
        </pc:grpChg>
        <pc:grpChg chg="add del mod replST delST">
          <ac:chgData name="Ricardo Omar Hernandez" userId="0bbf43ff-7497-4e18-ba51-e8372d008d2e" providerId="ADAL" clId="{4BDD5470-D571-454E-BC54-C635A312B0DF}" dt="2024-04-19T15:15:45.148" v="27808"/>
          <ac:grpSpMkLst>
            <pc:docMk/>
            <pc:sldMk cId="528512669" sldId="257"/>
            <ac:grpSpMk id="408" creationId="{313CAAF6-14D5-632C-68E4-F4F65BDA3C59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51:57.363" v="12953"/>
          <ac:grpSpMkLst>
            <pc:docMk/>
            <pc:sldMk cId="528512669" sldId="257"/>
            <ac:grpSpMk id="409" creationId="{7A2DDCFF-78A4-926F-ABFF-CB58A1E41DA2}"/>
          </ac:grpSpMkLst>
        </pc:grpChg>
        <pc:grpChg chg="add del mod replST delST">
          <ac:chgData name="Ricardo Omar Hernandez" userId="0bbf43ff-7497-4e18-ba51-e8372d008d2e" providerId="ADAL" clId="{4BDD5470-D571-454E-BC54-C635A312B0DF}" dt="2024-04-19T15:15:50.858" v="27868"/>
          <ac:grpSpMkLst>
            <pc:docMk/>
            <pc:sldMk cId="528512669" sldId="257"/>
            <ac:grpSpMk id="411" creationId="{89201D95-FBC0-BC0F-2ADD-52F6301CE7C2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52:05.741" v="13083"/>
          <ac:grpSpMkLst>
            <pc:docMk/>
            <pc:sldMk cId="528512669" sldId="257"/>
            <ac:grpSpMk id="412" creationId="{575E98AA-0C41-172A-C081-D95D92E88222}"/>
          </ac:grpSpMkLst>
        </pc:grpChg>
        <pc:grpChg chg="add del mod replST delST">
          <ac:chgData name="Ricardo Omar Hernandez" userId="0bbf43ff-7497-4e18-ba51-e8372d008d2e" providerId="ADAL" clId="{4BDD5470-D571-454E-BC54-C635A312B0DF}" dt="2024-04-19T15:15:53.860" v="27946"/>
          <ac:grpSpMkLst>
            <pc:docMk/>
            <pc:sldMk cId="528512669" sldId="257"/>
            <ac:grpSpMk id="414" creationId="{E4A7A8F2-1608-78E8-E3B9-0583623C6793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52:33.730" v="13389"/>
          <ac:grpSpMkLst>
            <pc:docMk/>
            <pc:sldMk cId="528512669" sldId="257"/>
            <ac:grpSpMk id="416" creationId="{655D0962-D9A0-744A-28E7-2430BF5E5DDF}"/>
          </ac:grpSpMkLst>
        </pc:grpChg>
        <pc:grpChg chg="add mod replST delST">
          <ac:chgData name="Ricardo Omar Hernandez" userId="0bbf43ff-7497-4e18-ba51-e8372d008d2e" providerId="ADAL" clId="{4BDD5470-D571-454E-BC54-C635A312B0DF}" dt="2024-04-18T20:52:22.892" v="13372"/>
          <ac:grpSpMkLst>
            <pc:docMk/>
            <pc:sldMk cId="528512669" sldId="257"/>
            <ac:grpSpMk id="419" creationId="{77C7DCCD-29C6-F7B7-E643-68B07978B55F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52:40.466" v="13491"/>
          <ac:grpSpMkLst>
            <pc:docMk/>
            <pc:sldMk cId="528512669" sldId="257"/>
            <ac:grpSpMk id="422" creationId="{C02E9B1F-9D1F-2DA5-4ACB-DDADE9051C74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52:44.650" v="13599"/>
          <ac:grpSpMkLst>
            <pc:docMk/>
            <pc:sldMk cId="528512669" sldId="257"/>
            <ac:grpSpMk id="425" creationId="{627F5BDF-A322-678E-1F99-0BD4E0540EBC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53:16.655" v="13705"/>
          <ac:grpSpMkLst>
            <pc:docMk/>
            <pc:sldMk cId="528512669" sldId="257"/>
            <ac:grpSpMk id="428" creationId="{12F06DA3-EA73-51B2-EC81-E9B23C321BB6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53:25.568" v="13752"/>
          <ac:grpSpMkLst>
            <pc:docMk/>
            <pc:sldMk cId="528512669" sldId="257"/>
            <ac:grpSpMk id="431" creationId="{58A375FE-E8F8-62FE-5D05-FEC8E6C3EBC3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53:30.155" v="13821"/>
          <ac:grpSpMkLst>
            <pc:docMk/>
            <pc:sldMk cId="528512669" sldId="257"/>
            <ac:grpSpMk id="434" creationId="{58EC5406-5234-7453-EDE4-3BCB6E3A4AA3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53:38.750" v="13975"/>
          <ac:grpSpMkLst>
            <pc:docMk/>
            <pc:sldMk cId="528512669" sldId="257"/>
            <ac:grpSpMk id="438" creationId="{55E7BD36-1DAF-C876-916B-52820049BBBE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53:41.687" v="14131"/>
          <ac:grpSpMkLst>
            <pc:docMk/>
            <pc:sldMk cId="528512669" sldId="257"/>
            <ac:grpSpMk id="442" creationId="{79852BA9-53DA-323F-B071-1F16F16AEEB3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53:47.584" v="14266"/>
          <ac:grpSpMkLst>
            <pc:docMk/>
            <pc:sldMk cId="528512669" sldId="257"/>
            <ac:grpSpMk id="446" creationId="{B92E4544-0C58-68C1-1568-72E7BE2098DE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54:06.649" v="14378"/>
          <ac:grpSpMkLst>
            <pc:docMk/>
            <pc:sldMk cId="528512669" sldId="257"/>
            <ac:grpSpMk id="449" creationId="{48D61A2B-F17E-13FD-D6EA-2FC0677667B9}"/>
          </ac:grpSpMkLst>
        </pc:grpChg>
        <pc:grpChg chg="add del mod replST delST">
          <ac:chgData name="Ricardo Omar Hernandez" userId="0bbf43ff-7497-4e18-ba51-e8372d008d2e" providerId="ADAL" clId="{4BDD5470-D571-454E-BC54-C635A312B0DF}" dt="2024-04-19T15:16:05.741" v="28025"/>
          <ac:grpSpMkLst>
            <pc:docMk/>
            <pc:sldMk cId="528512669" sldId="257"/>
            <ac:grpSpMk id="451" creationId="{54B6171F-EC9A-84C4-312D-9DD993DD4E6F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54:12.800" v="14586"/>
          <ac:grpSpMkLst>
            <pc:docMk/>
            <pc:sldMk cId="528512669" sldId="257"/>
            <ac:grpSpMk id="452" creationId="{674E3BD6-23F5-E8B4-D911-FCA58A4ECBA2}"/>
          </ac:grpSpMkLst>
        </pc:grpChg>
        <pc:grpChg chg="add del mod replST delST">
          <ac:chgData name="Ricardo Omar Hernandez" userId="0bbf43ff-7497-4e18-ba51-e8372d008d2e" providerId="ADAL" clId="{4BDD5470-D571-454E-BC54-C635A312B0DF}" dt="2024-04-19T15:16:07.794" v="28087"/>
          <ac:grpSpMkLst>
            <pc:docMk/>
            <pc:sldMk cId="528512669" sldId="257"/>
            <ac:grpSpMk id="454" creationId="{64EBC9B4-BEFA-46A5-0C9F-0911CF4ACAE4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54:23.108" v="14810"/>
          <ac:grpSpMkLst>
            <pc:docMk/>
            <pc:sldMk cId="528512669" sldId="257"/>
            <ac:grpSpMk id="455" creationId="{136FFA66-6502-9307-A56B-155E0BF55EA2}"/>
          </ac:grpSpMkLst>
        </pc:grpChg>
        <pc:grpChg chg="add del mod replST delST">
          <ac:chgData name="Ricardo Omar Hernandez" userId="0bbf43ff-7497-4e18-ba51-e8372d008d2e" providerId="ADAL" clId="{4BDD5470-D571-454E-BC54-C635A312B0DF}" dt="2024-04-19T15:16:11.813" v="28143"/>
          <ac:grpSpMkLst>
            <pc:docMk/>
            <pc:sldMk cId="528512669" sldId="257"/>
            <ac:grpSpMk id="457" creationId="{97B4F40B-999A-A769-D887-9AB1685ABADE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54:26.902" v="14964"/>
          <ac:grpSpMkLst>
            <pc:docMk/>
            <pc:sldMk cId="528512669" sldId="257"/>
            <ac:grpSpMk id="459" creationId="{EF0363B1-53C1-6324-1CD2-72DEF994A63B}"/>
          </ac:grpSpMkLst>
        </pc:grpChg>
        <pc:grpChg chg="add del mod replST delST">
          <ac:chgData name="Ricardo Omar Hernandez" userId="0bbf43ff-7497-4e18-ba51-e8372d008d2e" providerId="ADAL" clId="{4BDD5470-D571-454E-BC54-C635A312B0DF}" dt="2024-04-19T15:16:18.894" v="28205"/>
          <ac:grpSpMkLst>
            <pc:docMk/>
            <pc:sldMk cId="528512669" sldId="257"/>
            <ac:grpSpMk id="460" creationId="{549C510C-0DE3-BF5F-CAA3-85C18606B351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54:34.026" v="15097"/>
          <ac:grpSpMkLst>
            <pc:docMk/>
            <pc:sldMk cId="528512669" sldId="257"/>
            <ac:grpSpMk id="463" creationId="{99B2422C-F477-4F2C-279D-F7ABAA27D61F}"/>
          </ac:grpSpMkLst>
        </pc:grpChg>
        <pc:grpChg chg="add del mod replST delST">
          <ac:chgData name="Ricardo Omar Hernandez" userId="0bbf43ff-7497-4e18-ba51-e8372d008d2e" providerId="ADAL" clId="{4BDD5470-D571-454E-BC54-C635A312B0DF}" dt="2024-04-19T15:16:24.086" v="28254"/>
          <ac:grpSpMkLst>
            <pc:docMk/>
            <pc:sldMk cId="528512669" sldId="257"/>
            <ac:grpSpMk id="463" creationId="{B865ACE0-8E05-22E8-122E-229A99C0B41A}"/>
          </ac:grpSpMkLst>
        </pc:grpChg>
        <pc:grpChg chg="add del mod replST delST">
          <ac:chgData name="Ricardo Omar Hernandez" userId="0bbf43ff-7497-4e18-ba51-e8372d008d2e" providerId="ADAL" clId="{4BDD5470-D571-454E-BC54-C635A312B0DF}" dt="2024-04-19T15:16:29.573" v="28321"/>
          <ac:grpSpMkLst>
            <pc:docMk/>
            <pc:sldMk cId="528512669" sldId="257"/>
            <ac:grpSpMk id="466" creationId="{115FBDFE-AFBC-D891-ABB8-FB46545627A8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54:38.823" v="15206"/>
          <ac:grpSpMkLst>
            <pc:docMk/>
            <pc:sldMk cId="528512669" sldId="257"/>
            <ac:grpSpMk id="466" creationId="{BE69DEBB-8D54-88A4-B78D-A3BDE494774E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54:45.396" v="15276"/>
          <ac:grpSpMkLst>
            <pc:docMk/>
            <pc:sldMk cId="528512669" sldId="257"/>
            <ac:grpSpMk id="469" creationId="{969A1D66-E419-DB04-EB1A-39A9F4E4085A}"/>
          </ac:grpSpMkLst>
        </pc:grpChg>
        <pc:grpChg chg="add del mod replST delST">
          <ac:chgData name="Ricardo Omar Hernandez" userId="0bbf43ff-7497-4e18-ba51-e8372d008d2e" providerId="ADAL" clId="{4BDD5470-D571-454E-BC54-C635A312B0DF}" dt="2024-04-19T15:16:33.210" v="28381"/>
          <ac:grpSpMkLst>
            <pc:docMk/>
            <pc:sldMk cId="528512669" sldId="257"/>
            <ac:grpSpMk id="470" creationId="{5FFABE0D-F597-8808-69FF-176321886F8B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54:55.151" v="15407"/>
          <ac:grpSpMkLst>
            <pc:docMk/>
            <pc:sldMk cId="528512669" sldId="257"/>
            <ac:grpSpMk id="473" creationId="{1A2EC0BE-E350-6F40-62B9-AFAD45664345}"/>
          </ac:grpSpMkLst>
        </pc:grpChg>
        <pc:grpChg chg="add del mod replST delST">
          <ac:chgData name="Ricardo Omar Hernandez" userId="0bbf43ff-7497-4e18-ba51-e8372d008d2e" providerId="ADAL" clId="{4BDD5470-D571-454E-BC54-C635A312B0DF}" dt="2024-04-19T15:16:39.616" v="28446"/>
          <ac:grpSpMkLst>
            <pc:docMk/>
            <pc:sldMk cId="528512669" sldId="257"/>
            <ac:grpSpMk id="474" creationId="{EF25D08C-C7A2-699F-1205-0867128A5B1A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55:01.716" v="15490"/>
          <ac:grpSpMkLst>
            <pc:docMk/>
            <pc:sldMk cId="528512669" sldId="257"/>
            <ac:grpSpMk id="476" creationId="{94B6F66E-6735-A87F-C79E-E6443614C4CB}"/>
          </ac:grpSpMkLst>
        </pc:grpChg>
        <pc:grpChg chg="add del mod replST delST">
          <ac:chgData name="Ricardo Omar Hernandez" userId="0bbf43ff-7497-4e18-ba51-e8372d008d2e" providerId="ADAL" clId="{4BDD5470-D571-454E-BC54-C635A312B0DF}" dt="2024-04-19T15:17:07.255" v="28500"/>
          <ac:grpSpMkLst>
            <pc:docMk/>
            <pc:sldMk cId="528512669" sldId="257"/>
            <ac:grpSpMk id="477" creationId="{7781D238-7B8B-F355-1076-47D808A4450C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55:10.414" v="15571"/>
          <ac:grpSpMkLst>
            <pc:docMk/>
            <pc:sldMk cId="528512669" sldId="257"/>
            <ac:grpSpMk id="480" creationId="{49954B22-888F-9EE3-B7F7-6030608F4206}"/>
          </ac:grpSpMkLst>
        </pc:grpChg>
        <pc:grpChg chg="add del mod replST delST">
          <ac:chgData name="Ricardo Omar Hernandez" userId="0bbf43ff-7497-4e18-ba51-e8372d008d2e" providerId="ADAL" clId="{4BDD5470-D571-454E-BC54-C635A312B0DF}" dt="2024-04-19T15:17:11.388" v="28560"/>
          <ac:grpSpMkLst>
            <pc:docMk/>
            <pc:sldMk cId="528512669" sldId="257"/>
            <ac:grpSpMk id="481" creationId="{225698D1-D8B5-B6DF-7795-90FC65F1D8CE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55:16.765" v="15655"/>
          <ac:grpSpMkLst>
            <pc:docMk/>
            <pc:sldMk cId="528512669" sldId="257"/>
            <ac:grpSpMk id="483" creationId="{F53B417F-23C1-77A0-4662-F8E9570438D4}"/>
          </ac:grpSpMkLst>
        </pc:grpChg>
        <pc:grpChg chg="add del mod replST delST">
          <ac:chgData name="Ricardo Omar Hernandez" userId="0bbf43ff-7497-4e18-ba51-e8372d008d2e" providerId="ADAL" clId="{4BDD5470-D571-454E-BC54-C635A312B0DF}" dt="2024-04-19T15:17:20.946" v="28611"/>
          <ac:grpSpMkLst>
            <pc:docMk/>
            <pc:sldMk cId="528512669" sldId="257"/>
            <ac:grpSpMk id="484" creationId="{40CC9571-C941-F26D-82FD-E223D076EC49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55:30.059" v="15724"/>
          <ac:grpSpMkLst>
            <pc:docMk/>
            <pc:sldMk cId="528512669" sldId="257"/>
            <ac:grpSpMk id="487" creationId="{550AB9D3-4716-38B6-4752-B0F1D78D756A}"/>
          </ac:grpSpMkLst>
        </pc:grpChg>
        <pc:grpChg chg="add del mod replST delST">
          <ac:chgData name="Ricardo Omar Hernandez" userId="0bbf43ff-7497-4e18-ba51-e8372d008d2e" providerId="ADAL" clId="{4BDD5470-D571-454E-BC54-C635A312B0DF}" dt="2024-04-19T15:17:25.344" v="28662"/>
          <ac:grpSpMkLst>
            <pc:docMk/>
            <pc:sldMk cId="528512669" sldId="257"/>
            <ac:grpSpMk id="488" creationId="{B5CABB36-D5C0-F499-08EE-951EC6FEBA7A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55:31.896" v="15807"/>
          <ac:grpSpMkLst>
            <pc:docMk/>
            <pc:sldMk cId="528512669" sldId="257"/>
            <ac:grpSpMk id="490" creationId="{4777E64E-B4DC-3443-073C-C5CEB1D22514}"/>
          </ac:grpSpMkLst>
        </pc:grpChg>
        <pc:grpChg chg="add del mod replST delST">
          <ac:chgData name="Ricardo Omar Hernandez" userId="0bbf43ff-7497-4e18-ba51-e8372d008d2e" providerId="ADAL" clId="{4BDD5470-D571-454E-BC54-C635A312B0DF}" dt="2024-04-19T15:17:30.770" v="28713"/>
          <ac:grpSpMkLst>
            <pc:docMk/>
            <pc:sldMk cId="528512669" sldId="257"/>
            <ac:grpSpMk id="491" creationId="{DAA18DA3-386E-493C-85AD-2C9AD71D5165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56:19.464" v="15948"/>
          <ac:grpSpMkLst>
            <pc:docMk/>
            <pc:sldMk cId="528512669" sldId="257"/>
            <ac:grpSpMk id="494" creationId="{FD809EFA-EFC4-5E86-3905-457E89F24158}"/>
          </ac:grpSpMkLst>
        </pc:grpChg>
        <pc:grpChg chg="add del mod replST delST">
          <ac:chgData name="Ricardo Omar Hernandez" userId="0bbf43ff-7497-4e18-ba51-e8372d008d2e" providerId="ADAL" clId="{4BDD5470-D571-454E-BC54-C635A312B0DF}" dt="2024-04-19T15:17:40.299" v="28780"/>
          <ac:grpSpMkLst>
            <pc:docMk/>
            <pc:sldMk cId="528512669" sldId="257"/>
            <ac:grpSpMk id="495" creationId="{9BDB3153-4552-721C-24AD-81D2A4F06616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56:22.052" v="16008"/>
          <ac:grpSpMkLst>
            <pc:docMk/>
            <pc:sldMk cId="528512669" sldId="257"/>
            <ac:grpSpMk id="497" creationId="{F99289E4-C1AF-7C62-0C6D-A88A24746E86}"/>
          </ac:grpSpMkLst>
        </pc:grpChg>
        <pc:grpChg chg="add del mod replST delST">
          <ac:chgData name="Ricardo Omar Hernandez" userId="0bbf43ff-7497-4e18-ba51-e8372d008d2e" providerId="ADAL" clId="{4BDD5470-D571-454E-BC54-C635A312B0DF}" dt="2024-04-19T15:17:48.261" v="29003"/>
          <ac:grpSpMkLst>
            <pc:docMk/>
            <pc:sldMk cId="528512669" sldId="257"/>
            <ac:grpSpMk id="499" creationId="{00F585D8-F3E7-D147-E264-31860A3C2922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56:26.454" v="16094"/>
          <ac:grpSpMkLst>
            <pc:docMk/>
            <pc:sldMk cId="528512669" sldId="257"/>
            <ac:grpSpMk id="500" creationId="{2855E4F3-07A6-8656-54B2-1FBAAF0B43D8}"/>
          </ac:grpSpMkLst>
        </pc:grpChg>
        <pc:grpChg chg="add del mod replST delST">
          <ac:chgData name="Ricardo Omar Hernandez" userId="0bbf43ff-7497-4e18-ba51-e8372d008d2e" providerId="ADAL" clId="{4BDD5470-D571-454E-BC54-C635A312B0DF}" dt="2024-04-19T15:17:53.984" v="29081"/>
          <ac:grpSpMkLst>
            <pc:docMk/>
            <pc:sldMk cId="528512669" sldId="257"/>
            <ac:grpSpMk id="502" creationId="{0932A363-0C8E-AA38-B993-D14B54216892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56:41.150" v="16163"/>
          <ac:grpSpMkLst>
            <pc:docMk/>
            <pc:sldMk cId="528512669" sldId="257"/>
            <ac:grpSpMk id="504" creationId="{214544E4-D719-CAB6-48CD-64E5B85FB967}"/>
          </ac:grpSpMkLst>
        </pc:grpChg>
        <pc:grpChg chg="add del mod replST delST">
          <ac:chgData name="Ricardo Omar Hernandez" userId="0bbf43ff-7497-4e18-ba51-e8372d008d2e" providerId="ADAL" clId="{4BDD5470-D571-454E-BC54-C635A312B0DF}" dt="2024-04-19T15:18:13.515" v="29162"/>
          <ac:grpSpMkLst>
            <pc:docMk/>
            <pc:sldMk cId="528512669" sldId="257"/>
            <ac:grpSpMk id="507" creationId="{AB15E2C1-28A7-C5E3-E1E2-6D58A4ABF7BB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56:48.411" v="16225"/>
          <ac:grpSpMkLst>
            <pc:docMk/>
            <pc:sldMk cId="528512669" sldId="257"/>
            <ac:grpSpMk id="507" creationId="{B51433EA-DF17-6401-3FDE-89AF299A7B4A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56:53.348" v="16274"/>
          <ac:grpSpMkLst>
            <pc:docMk/>
            <pc:sldMk cId="528512669" sldId="257"/>
            <ac:grpSpMk id="510" creationId="{37D8D489-69FF-4F9E-14EB-CE962FAAAB22}"/>
          </ac:grpSpMkLst>
        </pc:grpChg>
        <pc:grpChg chg="add del mod replST delST">
          <ac:chgData name="Ricardo Omar Hernandez" userId="0bbf43ff-7497-4e18-ba51-e8372d008d2e" providerId="ADAL" clId="{4BDD5470-D571-454E-BC54-C635A312B0DF}" dt="2024-04-19T15:18:17.870" v="29230"/>
          <ac:grpSpMkLst>
            <pc:docMk/>
            <pc:sldMk cId="528512669" sldId="257"/>
            <ac:grpSpMk id="510" creationId="{4C4EB287-FB1D-89CE-5752-615C7B118E74}"/>
          </ac:grpSpMkLst>
        </pc:grpChg>
        <pc:grpChg chg="add del mod replST delST">
          <ac:chgData name="Ricardo Omar Hernandez" userId="0bbf43ff-7497-4e18-ba51-e8372d008d2e" providerId="ADAL" clId="{4BDD5470-D571-454E-BC54-C635A312B0DF}" dt="2024-04-19T15:18:32.470" v="29298"/>
          <ac:grpSpMkLst>
            <pc:docMk/>
            <pc:sldMk cId="528512669" sldId="257"/>
            <ac:grpSpMk id="513" creationId="{2C225A36-B890-01B1-F7DD-E6D39D973AF0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56:59.439" v="16330"/>
          <ac:grpSpMkLst>
            <pc:docMk/>
            <pc:sldMk cId="528512669" sldId="257"/>
            <ac:grpSpMk id="513" creationId="{4F629B96-F21C-3FD7-E15B-083039801365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57:06.680" v="16384"/>
          <ac:grpSpMkLst>
            <pc:docMk/>
            <pc:sldMk cId="528512669" sldId="257"/>
            <ac:grpSpMk id="516" creationId="{7D443047-6175-9CF4-A535-E34382549FC8}"/>
          </ac:grpSpMkLst>
        </pc:grpChg>
        <pc:grpChg chg="add del mod replST delST">
          <ac:chgData name="Ricardo Omar Hernandez" userId="0bbf43ff-7497-4e18-ba51-e8372d008d2e" providerId="ADAL" clId="{4BDD5470-D571-454E-BC54-C635A312B0DF}" dt="2024-04-19T15:18:34.071" v="29360"/>
          <ac:grpSpMkLst>
            <pc:docMk/>
            <pc:sldMk cId="528512669" sldId="257"/>
            <ac:grpSpMk id="516" creationId="{CCF3A413-363D-E5F0-1D57-6F353F2EA268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57:23.105" v="16458"/>
          <ac:grpSpMkLst>
            <pc:docMk/>
            <pc:sldMk cId="528512669" sldId="257"/>
            <ac:grpSpMk id="519" creationId="{071D95AF-A724-38DF-6755-304EB4F199D6}"/>
          </ac:grpSpMkLst>
        </pc:grpChg>
        <pc:grpChg chg="add del mod replST delST">
          <ac:chgData name="Ricardo Omar Hernandez" userId="0bbf43ff-7497-4e18-ba51-e8372d008d2e" providerId="ADAL" clId="{4BDD5470-D571-454E-BC54-C635A312B0DF}" dt="2024-04-19T15:18:43.847" v="29416"/>
          <ac:grpSpMkLst>
            <pc:docMk/>
            <pc:sldMk cId="528512669" sldId="257"/>
            <ac:grpSpMk id="519" creationId="{57102E27-4400-5276-9CAB-CE341FDC01BA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57:45.517" v="16605"/>
          <ac:grpSpMkLst>
            <pc:docMk/>
            <pc:sldMk cId="528512669" sldId="257"/>
            <ac:grpSpMk id="523" creationId="{705BFE81-FB1F-CD6A-2210-185A7ECCBDB6}"/>
          </ac:grpSpMkLst>
        </pc:grpChg>
        <pc:grpChg chg="add del mod replST delST">
          <ac:chgData name="Ricardo Omar Hernandez" userId="0bbf43ff-7497-4e18-ba51-e8372d008d2e" providerId="ADAL" clId="{4BDD5470-D571-454E-BC54-C635A312B0DF}" dt="2024-04-19T15:18:49.517" v="29496"/>
          <ac:grpSpMkLst>
            <pc:docMk/>
            <pc:sldMk cId="528512669" sldId="257"/>
            <ac:grpSpMk id="523" creationId="{97997965-A90F-0C34-3F7C-16F0D60754B0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57:50.975" v="16665"/>
          <ac:grpSpMkLst>
            <pc:docMk/>
            <pc:sldMk cId="528512669" sldId="257"/>
            <ac:grpSpMk id="526" creationId="{83DCD9DC-C191-21C0-FDB0-1CD3F6BF429E}"/>
          </ac:grpSpMkLst>
        </pc:grpChg>
        <pc:grpChg chg="add del mod replST delST">
          <ac:chgData name="Ricardo Omar Hernandez" userId="0bbf43ff-7497-4e18-ba51-e8372d008d2e" providerId="ADAL" clId="{4BDD5470-D571-454E-BC54-C635A312B0DF}" dt="2024-04-19T15:18:52.683" v="29556"/>
          <ac:grpSpMkLst>
            <pc:docMk/>
            <pc:sldMk cId="528512669" sldId="257"/>
            <ac:grpSpMk id="527" creationId="{76F57DFA-DC62-48AD-48D0-F643E7BB42ED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57:54.391" v="16750"/>
          <ac:grpSpMkLst>
            <pc:docMk/>
            <pc:sldMk cId="528512669" sldId="257"/>
            <ac:grpSpMk id="529" creationId="{0F12AB82-9B7B-CC70-6F90-EBB430FB5886}"/>
          </ac:grpSpMkLst>
        </pc:grpChg>
        <pc:grpChg chg="add del mod replST delST">
          <ac:chgData name="Ricardo Omar Hernandez" userId="0bbf43ff-7497-4e18-ba51-e8372d008d2e" providerId="ADAL" clId="{4BDD5470-D571-454E-BC54-C635A312B0DF}" dt="2024-04-19T15:18:57.618" v="29621"/>
          <ac:grpSpMkLst>
            <pc:docMk/>
            <pc:sldMk cId="528512669" sldId="257"/>
            <ac:grpSpMk id="530" creationId="{84DB563A-AE4C-296A-1AB1-62F986233948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58:10.121" v="16819"/>
          <ac:grpSpMkLst>
            <pc:docMk/>
            <pc:sldMk cId="528512669" sldId="257"/>
            <ac:grpSpMk id="533" creationId="{15174181-08E1-F90E-6927-89F17E445358}"/>
          </ac:grpSpMkLst>
        </pc:grpChg>
        <pc:grpChg chg="add del mod replST delST">
          <ac:chgData name="Ricardo Omar Hernandez" userId="0bbf43ff-7497-4e18-ba51-e8372d008d2e" providerId="ADAL" clId="{4BDD5470-D571-454E-BC54-C635A312B0DF}" dt="2024-04-19T15:19:05.544" v="29675"/>
          <ac:grpSpMkLst>
            <pc:docMk/>
            <pc:sldMk cId="528512669" sldId="257"/>
            <ac:grpSpMk id="534" creationId="{49516C7A-163E-FE7A-25FD-B0BB847E584A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58:16.125" v="16904"/>
          <ac:grpSpMkLst>
            <pc:docMk/>
            <pc:sldMk cId="528512669" sldId="257"/>
            <ac:grpSpMk id="536" creationId="{63F79A41-D7BB-0F6C-B342-BFD055C8C447}"/>
          </ac:grpSpMkLst>
        </pc:grpChg>
        <pc:grpChg chg="add del mod replST delST">
          <ac:chgData name="Ricardo Omar Hernandez" userId="0bbf43ff-7497-4e18-ba51-e8372d008d2e" providerId="ADAL" clId="{4BDD5470-D571-454E-BC54-C635A312B0DF}" dt="2024-04-19T18:40:48.356" v="29737"/>
          <ac:grpSpMkLst>
            <pc:docMk/>
            <pc:sldMk cId="528512669" sldId="257"/>
            <ac:grpSpMk id="537" creationId="{2A4CCD2C-F884-B6EE-F6C8-CA144977C07A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58:35.994" v="17057"/>
          <ac:grpSpMkLst>
            <pc:docMk/>
            <pc:sldMk cId="528512669" sldId="257"/>
            <ac:grpSpMk id="540" creationId="{15C1054C-6CC8-9660-DF60-522A22B716A6}"/>
          </ac:grpSpMkLst>
        </pc:grpChg>
        <pc:grpChg chg="add mod replST delST">
          <ac:chgData name="Ricardo Omar Hernandez" userId="0bbf43ff-7497-4e18-ba51-e8372d008d2e" providerId="ADAL" clId="{4BDD5470-D571-454E-BC54-C635A312B0DF}" dt="2024-04-19T18:40:48.370" v="29745"/>
          <ac:grpSpMkLst>
            <pc:docMk/>
            <pc:sldMk cId="528512669" sldId="257"/>
            <ac:grpSpMk id="541" creationId="{21F19F09-22CA-A425-3988-0891B904008E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58:39.032" v="17117"/>
          <ac:grpSpMkLst>
            <pc:docMk/>
            <pc:sldMk cId="528512669" sldId="257"/>
            <ac:grpSpMk id="543" creationId="{F3C908FB-BDE0-AA92-C631-B9AA8AF8E991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58:43.352" v="17199"/>
          <ac:grpSpMkLst>
            <pc:docMk/>
            <pc:sldMk cId="528512669" sldId="257"/>
            <ac:grpSpMk id="546" creationId="{755FAB4B-AC41-0203-8307-BAD8A7B4BC47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58:54.820" v="17268"/>
          <ac:grpSpMkLst>
            <pc:docMk/>
            <pc:sldMk cId="528512669" sldId="257"/>
            <ac:grpSpMk id="550" creationId="{39D85BF3-BB2D-BD07-3850-48A6495B896F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59:05.243" v="17330"/>
          <ac:grpSpMkLst>
            <pc:docMk/>
            <pc:sldMk cId="528512669" sldId="257"/>
            <ac:grpSpMk id="553" creationId="{046D0C67-CE4D-BAC5-0EE6-42371017C1C7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59:12.830" v="17386"/>
          <ac:grpSpMkLst>
            <pc:docMk/>
            <pc:sldMk cId="528512669" sldId="257"/>
            <ac:grpSpMk id="556" creationId="{6E5D672E-ABCC-E260-8903-3520D2AEF6DD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59:19.150" v="17442"/>
          <ac:grpSpMkLst>
            <pc:docMk/>
            <pc:sldMk cId="528512669" sldId="257"/>
            <ac:grpSpMk id="559" creationId="{D7C3D5AE-C614-F2E4-03E9-99D353E20157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59:23.206" v="17491"/>
          <ac:grpSpMkLst>
            <pc:docMk/>
            <pc:sldMk cId="528512669" sldId="257"/>
            <ac:grpSpMk id="562" creationId="{443723D5-06F1-2269-38F9-1219C378E2D6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59:31.787" v="17540"/>
          <ac:grpSpMkLst>
            <pc:docMk/>
            <pc:sldMk cId="528512669" sldId="257"/>
            <ac:grpSpMk id="565" creationId="{3847874F-F851-C567-D232-DAFCA7E4D3AF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59:43.725" v="17600"/>
          <ac:grpSpMkLst>
            <pc:docMk/>
            <pc:sldMk cId="528512669" sldId="257"/>
            <ac:grpSpMk id="568" creationId="{780E3715-7EBD-CCB3-1949-8DA6CFB4C16E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59:49.554" v="17662"/>
          <ac:grpSpMkLst>
            <pc:docMk/>
            <pc:sldMk cId="528512669" sldId="257"/>
            <ac:grpSpMk id="571" creationId="{492F8E7F-A577-3D43-29F8-68EC75D26832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0:59:57.545" v="17721"/>
          <ac:grpSpMkLst>
            <pc:docMk/>
            <pc:sldMk cId="528512669" sldId="257"/>
            <ac:grpSpMk id="574" creationId="{9FBFEBDF-D19A-0400-6E56-67DF48F1CF4C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1:00:02.985" v="17781"/>
          <ac:grpSpMkLst>
            <pc:docMk/>
            <pc:sldMk cId="528512669" sldId="257"/>
            <ac:grpSpMk id="577" creationId="{192521BE-11C2-2BC0-C360-A4113558515A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1:00:05.246" v="17816"/>
          <ac:grpSpMkLst>
            <pc:docMk/>
            <pc:sldMk cId="528512669" sldId="257"/>
            <ac:grpSpMk id="580" creationId="{8BE17A77-F436-839F-5DBF-0268872D3DB9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1:00:06.965" v="17851"/>
          <ac:grpSpMkLst>
            <pc:docMk/>
            <pc:sldMk cId="528512669" sldId="257"/>
            <ac:grpSpMk id="583" creationId="{B232E416-91FF-A849-C6BF-88A67FD6FBBC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1:00:10.544" v="17886"/>
          <ac:grpSpMkLst>
            <pc:docMk/>
            <pc:sldMk cId="528512669" sldId="257"/>
            <ac:grpSpMk id="586" creationId="{02558068-1C9C-CBDB-2944-B3F116E6B69F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1:00:13.389" v="17921"/>
          <ac:grpSpMkLst>
            <pc:docMk/>
            <pc:sldMk cId="528512669" sldId="257"/>
            <ac:grpSpMk id="589" creationId="{0D5EC407-5505-3367-5E58-5F1D74BD3231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1:00:14.570" v="17956"/>
          <ac:grpSpMkLst>
            <pc:docMk/>
            <pc:sldMk cId="528512669" sldId="257"/>
            <ac:grpSpMk id="592" creationId="{4876E0D1-310D-7125-9986-DBE252BEDA7A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1:00:30.213" v="18039"/>
          <ac:grpSpMkLst>
            <pc:docMk/>
            <pc:sldMk cId="528512669" sldId="257"/>
            <ac:grpSpMk id="595" creationId="{99E03700-2D3C-7209-E4F5-4DFAF457D853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1:00:38.622" v="18198"/>
          <ac:grpSpMkLst>
            <pc:docMk/>
            <pc:sldMk cId="528512669" sldId="257"/>
            <ac:grpSpMk id="599" creationId="{C3AFDEA5-B836-8543-7B3E-FC549FB6F093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1:00:43.137" v="18262"/>
          <ac:grpSpMkLst>
            <pc:docMk/>
            <pc:sldMk cId="528512669" sldId="257"/>
            <ac:grpSpMk id="602" creationId="{86873E42-37F4-B2DD-FFFF-8D40719E7EF5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1:00:49.729" v="18345"/>
          <ac:grpSpMkLst>
            <pc:docMk/>
            <pc:sldMk cId="528512669" sldId="257"/>
            <ac:grpSpMk id="605" creationId="{00B7F292-3929-7E36-8C08-F2EB6469DA31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1:00:58.971" v="18414"/>
          <ac:grpSpMkLst>
            <pc:docMk/>
            <pc:sldMk cId="528512669" sldId="257"/>
            <ac:grpSpMk id="609" creationId="{EAC341CC-8EA0-718C-4722-2AC8B3056CC1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1:01:05.628" v="18476"/>
          <ac:grpSpMkLst>
            <pc:docMk/>
            <pc:sldMk cId="528512669" sldId="257"/>
            <ac:grpSpMk id="612" creationId="{FAB65F1A-A60A-A8BE-FA9F-7BE101AC36DE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1:01:16.790" v="18532"/>
          <ac:grpSpMkLst>
            <pc:docMk/>
            <pc:sldMk cId="528512669" sldId="257"/>
            <ac:grpSpMk id="615" creationId="{66981171-D0C1-68EE-A4AC-5AB46615070B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1:01:20.019" v="18769"/>
          <ac:grpSpMkLst>
            <pc:docMk/>
            <pc:sldMk cId="528512669" sldId="257"/>
            <ac:grpSpMk id="618" creationId="{150A096D-46DA-5E48-BA8D-075FD2D94DD3}"/>
          </ac:grpSpMkLst>
        </pc:grpChg>
        <pc:grpChg chg="add del mod replST delST">
          <ac:chgData name="Ricardo Omar Hernandez" userId="0bbf43ff-7497-4e18-ba51-e8372d008d2e" providerId="ADAL" clId="{4BDD5470-D571-454E-BC54-C635A312B0DF}" dt="2024-04-18T21:01:36.947" v="18934"/>
          <ac:grpSpMkLst>
            <pc:docMk/>
            <pc:sldMk cId="528512669" sldId="257"/>
            <ac:grpSpMk id="622" creationId="{7A1EE0FC-1B88-DC1F-3DCD-AC7082CEAA32}"/>
          </ac:grpSpMkLst>
        </pc:grpChg>
        <pc:grpChg chg="add del mod replST delST">
          <ac:chgData name="Ricardo Omar Hernandez" userId="0bbf43ff-7497-4e18-ba51-e8372d008d2e" providerId="ADAL" clId="{4BDD5470-D571-454E-BC54-C635A312B0DF}" dt="2024-04-19T14:55:28.873" v="19061"/>
          <ac:grpSpMkLst>
            <pc:docMk/>
            <pc:sldMk cId="528512669" sldId="257"/>
            <ac:grpSpMk id="625" creationId="{0510B2D0-2EA4-8E62-72B6-A798D99FF28B}"/>
          </ac:grpSpMkLst>
        </pc:grpChg>
        <pc:picChg chg="add del mod ord topLvl">
          <ac:chgData name="Ricardo Omar Hernandez" userId="0bbf43ff-7497-4e18-ba51-e8372d008d2e" providerId="ADAL" clId="{4BDD5470-D571-454E-BC54-C635A312B0DF}" dt="2024-04-19T14:55:34.193" v="19212"/>
          <ac:picMkLst>
            <pc:docMk/>
            <pc:sldMk cId="528512669" sldId="257"/>
            <ac:picMk id="4" creationId="{3715D579-1885-DBB0-2629-CDAC3B65B5C6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13:20.392" v="805"/>
          <ac:picMkLst>
            <pc:docMk/>
            <pc:sldMk cId="528512669" sldId="257"/>
            <ac:picMk id="5" creationId="{A604D30A-94FD-B987-3915-8D2959FE7009}"/>
          </ac:picMkLst>
        </pc:picChg>
        <pc:picChg chg="add del mod ord topLvl">
          <ac:chgData name="Ricardo Omar Hernandez" userId="0bbf43ff-7497-4e18-ba51-e8372d008d2e" providerId="ADAL" clId="{4BDD5470-D571-454E-BC54-C635A312B0DF}" dt="2024-04-19T14:55:43.585" v="19261"/>
          <ac:picMkLst>
            <pc:docMk/>
            <pc:sldMk cId="528512669" sldId="257"/>
            <ac:picMk id="25" creationId="{2776CDED-DF01-CEB3-E49A-B29771F8A99B}"/>
          </ac:picMkLst>
        </pc:picChg>
        <pc:picChg chg="add del mod ord topLvl">
          <ac:chgData name="Ricardo Omar Hernandez" userId="0bbf43ff-7497-4e18-ba51-e8372d008d2e" providerId="ADAL" clId="{4BDD5470-D571-454E-BC54-C635A312B0DF}" dt="2024-04-19T14:55:49.970" v="19321"/>
          <ac:picMkLst>
            <pc:docMk/>
            <pc:sldMk cId="528512669" sldId="257"/>
            <ac:picMk id="32" creationId="{44A93E3E-317F-4F3E-E9C8-8467113EBF87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13:26.182" v="855"/>
          <ac:picMkLst>
            <pc:docMk/>
            <pc:sldMk cId="528512669" sldId="257"/>
            <ac:picMk id="32" creationId="{524CD01E-1A36-061B-B683-35386344FE87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13:42.705" v="985"/>
          <ac:picMkLst>
            <pc:docMk/>
            <pc:sldMk cId="528512669" sldId="257"/>
            <ac:picMk id="35" creationId="{B8360676-D6C4-4550-C106-B18E30382E98}"/>
          </ac:picMkLst>
        </pc:picChg>
        <pc:picChg chg="add del mod ord topLvl">
          <ac:chgData name="Ricardo Omar Hernandez" userId="0bbf43ff-7497-4e18-ba51-e8372d008d2e" providerId="ADAL" clId="{4BDD5470-D571-454E-BC54-C635A312B0DF}" dt="2024-04-19T14:56:13.180" v="19381"/>
          <ac:picMkLst>
            <pc:docMk/>
            <pc:sldMk cId="528512669" sldId="257"/>
            <ac:picMk id="35" creationId="{F4C51596-C402-187A-C27D-44C62BFA3B83}"/>
          </ac:picMkLst>
        </pc:picChg>
        <pc:picChg chg="add del mod ord topLvl">
          <ac:chgData name="Ricardo Omar Hernandez" userId="0bbf43ff-7497-4e18-ba51-e8372d008d2e" providerId="ADAL" clId="{4BDD5470-D571-454E-BC54-C635A312B0DF}" dt="2024-04-19T14:56:17.896" v="19441"/>
          <ac:picMkLst>
            <pc:docMk/>
            <pc:sldMk cId="528512669" sldId="257"/>
            <ac:picMk id="38" creationId="{A6173ABC-7AD2-2C15-9DE2-10A3A7E00AD4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15:29.837" v="1065"/>
          <ac:picMkLst>
            <pc:docMk/>
            <pc:sldMk cId="528512669" sldId="257"/>
            <ac:picMk id="38" creationId="{E0E3DE06-6BFB-17BF-599A-516093EECC8D}"/>
          </ac:picMkLst>
        </pc:picChg>
        <pc:picChg chg="add del mod ord topLvl">
          <ac:chgData name="Ricardo Omar Hernandez" userId="0bbf43ff-7497-4e18-ba51-e8372d008d2e" providerId="ADAL" clId="{4BDD5470-D571-454E-BC54-C635A312B0DF}" dt="2024-04-19T14:56:23.964" v="19526"/>
          <ac:picMkLst>
            <pc:docMk/>
            <pc:sldMk cId="528512669" sldId="257"/>
            <ac:picMk id="41" creationId="{562E7898-B8C2-BBA6-DB8A-38A26A8E29CD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16:06.774" v="1175"/>
          <ac:picMkLst>
            <pc:docMk/>
            <pc:sldMk cId="528512669" sldId="257"/>
            <ac:picMk id="41" creationId="{D73C6787-AA29-401D-F299-A25A78AE2CDC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16:11.466" v="1234"/>
          <ac:picMkLst>
            <pc:docMk/>
            <pc:sldMk cId="528512669" sldId="257"/>
            <ac:picMk id="45" creationId="{8068E3EE-5476-7EF5-F1D6-F0B2AF13053D}"/>
          </ac:picMkLst>
        </pc:picChg>
        <pc:picChg chg="add del mod ord topLvl">
          <ac:chgData name="Ricardo Omar Hernandez" userId="0bbf43ff-7497-4e18-ba51-e8372d008d2e" providerId="ADAL" clId="{4BDD5470-D571-454E-BC54-C635A312B0DF}" dt="2024-04-19T14:56:29.260" v="19595"/>
          <ac:picMkLst>
            <pc:docMk/>
            <pc:sldMk cId="528512669" sldId="257"/>
            <ac:picMk id="45" creationId="{AE379D62-EE80-B395-0785-BBD4FC1B29DF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16:19.051" v="1375"/>
          <ac:picMkLst>
            <pc:docMk/>
            <pc:sldMk cId="528512669" sldId="257"/>
            <ac:picMk id="49" creationId="{0D2E981C-CA78-2146-B625-C3F20EB14C7D}"/>
          </ac:picMkLst>
        </pc:picChg>
        <pc:picChg chg="add del mod ord topLvl">
          <ac:chgData name="Ricardo Omar Hernandez" userId="0bbf43ff-7497-4e18-ba51-e8372d008d2e" providerId="ADAL" clId="{4BDD5470-D571-454E-BC54-C635A312B0DF}" dt="2024-04-19T14:56:33.242" v="19651"/>
          <ac:picMkLst>
            <pc:docMk/>
            <pc:sldMk cId="528512669" sldId="257"/>
            <ac:picMk id="50" creationId="{204AD612-BD00-B707-2D75-C1941AE650CE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16:26.081" v="1448"/>
          <ac:picMkLst>
            <pc:docMk/>
            <pc:sldMk cId="528512669" sldId="257"/>
            <ac:picMk id="52" creationId="{47D39C2D-4EA4-B0C3-5B4D-F56C2E135768}"/>
          </ac:picMkLst>
        </pc:picChg>
        <pc:picChg chg="add del mod ord topLvl">
          <ac:chgData name="Ricardo Omar Hernandez" userId="0bbf43ff-7497-4e18-ba51-e8372d008d2e" providerId="ADAL" clId="{4BDD5470-D571-454E-BC54-C635A312B0DF}" dt="2024-04-19T15:01:07.512" v="19713"/>
          <ac:picMkLst>
            <pc:docMk/>
            <pc:sldMk cId="528512669" sldId="257"/>
            <ac:picMk id="53" creationId="{10150773-B2E2-30FD-49E0-B579CCC77F9D}"/>
          </ac:picMkLst>
        </pc:picChg>
        <pc:picChg chg="add del mod ord topLvl">
          <ac:chgData name="Ricardo Omar Hernandez" userId="0bbf43ff-7497-4e18-ba51-e8372d008d2e" providerId="ADAL" clId="{4BDD5470-D571-454E-BC54-C635A312B0DF}" dt="2024-04-19T15:01:12.069" v="19798"/>
          <ac:picMkLst>
            <pc:docMk/>
            <pc:sldMk cId="528512669" sldId="257"/>
            <ac:picMk id="56" creationId="{85A64AF5-7E0A-0716-E02D-6148041FBB94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16:34.788" v="1531"/>
          <ac:picMkLst>
            <pc:docMk/>
            <pc:sldMk cId="528512669" sldId="257"/>
            <ac:picMk id="56" creationId="{AF18CBAD-FE73-0ECC-33B0-2A48F118E764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16:42.215" v="1604"/>
          <ac:picMkLst>
            <pc:docMk/>
            <pc:sldMk cId="528512669" sldId="257"/>
            <ac:picMk id="59" creationId="{18C721AE-4381-A2FA-9657-B56C7AA59D04}"/>
          </ac:picMkLst>
        </pc:picChg>
        <pc:picChg chg="add del mod ord topLvl">
          <ac:chgData name="Ricardo Omar Hernandez" userId="0bbf43ff-7497-4e18-ba51-e8372d008d2e" providerId="ADAL" clId="{4BDD5470-D571-454E-BC54-C635A312B0DF}" dt="2024-04-19T15:01:15.240" v="19855"/>
          <ac:picMkLst>
            <pc:docMk/>
            <pc:sldMk cId="528512669" sldId="257"/>
            <ac:picMk id="59" creationId="{9B8BBC5B-A001-AD36-2EAD-0BEE404EB073}"/>
          </ac:picMkLst>
        </pc:picChg>
        <pc:picChg chg="add del mod ord">
          <ac:chgData name="Ricardo Omar Hernandez" userId="0bbf43ff-7497-4e18-ba51-e8372d008d2e" providerId="ADAL" clId="{4BDD5470-D571-454E-BC54-C635A312B0DF}" dt="2024-04-18T20:16:52.753" v="2534" actId="478"/>
          <ac:picMkLst>
            <pc:docMk/>
            <pc:sldMk cId="528512669" sldId="257"/>
            <ac:picMk id="63" creationId="{55DBA2E3-A834-607D-7286-8FAE45B72C1F}"/>
          </ac:picMkLst>
        </pc:picChg>
        <pc:picChg chg="add del mod ord topLvl">
          <ac:chgData name="Ricardo Omar Hernandez" userId="0bbf43ff-7497-4e18-ba51-e8372d008d2e" providerId="ADAL" clId="{4BDD5470-D571-454E-BC54-C635A312B0DF}" dt="2024-04-19T15:01:24.057" v="19915"/>
          <ac:picMkLst>
            <pc:docMk/>
            <pc:sldMk cId="528512669" sldId="257"/>
            <ac:picMk id="63" creationId="{C9D94D77-D79D-9377-64E6-F12D00EC4199}"/>
          </ac:picMkLst>
        </pc:picChg>
        <pc:picChg chg="del mod ord topLvl">
          <ac:chgData name="Ricardo Omar Hernandez" userId="0bbf43ff-7497-4e18-ba51-e8372d008d2e" providerId="ADAL" clId="{4BDD5470-D571-454E-BC54-C635A312B0DF}" dt="2024-04-18T20:16:58.801" v="2639"/>
          <ac:picMkLst>
            <pc:docMk/>
            <pc:sldMk cId="528512669" sldId="257"/>
            <ac:picMk id="66" creationId="{43D9FB13-6242-A968-BC33-88FE6E156424}"/>
          </ac:picMkLst>
        </pc:picChg>
        <pc:picChg chg="add del mod ord topLvl">
          <ac:chgData name="Ricardo Omar Hernandez" userId="0bbf43ff-7497-4e18-ba51-e8372d008d2e" providerId="ADAL" clId="{4BDD5470-D571-454E-BC54-C635A312B0DF}" dt="2024-04-19T15:01:28.771" v="19969"/>
          <ac:picMkLst>
            <pc:docMk/>
            <pc:sldMk cId="528512669" sldId="257"/>
            <ac:picMk id="66" creationId="{9E986862-598C-F42B-188D-0B0D6DD4689C}"/>
          </ac:picMkLst>
        </pc:picChg>
        <pc:picChg chg="add del mod ord topLvl">
          <ac:chgData name="Ricardo Omar Hernandez" userId="0bbf43ff-7497-4e18-ba51-e8372d008d2e" providerId="ADAL" clId="{4BDD5470-D571-454E-BC54-C635A312B0DF}" dt="2024-04-19T15:01:36.826" v="20029"/>
          <ac:picMkLst>
            <pc:docMk/>
            <pc:sldMk cId="528512669" sldId="257"/>
            <ac:picMk id="69" creationId="{38195F08-BBD0-79DA-4111-613931686B70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17:05.834" v="2711"/>
          <ac:picMkLst>
            <pc:docMk/>
            <pc:sldMk cId="528512669" sldId="257"/>
            <ac:picMk id="69" creationId="{3C955466-B52F-DB9F-8067-F2BF606D9A75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17:16.766" v="2788"/>
          <ac:picMkLst>
            <pc:docMk/>
            <pc:sldMk cId="528512669" sldId="257"/>
            <ac:picMk id="73" creationId="{57CE9F03-9370-3C65-1A22-8F345C73C776}"/>
          </ac:picMkLst>
        </pc:picChg>
        <pc:picChg chg="add del mod ord topLvl">
          <ac:chgData name="Ricardo Omar Hernandez" userId="0bbf43ff-7497-4e18-ba51-e8372d008d2e" providerId="ADAL" clId="{4BDD5470-D571-454E-BC54-C635A312B0DF}" dt="2024-04-19T15:01:40.198" v="20091"/>
          <ac:picMkLst>
            <pc:docMk/>
            <pc:sldMk cId="528512669" sldId="257"/>
            <ac:picMk id="73" creationId="{C5EDC22D-AEDA-1210-7A51-A2DF46F79BE6}"/>
          </ac:picMkLst>
        </pc:picChg>
        <pc:picChg chg="add del mod ord topLvl">
          <ac:chgData name="Ricardo Omar Hernandez" userId="0bbf43ff-7497-4e18-ba51-e8372d008d2e" providerId="ADAL" clId="{4BDD5470-D571-454E-BC54-C635A312B0DF}" dt="2024-04-19T15:01:50.500" v="20163"/>
          <ac:picMkLst>
            <pc:docMk/>
            <pc:sldMk cId="528512669" sldId="257"/>
            <ac:picMk id="76" creationId="{0D4F7F85-77ED-9D0E-B924-DC339A1E9AD1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17:46.531" v="2919"/>
          <ac:picMkLst>
            <pc:docMk/>
            <pc:sldMk cId="528512669" sldId="257"/>
            <ac:picMk id="76" creationId="{D2FE4DDF-5A1A-93BB-EAF4-353080BE9F79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18:15.796" v="3003"/>
          <ac:picMkLst>
            <pc:docMk/>
            <pc:sldMk cId="528512669" sldId="257"/>
            <ac:picMk id="79" creationId="{15C2F22C-0F96-F723-8018-604B273DA08A}"/>
          </ac:picMkLst>
        </pc:picChg>
        <pc:picChg chg="add del mod ord topLvl">
          <ac:chgData name="Ricardo Omar Hernandez" userId="0bbf43ff-7497-4e18-ba51-e8372d008d2e" providerId="ADAL" clId="{4BDD5470-D571-454E-BC54-C635A312B0DF}" dt="2024-04-19T15:01:52.959" v="20220"/>
          <ac:picMkLst>
            <pc:docMk/>
            <pc:sldMk cId="528512669" sldId="257"/>
            <ac:picMk id="79" creationId="{89ACE5E0-BFDD-A44D-6F79-FCEF129FB668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18:20.037" v="3068"/>
          <ac:picMkLst>
            <pc:docMk/>
            <pc:sldMk cId="528512669" sldId="257"/>
            <ac:picMk id="83" creationId="{740D034F-E1F3-2986-03A0-BC3C538A3D70}"/>
          </ac:picMkLst>
        </pc:picChg>
        <pc:picChg chg="add del mod ord topLvl">
          <ac:chgData name="Ricardo Omar Hernandez" userId="0bbf43ff-7497-4e18-ba51-e8372d008d2e" providerId="ADAL" clId="{4BDD5470-D571-454E-BC54-C635A312B0DF}" dt="2024-04-19T15:01:58.091" v="20280"/>
          <ac:picMkLst>
            <pc:docMk/>
            <pc:sldMk cId="528512669" sldId="257"/>
            <ac:picMk id="83" creationId="{C14064D1-F043-B488-E74F-B5C98278CC0F}"/>
          </ac:picMkLst>
        </pc:picChg>
        <pc:picChg chg="add del mod ord topLvl">
          <ac:chgData name="Ricardo Omar Hernandez" userId="0bbf43ff-7497-4e18-ba51-e8372d008d2e" providerId="ADAL" clId="{4BDD5470-D571-454E-BC54-C635A312B0DF}" dt="2024-04-19T15:02:08.736" v="20334"/>
          <ac:picMkLst>
            <pc:docMk/>
            <pc:sldMk cId="528512669" sldId="257"/>
            <ac:picMk id="86" creationId="{C54B8D0C-9CBE-29F2-1BE6-421FE60CFFB2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18:24.031" v="3128"/>
          <ac:picMkLst>
            <pc:docMk/>
            <pc:sldMk cId="528512669" sldId="257"/>
            <ac:picMk id="86" creationId="{F8101797-8EBA-B85E-7A46-FCEA4D5F9054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18:47.614" v="3269"/>
          <ac:picMkLst>
            <pc:docMk/>
            <pc:sldMk cId="528512669" sldId="257"/>
            <ac:picMk id="89" creationId="{22961830-C0A5-A864-3B54-AD82E069E5EC}"/>
          </ac:picMkLst>
        </pc:picChg>
        <pc:picChg chg="add del mod ord topLvl">
          <ac:chgData name="Ricardo Omar Hernandez" userId="0bbf43ff-7497-4e18-ba51-e8372d008d2e" providerId="ADAL" clId="{4BDD5470-D571-454E-BC54-C635A312B0DF}" dt="2024-04-19T15:02:17.797" v="20394"/>
          <ac:picMkLst>
            <pc:docMk/>
            <pc:sldMk cId="528512669" sldId="257"/>
            <ac:picMk id="89" creationId="{6C48536B-9095-B652-1FDC-4343B03A6AA1}"/>
          </ac:picMkLst>
        </pc:picChg>
        <pc:picChg chg="add del mod ord topLvl">
          <ac:chgData name="Ricardo Omar Hernandez" userId="0bbf43ff-7497-4e18-ba51-e8372d008d2e" providerId="ADAL" clId="{4BDD5470-D571-454E-BC54-C635A312B0DF}" dt="2024-04-19T15:02:22.477" v="20456"/>
          <ac:picMkLst>
            <pc:docMk/>
            <pc:sldMk cId="528512669" sldId="257"/>
            <ac:picMk id="92" creationId="{387FC257-E13C-B7B0-1654-79A857D07F54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19:08.850" v="3324"/>
          <ac:picMkLst>
            <pc:docMk/>
            <pc:sldMk cId="528512669" sldId="257"/>
            <ac:picMk id="92" creationId="{68E66E84-30D0-2CFD-F881-576CF7ED854C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19:22.027" v="3384"/>
          <ac:picMkLst>
            <pc:docMk/>
            <pc:sldMk cId="528512669" sldId="257"/>
            <ac:picMk id="95" creationId="{8BB47915-B748-C281-5B2C-C42C056F6887}"/>
          </ac:picMkLst>
        </pc:picChg>
        <pc:picChg chg="add del mod ord topLvl">
          <ac:chgData name="Ricardo Omar Hernandez" userId="0bbf43ff-7497-4e18-ba51-e8372d008d2e" providerId="ADAL" clId="{4BDD5470-D571-454E-BC54-C635A312B0DF}" dt="2024-04-19T15:02:30.840" v="20505"/>
          <ac:picMkLst>
            <pc:docMk/>
            <pc:sldMk cId="528512669" sldId="257"/>
            <ac:picMk id="95" creationId="{C132F967-95D0-6F54-DFB5-6219288ACE45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19:32.552" v="3481"/>
          <ac:picMkLst>
            <pc:docMk/>
            <pc:sldMk cId="528512669" sldId="257"/>
            <ac:picMk id="98" creationId="{2266BA27-2F6D-8721-C854-BD4957402431}"/>
          </ac:picMkLst>
        </pc:picChg>
        <pc:picChg chg="add del mod ord topLvl">
          <ac:chgData name="Ricardo Omar Hernandez" userId="0bbf43ff-7497-4e18-ba51-e8372d008d2e" providerId="ADAL" clId="{4BDD5470-D571-454E-BC54-C635A312B0DF}" dt="2024-04-19T15:02:36.025" v="20565"/>
          <ac:picMkLst>
            <pc:docMk/>
            <pc:sldMk cId="528512669" sldId="257"/>
            <ac:picMk id="98" creationId="{CC3D1FF9-AD0E-35AF-407B-E014C1E3A473}"/>
          </ac:picMkLst>
        </pc:picChg>
        <pc:picChg chg="add del mod ord topLvl">
          <ac:chgData name="Ricardo Omar Hernandez" userId="0bbf43ff-7497-4e18-ba51-e8372d008d2e" providerId="ADAL" clId="{4BDD5470-D571-454E-BC54-C635A312B0DF}" dt="2024-04-19T15:02:55.556" v="20648"/>
          <ac:picMkLst>
            <pc:docMk/>
            <pc:sldMk cId="528512669" sldId="257"/>
            <ac:picMk id="101" creationId="{242051DE-8B48-1ECF-D769-2F4A3483561C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20:07.738" v="3597"/>
          <ac:picMkLst>
            <pc:docMk/>
            <pc:sldMk cId="528512669" sldId="257"/>
            <ac:picMk id="101" creationId="{4F5F29D9-7AAE-50B1-6D62-FECC142645E2}"/>
          </ac:picMkLst>
        </pc:picChg>
        <pc:picChg chg="add del mod ord topLvl">
          <ac:chgData name="Ricardo Omar Hernandez" userId="0bbf43ff-7497-4e18-ba51-e8372d008d2e" providerId="ADAL" clId="{4BDD5470-D571-454E-BC54-C635A312B0DF}" dt="2024-04-19T15:02:58.149" v="20705"/>
          <ac:picMkLst>
            <pc:docMk/>
            <pc:sldMk cId="528512669" sldId="257"/>
            <ac:picMk id="104" creationId="{3B4D0C4B-F270-583B-8642-A2AAF4D5372D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20:18.705" v="3679"/>
          <ac:picMkLst>
            <pc:docMk/>
            <pc:sldMk cId="528512669" sldId="257"/>
            <ac:picMk id="104" creationId="{904464E4-1C94-64B2-4ABB-1AB83FA39CE3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20:42.207" v="3794"/>
          <ac:picMkLst>
            <pc:docMk/>
            <pc:sldMk cId="528512669" sldId="257"/>
            <ac:picMk id="107" creationId="{CF784EA2-75DB-A721-5FFE-125E14DBEC31}"/>
          </ac:picMkLst>
        </pc:picChg>
        <pc:picChg chg="add del mod ord topLvl">
          <ac:chgData name="Ricardo Omar Hernandez" userId="0bbf43ff-7497-4e18-ba51-e8372d008d2e" providerId="ADAL" clId="{4BDD5470-D571-454E-BC54-C635A312B0DF}" dt="2024-04-19T15:03:06.620" v="20765"/>
          <ac:picMkLst>
            <pc:docMk/>
            <pc:sldMk cId="528512669" sldId="257"/>
            <ac:picMk id="109" creationId="{0DB2B88F-C464-D35B-CA8A-7D624380DCD6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20:45.736" v="3851"/>
          <ac:picMkLst>
            <pc:docMk/>
            <pc:sldMk cId="528512669" sldId="257"/>
            <ac:picMk id="111" creationId="{01B00417-D093-F21A-5F94-4A38ACF8869D}"/>
          </ac:picMkLst>
        </pc:picChg>
        <pc:picChg chg="add del mod ord topLvl">
          <ac:chgData name="Ricardo Omar Hernandez" userId="0bbf43ff-7497-4e18-ba51-e8372d008d2e" providerId="ADAL" clId="{4BDD5470-D571-454E-BC54-C635A312B0DF}" dt="2024-04-19T15:03:16.921" v="20819"/>
          <ac:picMkLst>
            <pc:docMk/>
            <pc:sldMk cId="528512669" sldId="257"/>
            <ac:picMk id="113" creationId="{580AFE29-4D2F-C1E9-172E-912AD29ADB16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21:02.250" v="3936"/>
          <ac:picMkLst>
            <pc:docMk/>
            <pc:sldMk cId="528512669" sldId="257"/>
            <ac:picMk id="115" creationId="{2FFACCE5-1E9C-BF3D-0DE5-17357BE64E91}"/>
          </ac:picMkLst>
        </pc:picChg>
        <pc:picChg chg="add del mod ord topLvl">
          <ac:chgData name="Ricardo Omar Hernandez" userId="0bbf43ff-7497-4e18-ba51-e8372d008d2e" providerId="ADAL" clId="{4BDD5470-D571-454E-BC54-C635A312B0DF}" dt="2024-04-19T15:03:22.228" v="20879"/>
          <ac:picMkLst>
            <pc:docMk/>
            <pc:sldMk cId="528512669" sldId="257"/>
            <ac:picMk id="116" creationId="{894907C6-0577-88FF-67EC-97D92A1C6137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22:27.399" v="4232"/>
          <ac:picMkLst>
            <pc:docMk/>
            <pc:sldMk cId="528512669" sldId="257"/>
            <ac:picMk id="118" creationId="{97EADE38-6636-0308-B120-BDB9C791B0F6}"/>
          </ac:picMkLst>
        </pc:picChg>
        <pc:picChg chg="add del mod ord topLvl">
          <ac:chgData name="Ricardo Omar Hernandez" userId="0bbf43ff-7497-4e18-ba51-e8372d008d2e" providerId="ADAL" clId="{4BDD5470-D571-454E-BC54-C635A312B0DF}" dt="2024-04-19T15:03:35.153" v="20928"/>
          <ac:picMkLst>
            <pc:docMk/>
            <pc:sldMk cId="528512669" sldId="257"/>
            <ac:picMk id="119" creationId="{F0720BA3-6AD7-58D5-C5AB-BEB9BE2DC672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23:00.628" v="4314"/>
          <ac:picMkLst>
            <pc:docMk/>
            <pc:sldMk cId="528512669" sldId="257"/>
            <ac:picMk id="121" creationId="{CDA9780E-50F1-C2E8-5652-918C50260F8C}"/>
          </ac:picMkLst>
        </pc:picChg>
        <pc:picChg chg="add del mod ord topLvl">
          <ac:chgData name="Ricardo Omar Hernandez" userId="0bbf43ff-7497-4e18-ba51-e8372d008d2e" providerId="ADAL" clId="{4BDD5470-D571-454E-BC54-C635A312B0DF}" dt="2024-04-19T15:03:41.432" v="20990"/>
          <ac:picMkLst>
            <pc:docMk/>
            <pc:sldMk cId="528512669" sldId="257"/>
            <ac:picMk id="122" creationId="{AC3A00CC-02AE-85B0-A840-5DDD728C4C77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23:10.131" v="4395"/>
          <ac:picMkLst>
            <pc:docMk/>
            <pc:sldMk cId="528512669" sldId="257"/>
            <ac:picMk id="124" creationId="{05D11129-398E-7ADD-84BF-82B8A9FAB00A}"/>
          </ac:picMkLst>
        </pc:picChg>
        <pc:picChg chg="add del mod ord topLvl">
          <ac:chgData name="Ricardo Omar Hernandez" userId="0bbf43ff-7497-4e18-ba51-e8372d008d2e" providerId="ADAL" clId="{4BDD5470-D571-454E-BC54-C635A312B0DF}" dt="2024-04-19T15:03:49.219" v="21039"/>
          <ac:picMkLst>
            <pc:docMk/>
            <pc:sldMk cId="528512669" sldId="257"/>
            <ac:picMk id="125" creationId="{10ADDE86-9F19-1409-BECC-7F68E651612E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23:49.078" v="4554"/>
          <ac:picMkLst>
            <pc:docMk/>
            <pc:sldMk cId="528512669" sldId="257"/>
            <ac:picMk id="127" creationId="{3A805933-67BF-6B82-EDF3-BB9E8A18B036}"/>
          </ac:picMkLst>
        </pc:picChg>
        <pc:picChg chg="add del mod ord topLvl">
          <ac:chgData name="Ricardo Omar Hernandez" userId="0bbf43ff-7497-4e18-ba51-e8372d008d2e" providerId="ADAL" clId="{4BDD5470-D571-454E-BC54-C635A312B0DF}" dt="2024-04-19T15:03:52.321" v="21099"/>
          <ac:picMkLst>
            <pc:docMk/>
            <pc:sldMk cId="528512669" sldId="257"/>
            <ac:picMk id="129" creationId="{5642CC89-CA5E-1168-6447-8756D21E88E1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23:56.036" v="4627"/>
          <ac:picMkLst>
            <pc:docMk/>
            <pc:sldMk cId="528512669" sldId="257"/>
            <ac:picMk id="131" creationId="{61E704CC-DBF8-C906-0008-4865CC1141EC}"/>
          </ac:picMkLst>
        </pc:picChg>
        <pc:picChg chg="add del mod ord topLvl">
          <ac:chgData name="Ricardo Omar Hernandez" userId="0bbf43ff-7497-4e18-ba51-e8372d008d2e" providerId="ADAL" clId="{4BDD5470-D571-454E-BC54-C635A312B0DF}" dt="2024-04-19T15:04:04.902" v="21159"/>
          <ac:picMkLst>
            <pc:docMk/>
            <pc:sldMk cId="528512669" sldId="257"/>
            <ac:picMk id="132" creationId="{F877C959-03D1-3C9A-CCBF-B946CDCAE9B6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23:57.272" v="4682"/>
          <ac:picMkLst>
            <pc:docMk/>
            <pc:sldMk cId="528512669" sldId="257"/>
            <ac:picMk id="134" creationId="{4B72F918-1038-AB6C-05F2-94445AB0F718}"/>
          </ac:picMkLst>
        </pc:picChg>
        <pc:picChg chg="add del mod ord topLvl">
          <ac:chgData name="Ricardo Omar Hernandez" userId="0bbf43ff-7497-4e18-ba51-e8372d008d2e" providerId="ADAL" clId="{4BDD5470-D571-454E-BC54-C635A312B0DF}" dt="2024-04-19T15:04:10.560" v="21219"/>
          <ac:picMkLst>
            <pc:docMk/>
            <pc:sldMk cId="528512669" sldId="257"/>
            <ac:picMk id="135" creationId="{C6AD5D1E-15A9-B083-2125-A8791338661E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24:15.701" v="4773"/>
          <ac:picMkLst>
            <pc:docMk/>
            <pc:sldMk cId="528512669" sldId="257"/>
            <ac:picMk id="137" creationId="{688901F0-831F-4581-F783-A7E7A7887160}"/>
          </ac:picMkLst>
        </pc:picChg>
        <pc:picChg chg="add del mod ord topLvl">
          <ac:chgData name="Ricardo Omar Hernandez" userId="0bbf43ff-7497-4e18-ba51-e8372d008d2e" providerId="ADAL" clId="{4BDD5470-D571-454E-BC54-C635A312B0DF}" dt="2024-04-19T15:04:30.738" v="21279"/>
          <ac:picMkLst>
            <pc:docMk/>
            <pc:sldMk cId="528512669" sldId="257"/>
            <ac:picMk id="138" creationId="{E5247980-A1A3-ED89-49B7-78FB50F3CE15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24:28.933" v="4842"/>
          <ac:picMkLst>
            <pc:docMk/>
            <pc:sldMk cId="528512669" sldId="257"/>
            <ac:picMk id="140" creationId="{50FA6137-3718-96FC-064E-32C1328B684D}"/>
          </ac:picMkLst>
        </pc:picChg>
        <pc:picChg chg="add del mod ord topLvl">
          <ac:chgData name="Ricardo Omar Hernandez" userId="0bbf43ff-7497-4e18-ba51-e8372d008d2e" providerId="ADAL" clId="{4BDD5470-D571-454E-BC54-C635A312B0DF}" dt="2024-04-19T15:04:35.810" v="21343"/>
          <ac:picMkLst>
            <pc:docMk/>
            <pc:sldMk cId="528512669" sldId="257"/>
            <ac:picMk id="142" creationId="{D34A7CDF-3C40-714B-8ED4-5FE7E1FE86E7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25:06.392" v="4958"/>
          <ac:picMkLst>
            <pc:docMk/>
            <pc:sldMk cId="528512669" sldId="257"/>
            <ac:picMk id="144" creationId="{7267DDD6-FB8A-B1A5-E974-BFE974818E4C}"/>
          </ac:picMkLst>
        </pc:picChg>
        <pc:picChg chg="add del mod ord topLvl">
          <ac:chgData name="Ricardo Omar Hernandez" userId="0bbf43ff-7497-4e18-ba51-e8372d008d2e" providerId="ADAL" clId="{4BDD5470-D571-454E-BC54-C635A312B0DF}" dt="2024-04-19T15:04:46.461" v="21397"/>
          <ac:picMkLst>
            <pc:docMk/>
            <pc:sldMk cId="528512669" sldId="257"/>
            <ac:picMk id="145" creationId="{E46B76A4-1C42-26F7-D193-119E1C8046C9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25:09.101" v="5016"/>
          <ac:picMkLst>
            <pc:docMk/>
            <pc:sldMk cId="528512669" sldId="257"/>
            <ac:picMk id="147" creationId="{638281F0-C951-0D3C-82B0-2884173C0A9F}"/>
          </ac:picMkLst>
        </pc:picChg>
        <pc:picChg chg="add del mod ord topLvl">
          <ac:chgData name="Ricardo Omar Hernandez" userId="0bbf43ff-7497-4e18-ba51-e8372d008d2e" providerId="ADAL" clId="{4BDD5470-D571-454E-BC54-C635A312B0DF}" dt="2024-04-19T15:05:12.357" v="21473"/>
          <ac:picMkLst>
            <pc:docMk/>
            <pc:sldMk cId="528512669" sldId="257"/>
            <ac:picMk id="148" creationId="{67B8987C-B610-02BF-FAB3-BF1BF556F322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25:14.295" v="5105"/>
          <ac:picMkLst>
            <pc:docMk/>
            <pc:sldMk cId="528512669" sldId="257"/>
            <ac:picMk id="150" creationId="{FCD71D18-5A90-C4E5-6FB8-4F2107B09E8D}"/>
          </ac:picMkLst>
        </pc:picChg>
        <pc:picChg chg="add del mod ord topLvl">
          <ac:chgData name="Ricardo Omar Hernandez" userId="0bbf43ff-7497-4e18-ba51-e8372d008d2e" providerId="ADAL" clId="{4BDD5470-D571-454E-BC54-C635A312B0DF}" dt="2024-04-19T15:05:23.832" v="21656"/>
          <ac:picMkLst>
            <pc:docMk/>
            <pc:sldMk cId="528512669" sldId="257"/>
            <ac:picMk id="151" creationId="{B9B4D137-A8CD-A3B6-7B8C-6118262919D2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25:35.036" v="5253"/>
          <ac:picMkLst>
            <pc:docMk/>
            <pc:sldMk cId="528512669" sldId="257"/>
            <ac:picMk id="153" creationId="{6469278D-74C9-D4C8-AAE4-1E136EAF6C49}"/>
          </ac:picMkLst>
        </pc:picChg>
        <pc:picChg chg="add del mod ord topLvl">
          <ac:chgData name="Ricardo Omar Hernandez" userId="0bbf43ff-7497-4e18-ba51-e8372d008d2e" providerId="ADAL" clId="{4BDD5470-D571-454E-BC54-C635A312B0DF}" dt="2024-04-19T15:05:25.041" v="21700"/>
          <ac:picMkLst>
            <pc:docMk/>
            <pc:sldMk cId="528512669" sldId="257"/>
            <ac:picMk id="156" creationId="{52027E77-F256-09B6-8136-BE93BDB8DF88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25:38.457" v="5310"/>
          <ac:picMkLst>
            <pc:docMk/>
            <pc:sldMk cId="528512669" sldId="257"/>
            <ac:picMk id="157" creationId="{BE6F0E22-8EF7-1EE4-DF3F-18EB00286230}"/>
          </ac:picMkLst>
        </pc:picChg>
        <pc:picChg chg="add del mod ord topLvl">
          <ac:chgData name="Ricardo Omar Hernandez" userId="0bbf43ff-7497-4e18-ba51-e8372d008d2e" providerId="ADAL" clId="{4BDD5470-D571-454E-BC54-C635A312B0DF}" dt="2024-04-19T15:05:27.997" v="21773"/>
          <ac:picMkLst>
            <pc:docMk/>
            <pc:sldMk cId="528512669" sldId="257"/>
            <ac:picMk id="160" creationId="{3D78F147-55B4-BC96-A646-AEC5F75F025B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26:41.345" v="5447"/>
          <ac:picMkLst>
            <pc:docMk/>
            <pc:sldMk cId="528512669" sldId="257"/>
            <ac:picMk id="161" creationId="{CB40FE6F-04F7-93C7-9454-E62598C5D9BC}"/>
          </ac:picMkLst>
        </pc:picChg>
        <pc:picChg chg="add del mod ord topLvl">
          <ac:chgData name="Ricardo Omar Hernandez" userId="0bbf43ff-7497-4e18-ba51-e8372d008d2e" providerId="ADAL" clId="{4BDD5470-D571-454E-BC54-C635A312B0DF}" dt="2024-04-19T15:05:32.854" v="21958"/>
          <ac:picMkLst>
            <pc:docMk/>
            <pc:sldMk cId="528512669" sldId="257"/>
            <ac:picMk id="163" creationId="{4D72511D-93E2-AA66-2E95-E902045307EE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26:47.782" v="5535"/>
          <ac:picMkLst>
            <pc:docMk/>
            <pc:sldMk cId="528512669" sldId="257"/>
            <ac:picMk id="164" creationId="{9C7157DB-9EB7-78B6-E5BA-3321E1DAD29C}"/>
          </ac:picMkLst>
        </pc:picChg>
        <pc:picChg chg="add del mod ord topLvl">
          <ac:chgData name="Ricardo Omar Hernandez" userId="0bbf43ff-7497-4e18-ba51-e8372d008d2e" providerId="ADAL" clId="{4BDD5470-D571-454E-BC54-C635A312B0DF}" dt="2024-04-19T15:05:42.287" v="22018"/>
          <ac:picMkLst>
            <pc:docMk/>
            <pc:sldMk cId="528512669" sldId="257"/>
            <ac:picMk id="167" creationId="{5BB59E95-9A79-0DD4-7032-7AA220644A61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28:44.920" v="5690"/>
          <ac:picMkLst>
            <pc:docMk/>
            <pc:sldMk cId="528512669" sldId="257"/>
            <ac:picMk id="167" creationId="{8B3A10FD-7E05-C5BA-831E-9B969EA7D83F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28:57.883" v="5761"/>
          <ac:picMkLst>
            <pc:docMk/>
            <pc:sldMk cId="528512669" sldId="257"/>
            <ac:picMk id="170" creationId="{3DB94AD1-4CA8-21E9-28A6-785761FFF3BE}"/>
          </ac:picMkLst>
        </pc:picChg>
        <pc:picChg chg="add del mod ord topLvl">
          <ac:chgData name="Ricardo Omar Hernandez" userId="0bbf43ff-7497-4e18-ba51-e8372d008d2e" providerId="ADAL" clId="{4BDD5470-D571-454E-BC54-C635A312B0DF}" dt="2024-04-19T15:05:53.948" v="22101"/>
          <ac:picMkLst>
            <pc:docMk/>
            <pc:sldMk cId="528512669" sldId="257"/>
            <ac:picMk id="170" creationId="{6AEBDBBC-3AAB-CE17-FD61-A55F5E63A573}"/>
          </ac:picMkLst>
        </pc:picChg>
        <pc:picChg chg="add del mod ord topLvl">
          <ac:chgData name="Ricardo Omar Hernandez" userId="0bbf43ff-7497-4e18-ba51-e8372d008d2e" providerId="ADAL" clId="{4BDD5470-D571-454E-BC54-C635A312B0DF}" dt="2024-04-19T15:05:57.529" v="22225"/>
          <ac:picMkLst>
            <pc:docMk/>
            <pc:sldMk cId="528512669" sldId="257"/>
            <ac:picMk id="174" creationId="{23411452-913E-6291-2C58-32D872A7C5AA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29:08.281" v="5821"/>
          <ac:picMkLst>
            <pc:docMk/>
            <pc:sldMk cId="528512669" sldId="257"/>
            <ac:picMk id="174" creationId="{8D9516D3-D924-6B5E-0F5F-972726EF846D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29:22.201" v="5906"/>
          <ac:picMkLst>
            <pc:docMk/>
            <pc:sldMk cId="528512669" sldId="257"/>
            <ac:picMk id="177" creationId="{6973ECCC-7106-5D6E-0AC7-2E744F3FD4D3}"/>
          </ac:picMkLst>
        </pc:picChg>
        <pc:picChg chg="add del mod ord topLvl">
          <ac:chgData name="Ricardo Omar Hernandez" userId="0bbf43ff-7497-4e18-ba51-e8372d008d2e" providerId="ADAL" clId="{4BDD5470-D571-454E-BC54-C635A312B0DF}" dt="2024-04-19T15:06:07.077" v="22300"/>
          <ac:picMkLst>
            <pc:docMk/>
            <pc:sldMk cId="528512669" sldId="257"/>
            <ac:picMk id="178" creationId="{B411A99A-8984-F20A-69EC-D65800DA0AB0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29:31.692" v="5973"/>
          <ac:picMkLst>
            <pc:docMk/>
            <pc:sldMk cId="528512669" sldId="257"/>
            <ac:picMk id="180" creationId="{704867B7-1B3B-26D1-2A33-873C7E8C1A47}"/>
          </ac:picMkLst>
        </pc:picChg>
        <pc:picChg chg="add del mod ord topLvl">
          <ac:chgData name="Ricardo Omar Hernandez" userId="0bbf43ff-7497-4e18-ba51-e8372d008d2e" providerId="ADAL" clId="{4BDD5470-D571-454E-BC54-C635A312B0DF}" dt="2024-04-19T15:06:11.638" v="22362"/>
          <ac:picMkLst>
            <pc:docMk/>
            <pc:sldMk cId="528512669" sldId="257"/>
            <ac:picMk id="182" creationId="{F1A692BF-ED18-2486-B3DB-A61282BEEF25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29:37.766" v="6035"/>
          <ac:picMkLst>
            <pc:docMk/>
            <pc:sldMk cId="528512669" sldId="257"/>
            <ac:picMk id="184" creationId="{96DC489A-45B7-6240-3734-D7C0087C9BB5}"/>
          </ac:picMkLst>
        </pc:picChg>
        <pc:picChg chg="add del mod ord topLvl">
          <ac:chgData name="Ricardo Omar Hernandez" userId="0bbf43ff-7497-4e18-ba51-e8372d008d2e" providerId="ADAL" clId="{4BDD5470-D571-454E-BC54-C635A312B0DF}" dt="2024-04-19T15:06:17.327" v="22441"/>
          <ac:picMkLst>
            <pc:docMk/>
            <pc:sldMk cId="528512669" sldId="257"/>
            <ac:picMk id="185" creationId="{D4308071-FE2A-0317-0700-630E95CFE244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29:42.850" v="6114"/>
          <ac:picMkLst>
            <pc:docMk/>
            <pc:sldMk cId="528512669" sldId="257"/>
            <ac:picMk id="187" creationId="{B9B3473D-EE4F-79EB-36BF-BCDC58387B6D}"/>
          </ac:picMkLst>
        </pc:picChg>
        <pc:picChg chg="add del mod ord topLvl">
          <ac:chgData name="Ricardo Omar Hernandez" userId="0bbf43ff-7497-4e18-ba51-e8372d008d2e" providerId="ADAL" clId="{4BDD5470-D571-454E-BC54-C635A312B0DF}" dt="2024-04-19T15:06:20.578" v="22499"/>
          <ac:picMkLst>
            <pc:docMk/>
            <pc:sldMk cId="528512669" sldId="257"/>
            <ac:picMk id="188" creationId="{6193CEE0-806A-CE26-9176-70CE545A858A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29:45.851" v="6172"/>
          <ac:picMkLst>
            <pc:docMk/>
            <pc:sldMk cId="528512669" sldId="257"/>
            <ac:picMk id="190" creationId="{46152FDF-AF06-B3D9-5A67-51BDCA88B1C4}"/>
          </ac:picMkLst>
        </pc:picChg>
        <pc:picChg chg="add del mod ord topLvl">
          <ac:chgData name="Ricardo Omar Hernandez" userId="0bbf43ff-7497-4e18-ba51-e8372d008d2e" providerId="ADAL" clId="{4BDD5470-D571-454E-BC54-C635A312B0DF}" dt="2024-04-19T15:06:26.789" v="22560"/>
          <ac:picMkLst>
            <pc:docMk/>
            <pc:sldMk cId="528512669" sldId="257"/>
            <ac:picMk id="192" creationId="{D781AE6D-4149-8DE2-38C9-F070CF8EE599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29:47.735" v="6233"/>
          <ac:picMkLst>
            <pc:docMk/>
            <pc:sldMk cId="528512669" sldId="257"/>
            <ac:picMk id="194" creationId="{9263A9A8-468E-3DA0-B888-72FF05390F88}"/>
          </ac:picMkLst>
        </pc:picChg>
        <pc:picChg chg="add del mod ord topLvl">
          <ac:chgData name="Ricardo Omar Hernandez" userId="0bbf43ff-7497-4e18-ba51-e8372d008d2e" providerId="ADAL" clId="{4BDD5470-D571-454E-BC54-C635A312B0DF}" dt="2024-04-19T15:06:28.196" v="22614"/>
          <ac:picMkLst>
            <pc:docMk/>
            <pc:sldMk cId="528512669" sldId="257"/>
            <ac:picMk id="195" creationId="{D3B2B33C-7044-8525-55B2-00F9DA48C9B7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29:49.685" v="6268"/>
          <ac:picMkLst>
            <pc:docMk/>
            <pc:sldMk cId="528512669" sldId="257"/>
            <ac:picMk id="197" creationId="{D89F6CDD-2660-DB00-0F44-F74857A69839}"/>
          </ac:picMkLst>
        </pc:picChg>
        <pc:picChg chg="add del mod ord topLvl">
          <ac:chgData name="Ricardo Omar Hernandez" userId="0bbf43ff-7497-4e18-ba51-e8372d008d2e" providerId="ADAL" clId="{4BDD5470-D571-454E-BC54-C635A312B0DF}" dt="2024-04-19T15:06:39.554" v="22668"/>
          <ac:picMkLst>
            <pc:docMk/>
            <pc:sldMk cId="528512669" sldId="257"/>
            <ac:picMk id="198" creationId="{931CCFD3-9465-9547-3175-197456F4E488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29:55.269" v="6303"/>
          <ac:picMkLst>
            <pc:docMk/>
            <pc:sldMk cId="528512669" sldId="257"/>
            <ac:picMk id="200" creationId="{2762BF26-C46E-F090-0D6D-F60C2FB8C669}"/>
          </ac:picMkLst>
        </pc:picChg>
        <pc:picChg chg="add del mod ord topLvl">
          <ac:chgData name="Ricardo Omar Hernandez" userId="0bbf43ff-7497-4e18-ba51-e8372d008d2e" providerId="ADAL" clId="{4BDD5470-D571-454E-BC54-C635A312B0DF}" dt="2024-04-19T15:06:45.786" v="22751"/>
          <ac:picMkLst>
            <pc:docMk/>
            <pc:sldMk cId="528512669" sldId="257"/>
            <ac:picMk id="201" creationId="{8A92E229-94B1-6F70-9189-D4A32C46E2BC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30:04.526" v="6357"/>
          <ac:picMkLst>
            <pc:docMk/>
            <pc:sldMk cId="528512669" sldId="257"/>
            <ac:picMk id="203" creationId="{D6ED3F82-D60D-862F-2A5E-9E15C3906452}"/>
          </ac:picMkLst>
        </pc:picChg>
        <pc:picChg chg="add del mod ord topLvl">
          <ac:chgData name="Ricardo Omar Hernandez" userId="0bbf43ff-7497-4e18-ba51-e8372d008d2e" providerId="ADAL" clId="{4BDD5470-D571-454E-BC54-C635A312B0DF}" dt="2024-04-19T15:06:50.926" v="22950"/>
          <ac:picMkLst>
            <pc:docMk/>
            <pc:sldMk cId="528512669" sldId="257"/>
            <ac:picMk id="204" creationId="{791CB488-A93E-48E9-774B-CCEFB80775DC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30:11.890" v="6421"/>
          <ac:picMkLst>
            <pc:docMk/>
            <pc:sldMk cId="528512669" sldId="257"/>
            <ac:picMk id="206" creationId="{E7769AA6-A1CE-1FB1-5C69-ADA7B5F49575}"/>
          </ac:picMkLst>
        </pc:picChg>
        <pc:picChg chg="add del mod ord topLvl">
          <ac:chgData name="Ricardo Omar Hernandez" userId="0bbf43ff-7497-4e18-ba51-e8372d008d2e" providerId="ADAL" clId="{4BDD5470-D571-454E-BC54-C635A312B0DF}" dt="2024-04-19T15:06:54.115" v="23010"/>
          <ac:picMkLst>
            <pc:docMk/>
            <pc:sldMk cId="528512669" sldId="257"/>
            <ac:picMk id="208" creationId="{22922779-F302-383E-169A-CA531BD4C335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30:16.199" v="6481"/>
          <ac:picMkLst>
            <pc:docMk/>
            <pc:sldMk cId="528512669" sldId="257"/>
            <ac:picMk id="209" creationId="{37486C0D-F564-EF59-D100-DE2A9BCE3F4D}"/>
          </ac:picMkLst>
        </pc:picChg>
        <pc:picChg chg="add del mod ord topLvl">
          <ac:chgData name="Ricardo Omar Hernandez" userId="0bbf43ff-7497-4e18-ba51-e8372d008d2e" providerId="ADAL" clId="{4BDD5470-D571-454E-BC54-C635A312B0DF}" dt="2024-04-19T15:07:00.972" v="23068"/>
          <ac:picMkLst>
            <pc:docMk/>
            <pc:sldMk cId="528512669" sldId="257"/>
            <ac:picMk id="211" creationId="{3F53EB43-419C-0E6F-12A8-D428914D64C9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30:24.416" v="6539"/>
          <ac:picMkLst>
            <pc:docMk/>
            <pc:sldMk cId="528512669" sldId="257"/>
            <ac:picMk id="212" creationId="{30815435-9034-FE75-72FE-B12FD526D6A6}"/>
          </ac:picMkLst>
        </pc:picChg>
        <pc:picChg chg="add del mod ord topLvl">
          <ac:chgData name="Ricardo Omar Hernandez" userId="0bbf43ff-7497-4e18-ba51-e8372d008d2e" providerId="ADAL" clId="{4BDD5470-D571-454E-BC54-C635A312B0DF}" dt="2024-04-19T15:07:04.220" v="23153"/>
          <ac:picMkLst>
            <pc:docMk/>
            <pc:sldMk cId="528512669" sldId="257"/>
            <ac:picMk id="214" creationId="{61E9B0F6-332F-AE7D-A60B-77F2BB6AB171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30:29.265" v="6624"/>
          <ac:picMkLst>
            <pc:docMk/>
            <pc:sldMk cId="528512669" sldId="257"/>
            <ac:picMk id="215" creationId="{91310277-1EDB-1E16-4BE2-38BB85805B5B}"/>
          </ac:picMkLst>
        </pc:picChg>
        <pc:picChg chg="add del mod ord topLvl">
          <ac:chgData name="Ricardo Omar Hernandez" userId="0bbf43ff-7497-4e18-ba51-e8372d008d2e" providerId="ADAL" clId="{4BDD5470-D571-454E-BC54-C635A312B0DF}" dt="2024-04-19T15:07:19.182" v="23230"/>
          <ac:picMkLst>
            <pc:docMk/>
            <pc:sldMk cId="528512669" sldId="257"/>
            <ac:picMk id="217" creationId="{8AB20170-C579-A6CB-AC22-FD4A1A5597F7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30:38.646" v="6693"/>
          <ac:picMkLst>
            <pc:docMk/>
            <pc:sldMk cId="528512669" sldId="257"/>
            <ac:picMk id="218" creationId="{259AD242-07BC-65FF-0AA9-929CA657053E}"/>
          </ac:picMkLst>
        </pc:picChg>
        <pc:picChg chg="add del mod ord topLvl">
          <ac:chgData name="Ricardo Omar Hernandez" userId="0bbf43ff-7497-4e18-ba51-e8372d008d2e" providerId="ADAL" clId="{4BDD5470-D571-454E-BC54-C635A312B0DF}" dt="2024-04-19T15:07:21.238" v="23292"/>
          <ac:picMkLst>
            <pc:docMk/>
            <pc:sldMk cId="528512669" sldId="257"/>
            <ac:picMk id="222" creationId="{865D4101-A73A-0357-1DCB-8092F9BB9E5D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30:47.608" v="6755"/>
          <ac:picMkLst>
            <pc:docMk/>
            <pc:sldMk cId="528512669" sldId="257"/>
            <ac:picMk id="222" creationId="{B506EAF1-6D7A-8807-938D-627DFFEF8FBA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30:56.321" v="6838"/>
          <ac:picMkLst>
            <pc:docMk/>
            <pc:sldMk cId="528512669" sldId="257"/>
            <ac:picMk id="225" creationId="{9D43AA7F-C824-9FD1-0D65-A23B78B1B027}"/>
          </ac:picMkLst>
        </pc:picChg>
        <pc:picChg chg="add del mod ord topLvl">
          <ac:chgData name="Ricardo Omar Hernandez" userId="0bbf43ff-7497-4e18-ba51-e8372d008d2e" providerId="ADAL" clId="{4BDD5470-D571-454E-BC54-C635A312B0DF}" dt="2024-04-19T15:07:27.265" v="23348"/>
          <ac:picMkLst>
            <pc:docMk/>
            <pc:sldMk cId="528512669" sldId="257"/>
            <ac:picMk id="225" creationId="{C966FC10-F831-C240-220C-1F58251896E1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31:01.433" v="6957"/>
          <ac:picMkLst>
            <pc:docMk/>
            <pc:sldMk cId="528512669" sldId="257"/>
            <ac:picMk id="228" creationId="{B016192F-2055-23E7-5900-D3D20B5251ED}"/>
          </ac:picMkLst>
        </pc:picChg>
        <pc:picChg chg="add del mod ord topLvl">
          <ac:chgData name="Ricardo Omar Hernandez" userId="0bbf43ff-7497-4e18-ba51-e8372d008d2e" providerId="ADAL" clId="{4BDD5470-D571-454E-BC54-C635A312B0DF}" dt="2024-04-19T15:07:30.859" v="23408"/>
          <ac:picMkLst>
            <pc:docMk/>
            <pc:sldMk cId="528512669" sldId="257"/>
            <ac:picMk id="228" creationId="{F55C131D-31C1-8760-DC5C-B35C826AFE7B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31:05.789" v="7040"/>
          <ac:picMkLst>
            <pc:docMk/>
            <pc:sldMk cId="528512669" sldId="257"/>
            <ac:picMk id="232" creationId="{57429A0F-82D3-9859-75E6-3E1B54F48CB0}"/>
          </ac:picMkLst>
        </pc:picChg>
        <pc:picChg chg="add del mod ord topLvl">
          <ac:chgData name="Ricardo Omar Hernandez" userId="0bbf43ff-7497-4e18-ba51-e8372d008d2e" providerId="ADAL" clId="{4BDD5470-D571-454E-BC54-C635A312B0DF}" dt="2024-04-19T15:07:35.399" v="23491"/>
          <ac:picMkLst>
            <pc:docMk/>
            <pc:sldMk cId="528512669" sldId="257"/>
            <ac:picMk id="232" creationId="{59ADCD37-0EDC-5D64-347A-E92F01D6E5AA}"/>
          </ac:picMkLst>
        </pc:picChg>
        <pc:picChg chg="add del mod ord topLvl">
          <ac:chgData name="Ricardo Omar Hernandez" userId="0bbf43ff-7497-4e18-ba51-e8372d008d2e" providerId="ADAL" clId="{4BDD5470-D571-454E-BC54-C635A312B0DF}" dt="2024-04-19T15:07:41.904" v="23549"/>
          <ac:picMkLst>
            <pc:docMk/>
            <pc:sldMk cId="528512669" sldId="257"/>
            <ac:picMk id="235" creationId="{1D8A5285-B2D3-2056-7A63-B8D0BEED13DF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31:08.799" v="7184"/>
          <ac:picMkLst>
            <pc:docMk/>
            <pc:sldMk cId="528512669" sldId="257"/>
            <ac:picMk id="235" creationId="{3A43C89B-61E2-02A1-16D0-5483EAAB954B}"/>
          </ac:picMkLst>
        </pc:picChg>
        <pc:picChg chg="add del mod ord topLvl">
          <ac:chgData name="Ricardo Omar Hernandez" userId="0bbf43ff-7497-4e18-ba51-e8372d008d2e" providerId="ADAL" clId="{4BDD5470-D571-454E-BC54-C635A312B0DF}" dt="2024-04-19T15:08:01.940" v="23603"/>
          <ac:picMkLst>
            <pc:docMk/>
            <pc:sldMk cId="528512669" sldId="257"/>
            <ac:picMk id="239" creationId="{768ABD99-F9C5-D7DF-78AD-C3CACC400169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31:16.338" v="7307"/>
          <ac:picMkLst>
            <pc:docMk/>
            <pc:sldMk cId="528512669" sldId="257"/>
            <ac:picMk id="239" creationId="{B316E4F1-F4CA-9046-A465-C818DB332013}"/>
          </ac:picMkLst>
        </pc:picChg>
        <pc:picChg chg="add del mod ord topLvl">
          <ac:chgData name="Ricardo Omar Hernandez" userId="0bbf43ff-7497-4e18-ba51-e8372d008d2e" providerId="ADAL" clId="{4BDD5470-D571-454E-BC54-C635A312B0DF}" dt="2024-04-19T15:08:08.637" v="23663"/>
          <ac:picMkLst>
            <pc:docMk/>
            <pc:sldMk cId="528512669" sldId="257"/>
            <ac:picMk id="242" creationId="{92ED62A7-4735-05C1-B9CD-0931255CCF73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31:21.772" v="7367"/>
          <ac:picMkLst>
            <pc:docMk/>
            <pc:sldMk cId="528512669" sldId="257"/>
            <ac:picMk id="243" creationId="{541381FB-818F-BC62-1C3E-904920EAF9E4}"/>
          </ac:picMkLst>
        </pc:picChg>
        <pc:picChg chg="add del mod ord topLvl">
          <ac:chgData name="Ricardo Omar Hernandez" userId="0bbf43ff-7497-4e18-ba51-e8372d008d2e" providerId="ADAL" clId="{4BDD5470-D571-454E-BC54-C635A312B0DF}" dt="2024-04-19T15:08:14.928" v="23722"/>
          <ac:picMkLst>
            <pc:docMk/>
            <pc:sldMk cId="528512669" sldId="257"/>
            <ac:picMk id="245" creationId="{000248F8-6BDF-8166-0CFE-8C680B80ABCF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31:33.409" v="7427"/>
          <ac:picMkLst>
            <pc:docMk/>
            <pc:sldMk cId="528512669" sldId="257"/>
            <ac:picMk id="246" creationId="{FD4292E4-41F3-A492-5846-75012D5ADF02}"/>
          </ac:picMkLst>
        </pc:picChg>
        <pc:picChg chg="add del mod ord topLvl">
          <ac:chgData name="Ricardo Omar Hernandez" userId="0bbf43ff-7497-4e18-ba51-e8372d008d2e" providerId="ADAL" clId="{4BDD5470-D571-454E-BC54-C635A312B0DF}" dt="2024-04-19T15:08:18.664" v="23757"/>
          <ac:picMkLst>
            <pc:docMk/>
            <pc:sldMk cId="528512669" sldId="257"/>
            <ac:picMk id="248" creationId="{04EBA10A-1415-4859-F8C2-C1227C22A263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31:45.560" v="7478"/>
          <ac:picMkLst>
            <pc:docMk/>
            <pc:sldMk cId="528512669" sldId="257"/>
            <ac:picMk id="249" creationId="{D5879EFE-12A8-C35C-0699-091889A7F82F}"/>
          </ac:picMkLst>
        </pc:picChg>
        <pc:picChg chg="add del mod ord topLvl">
          <ac:chgData name="Ricardo Omar Hernandez" userId="0bbf43ff-7497-4e18-ba51-e8372d008d2e" providerId="ADAL" clId="{4BDD5470-D571-454E-BC54-C635A312B0DF}" dt="2024-04-19T15:08:22.402" v="23792"/>
          <ac:picMkLst>
            <pc:docMk/>
            <pc:sldMk cId="528512669" sldId="257"/>
            <ac:picMk id="251" creationId="{1C717D13-5357-46CF-A305-A7301D33D839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31:56.212" v="7527"/>
          <ac:picMkLst>
            <pc:docMk/>
            <pc:sldMk cId="528512669" sldId="257"/>
            <ac:picMk id="252" creationId="{B9CD67EC-9421-3BA1-BD48-8A88BC2FA4E6}"/>
          </ac:picMkLst>
        </pc:picChg>
        <pc:picChg chg="add del mod ord topLvl">
          <ac:chgData name="Ricardo Omar Hernandez" userId="0bbf43ff-7497-4e18-ba51-e8372d008d2e" providerId="ADAL" clId="{4BDD5470-D571-454E-BC54-C635A312B0DF}" dt="2024-04-19T15:08:30.458" v="23857"/>
          <ac:picMkLst>
            <pc:docMk/>
            <pc:sldMk cId="528512669" sldId="257"/>
            <ac:picMk id="254" creationId="{E603B4CA-7964-048F-C2E4-D29207439A46}"/>
          </ac:picMkLst>
        </pc:picChg>
        <pc:picChg chg="add del mod ord">
          <ac:chgData name="Ricardo Omar Hernandez" userId="0bbf43ff-7497-4e18-ba51-e8372d008d2e" providerId="ADAL" clId="{4BDD5470-D571-454E-BC54-C635A312B0DF}" dt="2024-04-18T20:32:15.328" v="10116" actId="478"/>
          <ac:picMkLst>
            <pc:docMk/>
            <pc:sldMk cId="528512669" sldId="257"/>
            <ac:picMk id="255" creationId="{DF8693A9-05B9-5CB7-4F22-D4F8B59FEA7D}"/>
          </ac:picMkLst>
        </pc:picChg>
        <pc:picChg chg="add del mod ord topLvl">
          <ac:chgData name="Ricardo Omar Hernandez" userId="0bbf43ff-7497-4e18-ba51-e8372d008d2e" providerId="ADAL" clId="{4BDD5470-D571-454E-BC54-C635A312B0DF}" dt="2024-04-19T15:08:36.239" v="23916"/>
          <ac:picMkLst>
            <pc:docMk/>
            <pc:sldMk cId="528512669" sldId="257"/>
            <ac:picMk id="257" creationId="{0C515372-9EEA-0B0E-14BC-4ECBDE88038D}"/>
          </ac:picMkLst>
        </pc:picChg>
        <pc:picChg chg="del mod ord topLvl">
          <ac:chgData name="Ricardo Omar Hernandez" userId="0bbf43ff-7497-4e18-ba51-e8372d008d2e" providerId="ADAL" clId="{4BDD5470-D571-454E-BC54-C635A312B0DF}" dt="2024-04-18T20:32:27.758" v="10220"/>
          <ac:picMkLst>
            <pc:docMk/>
            <pc:sldMk cId="528512669" sldId="257"/>
            <ac:picMk id="258" creationId="{32C7FFDC-D959-7B02-6CE1-33438628101B}"/>
          </ac:picMkLst>
        </pc:picChg>
        <pc:picChg chg="add del mod ord topLvl">
          <ac:chgData name="Ricardo Omar Hernandez" userId="0bbf43ff-7497-4e18-ba51-e8372d008d2e" providerId="ADAL" clId="{4BDD5470-D571-454E-BC54-C635A312B0DF}" dt="2024-04-19T15:08:40.182" v="23951"/>
          <ac:picMkLst>
            <pc:docMk/>
            <pc:sldMk cId="528512669" sldId="257"/>
            <ac:picMk id="276" creationId="{A9EFF50F-1EE8-D772-5F64-B5370B36D514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32:35.182" v="10271"/>
          <ac:picMkLst>
            <pc:docMk/>
            <pc:sldMk cId="528512669" sldId="257"/>
            <ac:picMk id="277" creationId="{BC11F372-ECCA-6AF4-1F0B-21C5C7FBD651}"/>
          </ac:picMkLst>
        </pc:picChg>
        <pc:picChg chg="add del mod ord topLvl">
          <ac:chgData name="Ricardo Omar Hernandez" userId="0bbf43ff-7497-4e18-ba51-e8372d008d2e" providerId="ADAL" clId="{4BDD5470-D571-454E-BC54-C635A312B0DF}" dt="2024-04-19T15:08:45.682" v="24016"/>
          <ac:picMkLst>
            <pc:docMk/>
            <pc:sldMk cId="528512669" sldId="257"/>
            <ac:picMk id="279" creationId="{15C5DC0E-8B22-0124-B57E-3C8D27BFC302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32:41.759" v="10322"/>
          <ac:picMkLst>
            <pc:docMk/>
            <pc:sldMk cId="528512669" sldId="257"/>
            <ac:picMk id="280" creationId="{CC2CA810-C97E-E5E9-CC8D-66E3D00B0DFE}"/>
          </ac:picMkLst>
        </pc:picChg>
        <pc:picChg chg="add del mod ord topLvl">
          <ac:chgData name="Ricardo Omar Hernandez" userId="0bbf43ff-7497-4e18-ba51-e8372d008d2e" providerId="ADAL" clId="{4BDD5470-D571-454E-BC54-C635A312B0DF}" dt="2024-04-19T15:09:24.966" v="24083"/>
          <ac:picMkLst>
            <pc:docMk/>
            <pc:sldMk cId="528512669" sldId="257"/>
            <ac:picMk id="282" creationId="{05093341-F1AE-2889-0F85-768C1B790F8E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32:49.720" v="10378"/>
          <ac:picMkLst>
            <pc:docMk/>
            <pc:sldMk cId="528512669" sldId="257"/>
            <ac:picMk id="283" creationId="{608A84B9-3E25-3C04-A6EB-610BD0FA689D}"/>
          </ac:picMkLst>
        </pc:picChg>
        <pc:picChg chg="add del mod ord topLvl">
          <ac:chgData name="Ricardo Omar Hernandez" userId="0bbf43ff-7497-4e18-ba51-e8372d008d2e" providerId="ADAL" clId="{4BDD5470-D571-454E-BC54-C635A312B0DF}" dt="2024-04-19T15:09:28.938" v="24344"/>
          <ac:picMkLst>
            <pc:docMk/>
            <pc:sldMk cId="528512669" sldId="257"/>
            <ac:picMk id="285" creationId="{F846FAA7-B439-69D1-334D-E004C4F4DAD4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33:00.112" v="10429"/>
          <ac:picMkLst>
            <pc:docMk/>
            <pc:sldMk cId="528512669" sldId="257"/>
            <ac:picMk id="286" creationId="{91CCA9AB-3E57-7EFC-DF53-5D85877F27BD}"/>
          </ac:picMkLst>
        </pc:picChg>
        <pc:picChg chg="add del mod ord topLvl">
          <ac:chgData name="Ricardo Omar Hernandez" userId="0bbf43ff-7497-4e18-ba51-e8372d008d2e" providerId="ADAL" clId="{4BDD5470-D571-454E-BC54-C635A312B0DF}" dt="2024-04-19T15:09:45.022" v="24546"/>
          <ac:picMkLst>
            <pc:docMk/>
            <pc:sldMk cId="528512669" sldId="257"/>
            <ac:picMk id="288" creationId="{9B480D67-71C5-846C-3AF5-2CEB7DF69EE9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33:05.063" v="10512"/>
          <ac:picMkLst>
            <pc:docMk/>
            <pc:sldMk cId="528512669" sldId="257"/>
            <ac:picMk id="289" creationId="{D36FB56F-D95C-6E14-8A27-5B712D37B55A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33:11.671" v="10581"/>
          <ac:picMkLst>
            <pc:docMk/>
            <pc:sldMk cId="528512669" sldId="257"/>
            <ac:picMk id="292" creationId="{5CAD66B9-4B03-4323-BFCA-E6BFAD495429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33:20.299" v="10637"/>
          <ac:picMkLst>
            <pc:docMk/>
            <pc:sldMk cId="528512669" sldId="257"/>
            <ac:picMk id="296" creationId="{8B374232-A7E6-40C5-CD65-F21C940846AB}"/>
          </ac:picMkLst>
        </pc:picChg>
        <pc:picChg chg="add del mod ord topLvl">
          <ac:chgData name="Ricardo Omar Hernandez" userId="0bbf43ff-7497-4e18-ba51-e8372d008d2e" providerId="ADAL" clId="{4BDD5470-D571-454E-BC54-C635A312B0DF}" dt="2024-04-19T15:09:50.709" v="24773"/>
          <ac:picMkLst>
            <pc:docMk/>
            <pc:sldMk cId="528512669" sldId="257"/>
            <ac:picMk id="298" creationId="{005907C3-3815-3573-21E9-F1FA2D85196C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33:39.453" v="10792"/>
          <ac:picMkLst>
            <pc:docMk/>
            <pc:sldMk cId="528512669" sldId="257"/>
            <ac:picMk id="299" creationId="{156AE462-885E-30A4-4DE0-02E33B0C2716}"/>
          </ac:picMkLst>
        </pc:picChg>
        <pc:picChg chg="add del mod ord topLvl">
          <ac:chgData name="Ricardo Omar Hernandez" userId="0bbf43ff-7497-4e18-ba51-e8372d008d2e" providerId="ADAL" clId="{4BDD5470-D571-454E-BC54-C635A312B0DF}" dt="2024-04-19T15:09:54.902" v="25077"/>
          <ac:picMkLst>
            <pc:docMk/>
            <pc:sldMk cId="528512669" sldId="257"/>
            <ac:picMk id="301" creationId="{4D29B46A-A42C-1A5F-0843-3A8EE00FBCB6}"/>
          </ac:picMkLst>
        </pc:picChg>
        <pc:picChg chg="add mod ord">
          <ac:chgData name="Ricardo Omar Hernandez" userId="0bbf43ff-7497-4e18-ba51-e8372d008d2e" providerId="ADAL" clId="{4BDD5470-D571-454E-BC54-C635A312B0DF}" dt="2024-04-18T20:33:28.807" v="10755"/>
          <ac:picMkLst>
            <pc:docMk/>
            <pc:sldMk cId="528512669" sldId="257"/>
            <ac:picMk id="302" creationId="{819503F1-6418-A5C3-FD79-96B8241DFC09}"/>
          </ac:picMkLst>
        </pc:picChg>
        <pc:picChg chg="add del mod ord topLvl">
          <ac:chgData name="Ricardo Omar Hernandez" userId="0bbf43ff-7497-4e18-ba51-e8372d008d2e" providerId="ADAL" clId="{4BDD5470-D571-454E-BC54-C635A312B0DF}" dt="2024-04-19T15:10:01.326" v="25379"/>
          <ac:picMkLst>
            <pc:docMk/>
            <pc:sldMk cId="528512669" sldId="257"/>
            <ac:picMk id="304" creationId="{807F6635-B571-5848-3058-98A940B1C94D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33:49.163" v="10896"/>
          <ac:picMkLst>
            <pc:docMk/>
            <pc:sldMk cId="528512669" sldId="257"/>
            <ac:picMk id="305" creationId="{E2EC97DF-3E2C-54CD-67CF-8DD0BEDA7856}"/>
          </ac:picMkLst>
        </pc:picChg>
        <pc:picChg chg="add del mod ord topLvl">
          <ac:chgData name="Ricardo Omar Hernandez" userId="0bbf43ff-7497-4e18-ba51-e8372d008d2e" providerId="ADAL" clId="{4BDD5470-D571-454E-BC54-C635A312B0DF}" dt="2024-04-19T15:13:04.651" v="25717"/>
          <ac:picMkLst>
            <pc:docMk/>
            <pc:sldMk cId="528512669" sldId="257"/>
            <ac:picMk id="307" creationId="{3DCD6BA4-46EB-453C-02D7-B965E9FDDE09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33:53.843" v="10955"/>
          <ac:picMkLst>
            <pc:docMk/>
            <pc:sldMk cId="528512669" sldId="257"/>
            <ac:picMk id="308" creationId="{B86E10BE-DD52-AA6D-6D51-7115880E49D4}"/>
          </ac:picMkLst>
        </pc:picChg>
        <pc:picChg chg="add del mod ord topLvl">
          <ac:chgData name="Ricardo Omar Hernandez" userId="0bbf43ff-7497-4e18-ba51-e8372d008d2e" providerId="ADAL" clId="{4BDD5470-D571-454E-BC54-C635A312B0DF}" dt="2024-04-19T15:13:18.723" v="25941"/>
          <ac:picMkLst>
            <pc:docMk/>
            <pc:sldMk cId="528512669" sldId="257"/>
            <ac:picMk id="310" creationId="{AEB8193E-BC72-509E-70B1-6305C4091703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33:56.028" v="10990"/>
          <ac:picMkLst>
            <pc:docMk/>
            <pc:sldMk cId="528512669" sldId="257"/>
            <ac:picMk id="311" creationId="{06BC9618-431C-9495-CFD1-4C094D859E81}"/>
          </ac:picMkLst>
        </pc:picChg>
        <pc:picChg chg="add del mod ord topLvl">
          <ac:chgData name="Ricardo Omar Hernandez" userId="0bbf43ff-7497-4e18-ba51-e8372d008d2e" providerId="ADAL" clId="{4BDD5470-D571-454E-BC54-C635A312B0DF}" dt="2024-04-19T15:13:20.986" v="26003"/>
          <ac:picMkLst>
            <pc:docMk/>
            <pc:sldMk cId="528512669" sldId="257"/>
            <ac:picMk id="313" creationId="{4297C84E-4143-37D5-C50F-A2750433D2DB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33:59.132" v="11039"/>
          <ac:picMkLst>
            <pc:docMk/>
            <pc:sldMk cId="528512669" sldId="257"/>
            <ac:picMk id="314" creationId="{25D9FF3E-2B86-36BA-9279-73E43C63A117}"/>
          </ac:picMkLst>
        </pc:picChg>
        <pc:picChg chg="add del mod ord topLvl">
          <ac:chgData name="Ricardo Omar Hernandez" userId="0bbf43ff-7497-4e18-ba51-e8372d008d2e" providerId="ADAL" clId="{4BDD5470-D571-454E-BC54-C635A312B0DF}" dt="2024-04-19T15:13:35.057" v="26109"/>
          <ac:picMkLst>
            <pc:docMk/>
            <pc:sldMk cId="528512669" sldId="257"/>
            <ac:picMk id="316" creationId="{46BD3B80-4022-EE02-5289-36DE75032ED0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34:09.092" v="11088"/>
          <ac:picMkLst>
            <pc:docMk/>
            <pc:sldMk cId="528512669" sldId="257"/>
            <ac:picMk id="317" creationId="{51077CDD-0621-D012-25D7-15F6394CE1AD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34:11.901" v="11148"/>
          <ac:picMkLst>
            <pc:docMk/>
            <pc:sldMk cId="528512669" sldId="257"/>
            <ac:picMk id="320" creationId="{9183D38E-B7B3-6204-BD3A-ADCF876D2D0C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34:15.446" v="11208"/>
          <ac:picMkLst>
            <pc:docMk/>
            <pc:sldMk cId="528512669" sldId="257"/>
            <ac:picMk id="323" creationId="{2864450A-2411-B2B7-884D-95B18A644B19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34:19.623" v="11267"/>
          <ac:picMkLst>
            <pc:docMk/>
            <pc:sldMk cId="528512669" sldId="257"/>
            <ac:picMk id="326" creationId="{5C35AA70-64F6-25D1-C6C3-50A43E50A157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34:26.487" v="11302"/>
          <ac:picMkLst>
            <pc:docMk/>
            <pc:sldMk cId="528512669" sldId="257"/>
            <ac:picMk id="329" creationId="{329405DC-CEC3-6D49-F0DC-E2CD3D0D0446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34:37.907" v="11362"/>
          <ac:picMkLst>
            <pc:docMk/>
            <pc:sldMk cId="528512669" sldId="257"/>
            <ac:picMk id="332" creationId="{B7293C8C-9365-99D4-E8B3-0FCD3E350437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35:13.060" v="11427"/>
          <ac:picMkLst>
            <pc:docMk/>
            <pc:sldMk cId="528512669" sldId="257"/>
            <ac:picMk id="335" creationId="{F1FA8345-C70F-2C39-C85C-693520F562A4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35:14.887" v="11484"/>
          <ac:picMkLst>
            <pc:docMk/>
            <pc:sldMk cId="528512669" sldId="257"/>
            <ac:picMk id="338" creationId="{CFF39F86-4D3B-B956-4F4A-5041A12A227C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35:18.019" v="11549"/>
          <ac:picMkLst>
            <pc:docMk/>
            <pc:sldMk cId="528512669" sldId="257"/>
            <ac:picMk id="341" creationId="{0DC1024B-6DD1-A053-89FC-C5C9C2981024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35:26.449" v="11609"/>
          <ac:picMkLst>
            <pc:docMk/>
            <pc:sldMk cId="528512669" sldId="257"/>
            <ac:picMk id="344" creationId="{C2A59EE7-01A1-D55A-71B0-1C0B24978474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35:30.997" v="11675"/>
          <ac:picMkLst>
            <pc:docMk/>
            <pc:sldMk cId="528512669" sldId="257"/>
            <ac:picMk id="347" creationId="{BE7C7F9C-C208-4113-5CB1-D97F95B7559C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35:42.963" v="11739"/>
          <ac:picMkLst>
            <pc:docMk/>
            <pc:sldMk cId="528512669" sldId="257"/>
            <ac:picMk id="350" creationId="{63CB9B69-BF6E-B0EA-9E6F-C4BA68F77B2C}"/>
          </ac:picMkLst>
        </pc:picChg>
        <pc:picChg chg="add del mod ord topLvl">
          <ac:chgData name="Ricardo Omar Hernandez" userId="0bbf43ff-7497-4e18-ba51-e8372d008d2e" providerId="ADAL" clId="{4BDD5470-D571-454E-BC54-C635A312B0DF}" dt="2024-04-19T15:13:41.144" v="26318"/>
          <ac:picMkLst>
            <pc:docMk/>
            <pc:sldMk cId="528512669" sldId="257"/>
            <ac:picMk id="352" creationId="{3A5AF64C-2177-A48F-74CA-DA37DA9051B7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35:50.348" v="11786"/>
          <ac:picMkLst>
            <pc:docMk/>
            <pc:sldMk cId="528512669" sldId="257"/>
            <ac:picMk id="353" creationId="{06219CE3-1C75-AEC6-0E39-988F3ACDAF0E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35:56.236" v="11833"/>
          <ac:picMkLst>
            <pc:docMk/>
            <pc:sldMk cId="528512669" sldId="257"/>
            <ac:picMk id="356" creationId="{87709A3B-D6EA-7868-397F-BDE96F4D11D4}"/>
          </ac:picMkLst>
        </pc:picChg>
        <pc:picChg chg="add del mod ord topLvl">
          <ac:chgData name="Ricardo Omar Hernandez" userId="0bbf43ff-7497-4e18-ba51-e8372d008d2e" providerId="ADAL" clId="{4BDD5470-D571-454E-BC54-C635A312B0DF}" dt="2024-04-19T15:13:46.002" v="26380"/>
          <ac:picMkLst>
            <pc:docMk/>
            <pc:sldMk cId="528512669" sldId="257"/>
            <ac:picMk id="356" creationId="{D5009B01-42CF-6D0F-E11D-6A64A927BCDF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36:01.881" v="11891"/>
          <ac:picMkLst>
            <pc:docMk/>
            <pc:sldMk cId="528512669" sldId="257"/>
            <ac:picMk id="359" creationId="{46A29841-EFE6-2DBA-0BEA-9A950DFFEF41}"/>
          </ac:picMkLst>
        </pc:picChg>
        <pc:picChg chg="add del mod ord topLvl">
          <ac:chgData name="Ricardo Omar Hernandez" userId="0bbf43ff-7497-4e18-ba51-e8372d008d2e" providerId="ADAL" clId="{4BDD5470-D571-454E-BC54-C635A312B0DF}" dt="2024-04-19T15:13:52.238" v="26531"/>
          <ac:picMkLst>
            <pc:docMk/>
            <pc:sldMk cId="528512669" sldId="257"/>
            <ac:picMk id="359" creationId="{5547BA62-28BE-B420-4ABF-6EA214869D03}"/>
          </ac:picMkLst>
        </pc:picChg>
        <pc:picChg chg="add del mod ord topLvl">
          <ac:chgData name="Ricardo Omar Hernandez" userId="0bbf43ff-7497-4e18-ba51-e8372d008d2e" providerId="ADAL" clId="{4BDD5470-D571-454E-BC54-C635A312B0DF}" dt="2024-04-19T15:13:57.387" v="26613"/>
          <ac:picMkLst>
            <pc:docMk/>
            <pc:sldMk cId="528512669" sldId="257"/>
            <ac:picMk id="362" creationId="{69FB19CA-EF4E-FCF3-4D2F-C3352377E413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49:53.728" v="11974"/>
          <ac:picMkLst>
            <pc:docMk/>
            <pc:sldMk cId="528512669" sldId="257"/>
            <ac:picMk id="362" creationId="{C328972E-A20A-5BD4-1C97-2A5986AF2815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50:01.144" v="12041"/>
          <ac:picMkLst>
            <pc:docMk/>
            <pc:sldMk cId="528512669" sldId="257"/>
            <ac:picMk id="365" creationId="{7DCB0991-F728-8B82-B8AB-3F0631BD7977}"/>
          </ac:picMkLst>
        </pc:picChg>
        <pc:picChg chg="add del mod ord topLvl">
          <ac:chgData name="Ricardo Omar Hernandez" userId="0bbf43ff-7497-4e18-ba51-e8372d008d2e" providerId="ADAL" clId="{4BDD5470-D571-454E-BC54-C635A312B0DF}" dt="2024-04-19T15:14:05.615" v="26692"/>
          <ac:picMkLst>
            <pc:docMk/>
            <pc:sldMk cId="528512669" sldId="257"/>
            <ac:picMk id="365" creationId="{B477172E-28A2-6F4B-E27F-20C864557658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50:03.993" v="12103"/>
          <ac:picMkLst>
            <pc:docMk/>
            <pc:sldMk cId="528512669" sldId="257"/>
            <ac:picMk id="369" creationId="{13163880-DF4D-EB4E-C518-FBAE99515372}"/>
          </ac:picMkLst>
        </pc:picChg>
        <pc:picChg chg="add del mod ord topLvl">
          <ac:chgData name="Ricardo Omar Hernandez" userId="0bbf43ff-7497-4e18-ba51-e8372d008d2e" providerId="ADAL" clId="{4BDD5470-D571-454E-BC54-C635A312B0DF}" dt="2024-04-19T15:14:08.035" v="26754"/>
          <ac:picMkLst>
            <pc:docMk/>
            <pc:sldMk cId="528512669" sldId="257"/>
            <ac:picMk id="370" creationId="{F958A9EC-52CA-271D-4FA3-66EAF0C2C769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50:12.650" v="12182"/>
          <ac:picMkLst>
            <pc:docMk/>
            <pc:sldMk cId="528512669" sldId="257"/>
            <ac:picMk id="372" creationId="{DBB5B2CB-82B3-9959-4201-523565B3AF28}"/>
          </ac:picMkLst>
        </pc:picChg>
        <pc:picChg chg="add del mod ord topLvl">
          <ac:chgData name="Ricardo Omar Hernandez" userId="0bbf43ff-7497-4e18-ba51-e8372d008d2e" providerId="ADAL" clId="{4BDD5470-D571-454E-BC54-C635A312B0DF}" dt="2024-04-19T15:14:12.481" v="26810"/>
          <ac:picMkLst>
            <pc:docMk/>
            <pc:sldMk cId="528512669" sldId="257"/>
            <ac:picMk id="373" creationId="{C7238EAF-8024-364B-CDB5-AF653988CE67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50:29.068" v="12240"/>
          <ac:picMkLst>
            <pc:docMk/>
            <pc:sldMk cId="528512669" sldId="257"/>
            <ac:picMk id="375" creationId="{7DD91542-3CA1-76BF-CB94-FDE726F6CCD8}"/>
          </ac:picMkLst>
        </pc:picChg>
        <pc:picChg chg="add del mod ord topLvl">
          <ac:chgData name="Ricardo Omar Hernandez" userId="0bbf43ff-7497-4e18-ba51-e8372d008d2e" providerId="ADAL" clId="{4BDD5470-D571-454E-BC54-C635A312B0DF}" dt="2024-04-19T15:14:15.795" v="26845"/>
          <ac:picMkLst>
            <pc:docMk/>
            <pc:sldMk cId="528512669" sldId="257"/>
            <ac:picMk id="377" creationId="{B533FF6A-5BC3-8B9D-19FA-9A895E87D060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50:30.806" v="12304"/>
          <ac:picMkLst>
            <pc:docMk/>
            <pc:sldMk cId="528512669" sldId="257"/>
            <ac:picMk id="379" creationId="{790E4194-8482-2732-D1C0-B73CB8F8C54E}"/>
          </ac:picMkLst>
        </pc:picChg>
        <pc:picChg chg="add del mod ord topLvl">
          <ac:chgData name="Ricardo Omar Hernandez" userId="0bbf43ff-7497-4e18-ba51-e8372d008d2e" providerId="ADAL" clId="{4BDD5470-D571-454E-BC54-C635A312B0DF}" dt="2024-04-19T15:14:21.861" v="26907"/>
          <ac:picMkLst>
            <pc:docMk/>
            <pc:sldMk cId="528512669" sldId="257"/>
            <ac:picMk id="380" creationId="{85C7E08F-AC4A-C283-ED60-F6338F21ED2E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50:35.493" v="12358"/>
          <ac:picMkLst>
            <pc:docMk/>
            <pc:sldMk cId="528512669" sldId="257"/>
            <ac:picMk id="382" creationId="{F3A90EA3-C334-A301-633B-7E4F9A1E0C1F}"/>
          </ac:picMkLst>
        </pc:picChg>
        <pc:picChg chg="add del mod ord topLvl">
          <ac:chgData name="Ricardo Omar Hernandez" userId="0bbf43ff-7497-4e18-ba51-e8372d008d2e" providerId="ADAL" clId="{4BDD5470-D571-454E-BC54-C635A312B0DF}" dt="2024-04-19T15:14:23.872" v="26969"/>
          <ac:picMkLst>
            <pc:docMk/>
            <pc:sldMk cId="528512669" sldId="257"/>
            <ac:picMk id="383" creationId="{7EE6FF4F-32AF-94D8-4BF5-077D72777849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50:46.026" v="12419"/>
          <ac:picMkLst>
            <pc:docMk/>
            <pc:sldMk cId="528512669" sldId="257"/>
            <ac:picMk id="385" creationId="{39E537B8-ECAB-1942-6384-7714E5BE9E5B}"/>
          </ac:picMkLst>
        </pc:picChg>
        <pc:picChg chg="add del mod ord topLvl">
          <ac:chgData name="Ricardo Omar Hernandez" userId="0bbf43ff-7497-4e18-ba51-e8372d008d2e" providerId="ADAL" clId="{4BDD5470-D571-454E-BC54-C635A312B0DF}" dt="2024-04-19T15:14:25.457" v="27031"/>
          <ac:picMkLst>
            <pc:docMk/>
            <pc:sldMk cId="528512669" sldId="257"/>
            <ac:picMk id="386" creationId="{24440D8E-82FA-C89B-1149-AA4AAC75F27F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50:50.295" v="12479"/>
          <ac:picMkLst>
            <pc:docMk/>
            <pc:sldMk cId="528512669" sldId="257"/>
            <ac:picMk id="388" creationId="{1FDC5E08-B7BE-C7D2-DBAB-3194FBBB3383}"/>
          </ac:picMkLst>
        </pc:picChg>
        <pc:picChg chg="add del mod ord topLvl">
          <ac:chgData name="Ricardo Omar Hernandez" userId="0bbf43ff-7497-4e18-ba51-e8372d008d2e" providerId="ADAL" clId="{4BDD5470-D571-454E-BC54-C635A312B0DF}" dt="2024-04-19T15:14:32.660" v="27093"/>
          <ac:picMkLst>
            <pc:docMk/>
            <pc:sldMk cId="528512669" sldId="257"/>
            <ac:picMk id="389" creationId="{97F8C818-70CA-4355-CB97-134C9550E4C0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50:54.191" v="12537"/>
          <ac:picMkLst>
            <pc:docMk/>
            <pc:sldMk cId="528512669" sldId="257"/>
            <ac:picMk id="391" creationId="{C03A91B6-70CE-AAE3-DD68-A0E51569B7E0}"/>
          </ac:picMkLst>
        </pc:picChg>
        <pc:picChg chg="add del mod ord topLvl">
          <ac:chgData name="Ricardo Omar Hernandez" userId="0bbf43ff-7497-4e18-ba51-e8372d008d2e" providerId="ADAL" clId="{4BDD5470-D571-454E-BC54-C635A312B0DF}" dt="2024-04-19T15:15:18.784" v="27158"/>
          <ac:picMkLst>
            <pc:docMk/>
            <pc:sldMk cId="528512669" sldId="257"/>
            <ac:picMk id="392" creationId="{5592C61C-B00E-70CD-9278-751A6AB6E89B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50:57.278" v="12620"/>
          <ac:picMkLst>
            <pc:docMk/>
            <pc:sldMk cId="528512669" sldId="257"/>
            <ac:picMk id="394" creationId="{0A0AB494-0600-C83B-6EEC-5FBF59616708}"/>
          </ac:picMkLst>
        </pc:picChg>
        <pc:picChg chg="add del mod ord topLvl">
          <ac:chgData name="Ricardo Omar Hernandez" userId="0bbf43ff-7497-4e18-ba51-e8372d008d2e" providerId="ADAL" clId="{4BDD5470-D571-454E-BC54-C635A312B0DF}" dt="2024-04-19T15:15:31.634" v="27371"/>
          <ac:picMkLst>
            <pc:docMk/>
            <pc:sldMk cId="528512669" sldId="257"/>
            <ac:picMk id="395" creationId="{B4619811-961A-4B50-6764-E7D10B7FECCC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51:03.997" v="12689"/>
          <ac:picMkLst>
            <pc:docMk/>
            <pc:sldMk cId="528512669" sldId="257"/>
            <ac:picMk id="397" creationId="{E37FA4A2-7AEE-4255-3DFE-35046B4D6BA9}"/>
          </ac:picMkLst>
        </pc:picChg>
        <pc:picChg chg="add del mod ord topLvl">
          <ac:chgData name="Ricardo Omar Hernandez" userId="0bbf43ff-7497-4e18-ba51-e8372d008d2e" providerId="ADAL" clId="{4BDD5470-D571-454E-BC54-C635A312B0DF}" dt="2024-04-19T15:15:34.572" v="27434"/>
          <ac:picMkLst>
            <pc:docMk/>
            <pc:sldMk cId="528512669" sldId="257"/>
            <ac:picMk id="400" creationId="{BFC98510-3FB8-4D18-1A19-538AA51B6562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51:06.349" v="12751"/>
          <ac:picMkLst>
            <pc:docMk/>
            <pc:sldMk cId="528512669" sldId="257"/>
            <ac:picMk id="401" creationId="{BF66AB3F-5A7D-D8A3-703D-B4D7B78F607D}"/>
          </ac:picMkLst>
        </pc:picChg>
        <pc:picChg chg="add del mod ord topLvl">
          <ac:chgData name="Ricardo Omar Hernandez" userId="0bbf43ff-7497-4e18-ba51-e8372d008d2e" providerId="ADAL" clId="{4BDD5470-D571-454E-BC54-C635A312B0DF}" dt="2024-04-19T15:15:38.153" v="27605"/>
          <ac:picMkLst>
            <pc:docMk/>
            <pc:sldMk cId="528512669" sldId="257"/>
            <ac:picMk id="403" creationId="{9F9306BE-F03D-B1AC-EB30-6176136AD4F2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51:47.370" v="12830"/>
          <ac:picMkLst>
            <pc:docMk/>
            <pc:sldMk cId="528512669" sldId="257"/>
            <ac:picMk id="404" creationId="{DD9D3D66-0BD7-9814-5831-C05B74FE30A4}"/>
          </ac:picMkLst>
        </pc:picChg>
        <pc:picChg chg="add del mod ord topLvl">
          <ac:chgData name="Ricardo Omar Hernandez" userId="0bbf43ff-7497-4e18-ba51-e8372d008d2e" providerId="ADAL" clId="{4BDD5470-D571-454E-BC54-C635A312B0DF}" dt="2024-04-19T15:15:45.148" v="27818"/>
          <ac:picMkLst>
            <pc:docMk/>
            <pc:sldMk cId="528512669" sldId="257"/>
            <ac:picMk id="406" creationId="{605D2B06-88A5-CA52-ED21-4168043D4A0B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51:57.373" v="12966"/>
          <ac:picMkLst>
            <pc:docMk/>
            <pc:sldMk cId="528512669" sldId="257"/>
            <ac:picMk id="407" creationId="{6876A2B1-4769-04ED-7CD9-52ABA609E00D}"/>
          </ac:picMkLst>
        </pc:picChg>
        <pc:picChg chg="add del mod ord topLvl">
          <ac:chgData name="Ricardo Omar Hernandez" userId="0bbf43ff-7497-4e18-ba51-e8372d008d2e" providerId="ADAL" clId="{4BDD5470-D571-454E-BC54-C635A312B0DF}" dt="2024-04-19T15:15:50.865" v="27878"/>
          <ac:picMkLst>
            <pc:docMk/>
            <pc:sldMk cId="528512669" sldId="257"/>
            <ac:picMk id="410" creationId="{26FA023F-8526-87F4-3C03-6B806B139AEB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52:05.750" v="13093"/>
          <ac:picMkLst>
            <pc:docMk/>
            <pc:sldMk cId="528512669" sldId="257"/>
            <ac:picMk id="411" creationId="{74378099-CB42-B014-1A50-8614E6811348}"/>
          </ac:picMkLst>
        </pc:picChg>
        <pc:picChg chg="add del mod ord topLvl">
          <ac:chgData name="Ricardo Omar Hernandez" userId="0bbf43ff-7497-4e18-ba51-e8372d008d2e" providerId="ADAL" clId="{4BDD5470-D571-454E-BC54-C635A312B0DF}" dt="2024-04-19T15:15:53.860" v="27956"/>
          <ac:picMkLst>
            <pc:docMk/>
            <pc:sldMk cId="528512669" sldId="257"/>
            <ac:picMk id="413" creationId="{E7CFF672-168F-5B81-0BCA-C074AB87B143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52:33.743" v="13399"/>
          <ac:picMkLst>
            <pc:docMk/>
            <pc:sldMk cId="528512669" sldId="257"/>
            <ac:picMk id="414" creationId="{A95C8D33-6EB1-5915-5F39-E1522008F887}"/>
          </ac:picMkLst>
        </pc:picChg>
        <pc:picChg chg="add mod ord">
          <ac:chgData name="Ricardo Omar Hernandez" userId="0bbf43ff-7497-4e18-ba51-e8372d008d2e" providerId="ADAL" clId="{4BDD5470-D571-454E-BC54-C635A312B0DF}" dt="2024-04-18T20:52:22.892" v="13372"/>
          <ac:picMkLst>
            <pc:docMk/>
            <pc:sldMk cId="528512669" sldId="257"/>
            <ac:picMk id="418" creationId="{78670B24-1C81-B3B1-42F1-ED0B24ED824E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52:40.496" v="13504"/>
          <ac:picMkLst>
            <pc:docMk/>
            <pc:sldMk cId="528512669" sldId="257"/>
            <ac:picMk id="421" creationId="{2C6EB578-BD74-012F-4339-9B64F4C1225E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52:44.660" v="13612"/>
          <ac:picMkLst>
            <pc:docMk/>
            <pc:sldMk cId="528512669" sldId="257"/>
            <ac:picMk id="424" creationId="{7A052DC5-D2DB-4530-3D8F-8E1B3D855DEF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53:16.681" v="13715"/>
          <ac:picMkLst>
            <pc:docMk/>
            <pc:sldMk cId="528512669" sldId="257"/>
            <ac:picMk id="427" creationId="{70C49A3A-2F58-C281-EBA8-78C49175E1BB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53:25.578" v="13762"/>
          <ac:picMkLst>
            <pc:docMk/>
            <pc:sldMk cId="528512669" sldId="257"/>
            <ac:picMk id="430" creationId="{5EC5F09F-C78A-5FA8-B1EB-A0C0087EBCC4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53:30.164" v="13831"/>
          <ac:picMkLst>
            <pc:docMk/>
            <pc:sldMk cId="528512669" sldId="257"/>
            <ac:picMk id="433" creationId="{D766071E-DF76-14DA-9262-CB61E91FF264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53:38.759" v="13985"/>
          <ac:picMkLst>
            <pc:docMk/>
            <pc:sldMk cId="528512669" sldId="257"/>
            <ac:picMk id="436" creationId="{464D9AE3-BB0C-DDC7-12E0-E5F240C6F289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53:41.714" v="14141"/>
          <ac:picMkLst>
            <pc:docMk/>
            <pc:sldMk cId="528512669" sldId="257"/>
            <ac:picMk id="440" creationId="{C0ACD44B-51F5-1CBF-7252-A1717228DC65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53:47.609" v="14285"/>
          <ac:picMkLst>
            <pc:docMk/>
            <pc:sldMk cId="528512669" sldId="257"/>
            <ac:picMk id="444" creationId="{2EE1E73C-82CF-ECC5-3048-861DC4DFEAAF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54:06.663" v="14388"/>
          <ac:picMkLst>
            <pc:docMk/>
            <pc:sldMk cId="528512669" sldId="257"/>
            <ac:picMk id="448" creationId="{488A68D7-9AA4-9C9D-1742-B3E1863D8132}"/>
          </ac:picMkLst>
        </pc:picChg>
        <pc:picChg chg="add del mod ord topLvl">
          <ac:chgData name="Ricardo Omar Hernandez" userId="0bbf43ff-7497-4e18-ba51-e8372d008d2e" providerId="ADAL" clId="{4BDD5470-D571-454E-BC54-C635A312B0DF}" dt="2024-04-19T15:16:05.752" v="28035"/>
          <ac:picMkLst>
            <pc:docMk/>
            <pc:sldMk cId="528512669" sldId="257"/>
            <ac:picMk id="449" creationId="{BECBC41F-ECCE-0560-E3A0-9530A169CF0A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54:12.819" v="14596"/>
          <ac:picMkLst>
            <pc:docMk/>
            <pc:sldMk cId="528512669" sldId="257"/>
            <ac:picMk id="451" creationId="{BBD0C0A8-F84B-70BA-0230-B584990865A2}"/>
          </ac:picMkLst>
        </pc:picChg>
        <pc:picChg chg="add del mod ord topLvl">
          <ac:chgData name="Ricardo Omar Hernandez" userId="0bbf43ff-7497-4e18-ba51-e8372d008d2e" providerId="ADAL" clId="{4BDD5470-D571-454E-BC54-C635A312B0DF}" dt="2024-04-19T15:16:07.794" v="28097"/>
          <ac:picMkLst>
            <pc:docMk/>
            <pc:sldMk cId="528512669" sldId="257"/>
            <ac:picMk id="453" creationId="{51C9C93E-C3CD-31E4-C394-6D6E29BE5120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54:23.116" v="14820"/>
          <ac:picMkLst>
            <pc:docMk/>
            <pc:sldMk cId="528512669" sldId="257"/>
            <ac:picMk id="454" creationId="{A8FD09BF-10B6-E524-A57C-A741DA642A7A}"/>
          </ac:picMkLst>
        </pc:picChg>
        <pc:picChg chg="add del mod ord topLvl">
          <ac:chgData name="Ricardo Omar Hernandez" userId="0bbf43ff-7497-4e18-ba51-e8372d008d2e" providerId="ADAL" clId="{4BDD5470-D571-454E-BC54-C635A312B0DF}" dt="2024-04-19T15:16:11.829" v="28153"/>
          <ac:picMkLst>
            <pc:docMk/>
            <pc:sldMk cId="528512669" sldId="257"/>
            <ac:picMk id="456" creationId="{3C168AB9-2F70-7B05-725D-60E3A8D3B08A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54:26.915" v="14974"/>
          <ac:picMkLst>
            <pc:docMk/>
            <pc:sldMk cId="528512669" sldId="257"/>
            <ac:picMk id="457" creationId="{352BAD47-FB92-AD91-07BF-D58BE305BB9E}"/>
          </ac:picMkLst>
        </pc:picChg>
        <pc:picChg chg="add del mod ord topLvl">
          <ac:chgData name="Ricardo Omar Hernandez" userId="0bbf43ff-7497-4e18-ba51-e8372d008d2e" providerId="ADAL" clId="{4BDD5470-D571-454E-BC54-C635A312B0DF}" dt="2024-04-19T15:16:18.901" v="28215"/>
          <ac:picMkLst>
            <pc:docMk/>
            <pc:sldMk cId="528512669" sldId="257"/>
            <ac:picMk id="459" creationId="{3F281A3F-AA0B-4B21-7530-D088685E2A5D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54:34.043" v="15113"/>
          <ac:picMkLst>
            <pc:docMk/>
            <pc:sldMk cId="528512669" sldId="257"/>
            <ac:picMk id="461" creationId="{86D21EE3-84F3-2F49-75F1-E931ACAC0887}"/>
          </ac:picMkLst>
        </pc:picChg>
        <pc:picChg chg="add del mod ord topLvl">
          <ac:chgData name="Ricardo Omar Hernandez" userId="0bbf43ff-7497-4e18-ba51-e8372d008d2e" providerId="ADAL" clId="{4BDD5470-D571-454E-BC54-C635A312B0DF}" dt="2024-04-19T15:16:24.086" v="28264"/>
          <ac:picMkLst>
            <pc:docMk/>
            <pc:sldMk cId="528512669" sldId="257"/>
            <ac:picMk id="462" creationId="{50AD2F39-292E-BD60-5633-576384925601}"/>
          </ac:picMkLst>
        </pc:picChg>
        <pc:picChg chg="add del mod ord topLvl">
          <ac:chgData name="Ricardo Omar Hernandez" userId="0bbf43ff-7497-4e18-ba51-e8372d008d2e" providerId="ADAL" clId="{4BDD5470-D571-454E-BC54-C635A312B0DF}" dt="2024-04-19T15:16:29.581" v="28331"/>
          <ac:picMkLst>
            <pc:docMk/>
            <pc:sldMk cId="528512669" sldId="257"/>
            <ac:picMk id="465" creationId="{9D6500A2-2B08-1753-635F-99D36EA0802A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54:38.831" v="15216"/>
          <ac:picMkLst>
            <pc:docMk/>
            <pc:sldMk cId="528512669" sldId="257"/>
            <ac:picMk id="465" creationId="{EAE0FB84-ED02-A0C5-CC3F-C85BD70AC80C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54:45.404" v="15286"/>
          <ac:picMkLst>
            <pc:docMk/>
            <pc:sldMk cId="528512669" sldId="257"/>
            <ac:picMk id="468" creationId="{9713ACB6-60D3-999B-B280-52396FA64F1F}"/>
          </ac:picMkLst>
        </pc:picChg>
        <pc:picChg chg="add del mod ord topLvl">
          <ac:chgData name="Ricardo Omar Hernandez" userId="0bbf43ff-7497-4e18-ba51-e8372d008d2e" providerId="ADAL" clId="{4BDD5470-D571-454E-BC54-C635A312B0DF}" dt="2024-04-19T15:16:33.226" v="28391"/>
          <ac:picMkLst>
            <pc:docMk/>
            <pc:sldMk cId="528512669" sldId="257"/>
            <ac:picMk id="468" creationId="{E710329D-FED6-7D6C-9980-91D19A0A390C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54:55.160" v="15417"/>
          <ac:picMkLst>
            <pc:docMk/>
            <pc:sldMk cId="528512669" sldId="257"/>
            <ac:picMk id="471" creationId="{98BD9299-8333-6D7A-6252-B27EAC2BD8A2}"/>
          </ac:picMkLst>
        </pc:picChg>
        <pc:picChg chg="add del mod ord topLvl">
          <ac:chgData name="Ricardo Omar Hernandez" userId="0bbf43ff-7497-4e18-ba51-e8372d008d2e" providerId="ADAL" clId="{4BDD5470-D571-454E-BC54-C635A312B0DF}" dt="2024-04-19T15:16:39.632" v="28456"/>
          <ac:picMkLst>
            <pc:docMk/>
            <pc:sldMk cId="528512669" sldId="257"/>
            <ac:picMk id="473" creationId="{39D8797C-F499-EC37-BD79-C8C31F83E279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55:01.726" v="15500"/>
          <ac:picMkLst>
            <pc:docMk/>
            <pc:sldMk cId="528512669" sldId="257"/>
            <ac:picMk id="475" creationId="{2377443D-5F57-5127-420D-86FEF733F43B}"/>
          </ac:picMkLst>
        </pc:picChg>
        <pc:picChg chg="add del mod ord topLvl">
          <ac:chgData name="Ricardo Omar Hernandez" userId="0bbf43ff-7497-4e18-ba51-e8372d008d2e" providerId="ADAL" clId="{4BDD5470-D571-454E-BC54-C635A312B0DF}" dt="2024-04-19T15:17:07.271" v="28510"/>
          <ac:picMkLst>
            <pc:docMk/>
            <pc:sldMk cId="528512669" sldId="257"/>
            <ac:picMk id="476" creationId="{6A2248F9-4BBC-D924-C745-9AA26572D990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55:10.445" v="15581"/>
          <ac:picMkLst>
            <pc:docMk/>
            <pc:sldMk cId="528512669" sldId="257"/>
            <ac:picMk id="478" creationId="{B6A7C2F5-C319-B02B-8D9C-3073C4F543BC}"/>
          </ac:picMkLst>
        </pc:picChg>
        <pc:picChg chg="add del mod ord topLvl">
          <ac:chgData name="Ricardo Omar Hernandez" userId="0bbf43ff-7497-4e18-ba51-e8372d008d2e" providerId="ADAL" clId="{4BDD5470-D571-454E-BC54-C635A312B0DF}" dt="2024-04-19T15:17:11.388" v="28570"/>
          <ac:picMkLst>
            <pc:docMk/>
            <pc:sldMk cId="528512669" sldId="257"/>
            <ac:picMk id="480" creationId="{A7A9D69D-4F43-C08F-B93B-AD831410D554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55:16.778" v="15665"/>
          <ac:picMkLst>
            <pc:docMk/>
            <pc:sldMk cId="528512669" sldId="257"/>
            <ac:picMk id="482" creationId="{8CE5DED5-5379-76B1-1D1C-0BC474BAA883}"/>
          </ac:picMkLst>
        </pc:picChg>
        <pc:picChg chg="add del mod ord topLvl">
          <ac:chgData name="Ricardo Omar Hernandez" userId="0bbf43ff-7497-4e18-ba51-e8372d008d2e" providerId="ADAL" clId="{4BDD5470-D571-454E-BC54-C635A312B0DF}" dt="2024-04-19T15:17:20.946" v="28621"/>
          <ac:picMkLst>
            <pc:docMk/>
            <pc:sldMk cId="528512669" sldId="257"/>
            <ac:picMk id="483" creationId="{261D643D-483E-CB12-6FB8-768A1C07F22C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55:30.092" v="15734"/>
          <ac:picMkLst>
            <pc:docMk/>
            <pc:sldMk cId="528512669" sldId="257"/>
            <ac:picMk id="485" creationId="{4562277D-A7EF-4755-64E7-3C3339794018}"/>
          </ac:picMkLst>
        </pc:picChg>
        <pc:picChg chg="add del mod ord topLvl">
          <ac:chgData name="Ricardo Omar Hernandez" userId="0bbf43ff-7497-4e18-ba51-e8372d008d2e" providerId="ADAL" clId="{4BDD5470-D571-454E-BC54-C635A312B0DF}" dt="2024-04-19T15:17:25.344" v="28672"/>
          <ac:picMkLst>
            <pc:docMk/>
            <pc:sldMk cId="528512669" sldId="257"/>
            <ac:picMk id="487" creationId="{A3405413-6194-9DFF-24E2-3D299ABEDE5E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55:31.905" v="15817"/>
          <ac:picMkLst>
            <pc:docMk/>
            <pc:sldMk cId="528512669" sldId="257"/>
            <ac:picMk id="489" creationId="{2DA7E082-61A8-5DC1-C4EE-BB943FC96F8B}"/>
          </ac:picMkLst>
        </pc:picChg>
        <pc:picChg chg="add del mod ord topLvl">
          <ac:chgData name="Ricardo Omar Hernandez" userId="0bbf43ff-7497-4e18-ba51-e8372d008d2e" providerId="ADAL" clId="{4BDD5470-D571-454E-BC54-C635A312B0DF}" dt="2024-04-19T15:17:30.770" v="28723"/>
          <ac:picMkLst>
            <pc:docMk/>
            <pc:sldMk cId="528512669" sldId="257"/>
            <ac:picMk id="490" creationId="{AD076EF5-4AF4-9E69-2DA1-6769D58875BA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56:19.473" v="15958"/>
          <ac:picMkLst>
            <pc:docMk/>
            <pc:sldMk cId="528512669" sldId="257"/>
            <ac:picMk id="492" creationId="{992FF847-7EE1-284F-6CD7-2B286E04B0CF}"/>
          </ac:picMkLst>
        </pc:picChg>
        <pc:picChg chg="add del mod ord topLvl">
          <ac:chgData name="Ricardo Omar Hernandez" userId="0bbf43ff-7497-4e18-ba51-e8372d008d2e" providerId="ADAL" clId="{4BDD5470-D571-454E-BC54-C635A312B0DF}" dt="2024-04-19T15:17:40.314" v="28790"/>
          <ac:picMkLst>
            <pc:docMk/>
            <pc:sldMk cId="528512669" sldId="257"/>
            <ac:picMk id="494" creationId="{B9D3C66F-9FBE-3DF5-D63A-9D06C64281C7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56:22.061" v="16018"/>
          <ac:picMkLst>
            <pc:docMk/>
            <pc:sldMk cId="528512669" sldId="257"/>
            <ac:picMk id="496" creationId="{AB25FD76-393B-1504-43C5-AE5DEC25ED5D}"/>
          </ac:picMkLst>
        </pc:picChg>
        <pc:picChg chg="add del mod ord topLvl">
          <ac:chgData name="Ricardo Omar Hernandez" userId="0bbf43ff-7497-4e18-ba51-e8372d008d2e" providerId="ADAL" clId="{4BDD5470-D571-454E-BC54-C635A312B0DF}" dt="2024-04-19T15:17:48.269" v="29013"/>
          <ac:picMkLst>
            <pc:docMk/>
            <pc:sldMk cId="528512669" sldId="257"/>
            <ac:picMk id="497" creationId="{0B69932B-9FBD-844A-1FCF-5F287FFF6503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56:26.463" v="16104"/>
          <ac:picMkLst>
            <pc:docMk/>
            <pc:sldMk cId="528512669" sldId="257"/>
            <ac:picMk id="499" creationId="{27922A70-8638-1AC1-3BC6-8B7B318672D5}"/>
          </ac:picMkLst>
        </pc:picChg>
        <pc:picChg chg="add del mod ord topLvl">
          <ac:chgData name="Ricardo Omar Hernandez" userId="0bbf43ff-7497-4e18-ba51-e8372d008d2e" providerId="ADAL" clId="{4BDD5470-D571-454E-BC54-C635A312B0DF}" dt="2024-04-19T15:17:53.984" v="29091"/>
          <ac:picMkLst>
            <pc:docMk/>
            <pc:sldMk cId="528512669" sldId="257"/>
            <ac:picMk id="501" creationId="{E5406EEB-4AD7-654F-4269-D11450FF2A28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56:41.166" v="16173"/>
          <ac:picMkLst>
            <pc:docMk/>
            <pc:sldMk cId="528512669" sldId="257"/>
            <ac:picMk id="502" creationId="{71C219DF-BA27-7297-FA54-BC5C9C9E8C85}"/>
          </ac:picMkLst>
        </pc:picChg>
        <pc:picChg chg="add del mod ord topLvl">
          <ac:chgData name="Ricardo Omar Hernandez" userId="0bbf43ff-7497-4e18-ba51-e8372d008d2e" providerId="ADAL" clId="{4BDD5470-D571-454E-BC54-C635A312B0DF}" dt="2024-04-19T15:18:13.531" v="29172"/>
          <ac:picMkLst>
            <pc:docMk/>
            <pc:sldMk cId="528512669" sldId="257"/>
            <ac:picMk id="505" creationId="{F100FB85-B91E-E679-04B7-F3DC501D73CE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56:48.430" v="16235"/>
          <ac:picMkLst>
            <pc:docMk/>
            <pc:sldMk cId="528512669" sldId="257"/>
            <ac:picMk id="506" creationId="{4DE09F03-D8A7-722F-A870-795EC99A0A7F}"/>
          </ac:picMkLst>
        </pc:picChg>
        <pc:picChg chg="add del mod ord topLvl">
          <ac:chgData name="Ricardo Omar Hernandez" userId="0bbf43ff-7497-4e18-ba51-e8372d008d2e" providerId="ADAL" clId="{4BDD5470-D571-454E-BC54-C635A312B0DF}" dt="2024-04-19T15:18:17.885" v="29240"/>
          <ac:picMkLst>
            <pc:docMk/>
            <pc:sldMk cId="528512669" sldId="257"/>
            <ac:picMk id="509" creationId="{65D9474B-C40A-A39F-C6B4-0503073106AD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56:53.357" v="16284"/>
          <ac:picMkLst>
            <pc:docMk/>
            <pc:sldMk cId="528512669" sldId="257"/>
            <ac:picMk id="509" creationId="{D8BD6882-BBBC-8833-DD26-6237482DFCC4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56:59.459" v="16340"/>
          <ac:picMkLst>
            <pc:docMk/>
            <pc:sldMk cId="528512669" sldId="257"/>
            <ac:picMk id="512" creationId="{4EFD9180-AB0D-3BB6-00BF-CF5D80501F03}"/>
          </ac:picMkLst>
        </pc:picChg>
        <pc:picChg chg="add del mod ord topLvl">
          <ac:chgData name="Ricardo Omar Hernandez" userId="0bbf43ff-7497-4e18-ba51-e8372d008d2e" providerId="ADAL" clId="{4BDD5470-D571-454E-BC54-C635A312B0DF}" dt="2024-04-19T15:18:32.470" v="29308"/>
          <ac:picMkLst>
            <pc:docMk/>
            <pc:sldMk cId="528512669" sldId="257"/>
            <ac:picMk id="512" creationId="{58A0DE56-0911-EA90-3024-6564F8805E7B}"/>
          </ac:picMkLst>
        </pc:picChg>
        <pc:picChg chg="add del mod ord topLvl">
          <ac:chgData name="Ricardo Omar Hernandez" userId="0bbf43ff-7497-4e18-ba51-e8372d008d2e" providerId="ADAL" clId="{4BDD5470-D571-454E-BC54-C635A312B0DF}" dt="2024-04-19T15:18:34.071" v="29370"/>
          <ac:picMkLst>
            <pc:docMk/>
            <pc:sldMk cId="528512669" sldId="257"/>
            <ac:picMk id="515" creationId="{A7B39FCC-EC10-FD42-43E8-BD9A0CA66FDD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57:06.689" v="16394"/>
          <ac:picMkLst>
            <pc:docMk/>
            <pc:sldMk cId="528512669" sldId="257"/>
            <ac:picMk id="515" creationId="{D6C0D35F-5632-EEF3-025A-5F5ABA4AB350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57:23.114" v="16468"/>
          <ac:picMkLst>
            <pc:docMk/>
            <pc:sldMk cId="528512669" sldId="257"/>
            <ac:picMk id="518" creationId="{1F2C4B76-ADE8-EDE5-F859-2A14C99C731E}"/>
          </ac:picMkLst>
        </pc:picChg>
        <pc:picChg chg="add del mod ord topLvl">
          <ac:chgData name="Ricardo Omar Hernandez" userId="0bbf43ff-7497-4e18-ba51-e8372d008d2e" providerId="ADAL" clId="{4BDD5470-D571-454E-BC54-C635A312B0DF}" dt="2024-04-19T15:18:43.847" v="29426"/>
          <ac:picMkLst>
            <pc:docMk/>
            <pc:sldMk cId="528512669" sldId="257"/>
            <ac:picMk id="518" creationId="{A48ED305-58C2-2F68-9CDF-154B73637C33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57:45.526" v="16615"/>
          <ac:picMkLst>
            <pc:docMk/>
            <pc:sldMk cId="528512669" sldId="257"/>
            <ac:picMk id="521" creationId="{9A583A12-9F2C-0339-EBC2-8FAA3FC47595}"/>
          </ac:picMkLst>
        </pc:picChg>
        <pc:picChg chg="add del mod ord topLvl">
          <ac:chgData name="Ricardo Omar Hernandez" userId="0bbf43ff-7497-4e18-ba51-e8372d008d2e" providerId="ADAL" clId="{4BDD5470-D571-454E-BC54-C635A312B0DF}" dt="2024-04-19T15:18:49.524" v="29506"/>
          <ac:picMkLst>
            <pc:docMk/>
            <pc:sldMk cId="528512669" sldId="257"/>
            <ac:picMk id="521" creationId="{CDC82737-048A-B637-C539-C066D5D20C3D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57:50.995" v="16675"/>
          <ac:picMkLst>
            <pc:docMk/>
            <pc:sldMk cId="528512669" sldId="257"/>
            <ac:picMk id="525" creationId="{2E364EB9-48FE-BCC2-9956-F0AEBC335A9F}"/>
          </ac:picMkLst>
        </pc:picChg>
        <pc:picChg chg="add del mod ord topLvl">
          <ac:chgData name="Ricardo Omar Hernandez" userId="0bbf43ff-7497-4e18-ba51-e8372d008d2e" providerId="ADAL" clId="{4BDD5470-D571-454E-BC54-C635A312B0DF}" dt="2024-04-19T15:18:52.698" v="29566"/>
          <ac:picMkLst>
            <pc:docMk/>
            <pc:sldMk cId="528512669" sldId="257"/>
            <ac:picMk id="525" creationId="{7E8B0D16-71FB-C7E7-0994-8B85334E9E74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57:54.401" v="16760"/>
          <ac:picMkLst>
            <pc:docMk/>
            <pc:sldMk cId="528512669" sldId="257"/>
            <ac:picMk id="528" creationId="{DE07B73C-7A6D-9A74-0CE6-D54067D96D8C}"/>
          </ac:picMkLst>
        </pc:picChg>
        <pc:picChg chg="add del mod ord topLvl">
          <ac:chgData name="Ricardo Omar Hernandez" userId="0bbf43ff-7497-4e18-ba51-e8372d008d2e" providerId="ADAL" clId="{4BDD5470-D571-454E-BC54-C635A312B0DF}" dt="2024-04-19T15:18:57.618" v="29631"/>
          <ac:picMkLst>
            <pc:docMk/>
            <pc:sldMk cId="528512669" sldId="257"/>
            <ac:picMk id="529" creationId="{F4B84A0A-935B-54E4-A1CE-74995F552A0F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58:10.153" v="16829"/>
          <ac:picMkLst>
            <pc:docMk/>
            <pc:sldMk cId="528512669" sldId="257"/>
            <ac:picMk id="531" creationId="{3AB65829-AFD1-0C77-2680-04BD25F6C7DA}"/>
          </ac:picMkLst>
        </pc:picChg>
        <pc:picChg chg="add del mod ord topLvl">
          <ac:chgData name="Ricardo Omar Hernandez" userId="0bbf43ff-7497-4e18-ba51-e8372d008d2e" providerId="ADAL" clId="{4BDD5470-D571-454E-BC54-C635A312B0DF}" dt="2024-04-19T15:19:05.559" v="29685"/>
          <ac:picMkLst>
            <pc:docMk/>
            <pc:sldMk cId="528512669" sldId="257"/>
            <ac:picMk id="533" creationId="{BA786AED-CCF4-B14B-2B08-E62C3E00CFB1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58:16.147" v="16914"/>
          <ac:picMkLst>
            <pc:docMk/>
            <pc:sldMk cId="528512669" sldId="257"/>
            <ac:picMk id="535" creationId="{09F66003-59C3-0110-6E39-F518144FCB37}"/>
          </ac:picMkLst>
        </pc:picChg>
        <pc:picChg chg="add del mod ord topLvl">
          <ac:chgData name="Ricardo Omar Hernandez" userId="0bbf43ff-7497-4e18-ba51-e8372d008d2e" providerId="ADAL" clId="{4BDD5470-D571-454E-BC54-C635A312B0DF}" dt="2024-04-19T18:40:48.370" v="29747"/>
          <ac:picMkLst>
            <pc:docMk/>
            <pc:sldMk cId="528512669" sldId="257"/>
            <ac:picMk id="536" creationId="{4E4B98B1-60A8-D8AC-81A3-E54EDA68360F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58:36.013" v="17067"/>
          <ac:picMkLst>
            <pc:docMk/>
            <pc:sldMk cId="528512669" sldId="257"/>
            <ac:picMk id="538" creationId="{B04AB36C-749A-F414-699F-6F2578F7FF55}"/>
          </ac:picMkLst>
        </pc:picChg>
        <pc:picChg chg="add mod ord">
          <ac:chgData name="Ricardo Omar Hernandez" userId="0bbf43ff-7497-4e18-ba51-e8372d008d2e" providerId="ADAL" clId="{4BDD5470-D571-454E-BC54-C635A312B0DF}" dt="2024-04-19T18:40:48.387" v="29751"/>
          <ac:picMkLst>
            <pc:docMk/>
            <pc:sldMk cId="528512669" sldId="257"/>
            <ac:picMk id="540" creationId="{166C163C-FD2D-627B-17E6-1333893E2550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58:39.044" v="17127"/>
          <ac:picMkLst>
            <pc:docMk/>
            <pc:sldMk cId="528512669" sldId="257"/>
            <ac:picMk id="542" creationId="{77034C29-4D25-AAB7-6EEC-94AACA14510A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58:43.361" v="17209"/>
          <ac:picMkLst>
            <pc:docMk/>
            <pc:sldMk cId="528512669" sldId="257"/>
            <ac:picMk id="545" creationId="{30BDEC51-D26F-22C9-32C7-1B06072B78A7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58:54.829" v="17278"/>
          <ac:picMkLst>
            <pc:docMk/>
            <pc:sldMk cId="528512669" sldId="257"/>
            <ac:picMk id="548" creationId="{2F53B000-9B73-189D-426E-C5BD99427362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59:05.252" v="17340"/>
          <ac:picMkLst>
            <pc:docMk/>
            <pc:sldMk cId="528512669" sldId="257"/>
            <ac:picMk id="552" creationId="{B8AA7BC3-68F5-CF59-927E-FA5E32BB39D5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59:12.840" v="17396"/>
          <ac:picMkLst>
            <pc:docMk/>
            <pc:sldMk cId="528512669" sldId="257"/>
            <ac:picMk id="555" creationId="{8967ABD6-5C3D-9B2F-FF3F-8075ED5F438B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59:19.160" v="17452"/>
          <ac:picMkLst>
            <pc:docMk/>
            <pc:sldMk cId="528512669" sldId="257"/>
            <ac:picMk id="558" creationId="{4E178329-F0CF-6C26-53A1-CAE19E731AE4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59:23.215" v="17501"/>
          <ac:picMkLst>
            <pc:docMk/>
            <pc:sldMk cId="528512669" sldId="257"/>
            <ac:picMk id="561" creationId="{4C36667B-9019-468F-87AC-523579583B71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59:31.808" v="17550"/>
          <ac:picMkLst>
            <pc:docMk/>
            <pc:sldMk cId="528512669" sldId="257"/>
            <ac:picMk id="564" creationId="{7DC1A7A1-6EFA-319A-3DAC-F2D526DF852F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59:43.741" v="17610"/>
          <ac:picMkLst>
            <pc:docMk/>
            <pc:sldMk cId="528512669" sldId="257"/>
            <ac:picMk id="567" creationId="{11C69DC5-0456-E914-EE6A-2F4DDC3B876F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59:49.575" v="17672"/>
          <ac:picMkLst>
            <pc:docMk/>
            <pc:sldMk cId="528512669" sldId="257"/>
            <ac:picMk id="570" creationId="{E98BED08-FE57-4CA7-5B81-E33C6BB6CBC4}"/>
          </ac:picMkLst>
        </pc:picChg>
        <pc:picChg chg="add del mod ord topLvl">
          <ac:chgData name="Ricardo Omar Hernandez" userId="0bbf43ff-7497-4e18-ba51-e8372d008d2e" providerId="ADAL" clId="{4BDD5470-D571-454E-BC54-C635A312B0DF}" dt="2024-04-18T20:59:57.562" v="17731"/>
          <ac:picMkLst>
            <pc:docMk/>
            <pc:sldMk cId="528512669" sldId="257"/>
            <ac:picMk id="573" creationId="{CF945026-C72E-33CD-5ACB-4141263AC19B}"/>
          </ac:picMkLst>
        </pc:picChg>
        <pc:picChg chg="add del mod ord topLvl">
          <ac:chgData name="Ricardo Omar Hernandez" userId="0bbf43ff-7497-4e18-ba51-e8372d008d2e" providerId="ADAL" clId="{4BDD5470-D571-454E-BC54-C635A312B0DF}" dt="2024-04-18T21:00:02.995" v="17791"/>
          <ac:picMkLst>
            <pc:docMk/>
            <pc:sldMk cId="528512669" sldId="257"/>
            <ac:picMk id="576" creationId="{851DC379-6C5A-A6EF-6D43-782C99775B18}"/>
          </ac:picMkLst>
        </pc:picChg>
        <pc:picChg chg="add del mod ord topLvl">
          <ac:chgData name="Ricardo Omar Hernandez" userId="0bbf43ff-7497-4e18-ba51-e8372d008d2e" providerId="ADAL" clId="{4BDD5470-D571-454E-BC54-C635A312B0DF}" dt="2024-04-18T21:00:05.257" v="17826"/>
          <ac:picMkLst>
            <pc:docMk/>
            <pc:sldMk cId="528512669" sldId="257"/>
            <ac:picMk id="579" creationId="{73779897-7D9B-4776-450E-151A72C56D5C}"/>
          </ac:picMkLst>
        </pc:picChg>
        <pc:picChg chg="add del mod ord topLvl">
          <ac:chgData name="Ricardo Omar Hernandez" userId="0bbf43ff-7497-4e18-ba51-e8372d008d2e" providerId="ADAL" clId="{4BDD5470-D571-454E-BC54-C635A312B0DF}" dt="2024-04-18T21:00:06.975" v="17861"/>
          <ac:picMkLst>
            <pc:docMk/>
            <pc:sldMk cId="528512669" sldId="257"/>
            <ac:picMk id="582" creationId="{C052106D-CDDE-D2F8-6DB7-CCEBC7077ED4}"/>
          </ac:picMkLst>
        </pc:picChg>
        <pc:picChg chg="add del mod ord topLvl">
          <ac:chgData name="Ricardo Omar Hernandez" userId="0bbf43ff-7497-4e18-ba51-e8372d008d2e" providerId="ADAL" clId="{4BDD5470-D571-454E-BC54-C635A312B0DF}" dt="2024-04-18T21:00:10.553" v="17896"/>
          <ac:picMkLst>
            <pc:docMk/>
            <pc:sldMk cId="528512669" sldId="257"/>
            <ac:picMk id="585" creationId="{10288741-8676-7B3F-2FC1-516BC566A032}"/>
          </ac:picMkLst>
        </pc:picChg>
        <pc:picChg chg="add del mod ord topLvl">
          <ac:chgData name="Ricardo Omar Hernandez" userId="0bbf43ff-7497-4e18-ba51-e8372d008d2e" providerId="ADAL" clId="{4BDD5470-D571-454E-BC54-C635A312B0DF}" dt="2024-04-18T21:00:13.399" v="17931"/>
          <ac:picMkLst>
            <pc:docMk/>
            <pc:sldMk cId="528512669" sldId="257"/>
            <ac:picMk id="588" creationId="{51EA7F26-5344-8EF5-A973-E917D05B3C44}"/>
          </ac:picMkLst>
        </pc:picChg>
        <pc:picChg chg="add del mod ord topLvl">
          <ac:chgData name="Ricardo Omar Hernandez" userId="0bbf43ff-7497-4e18-ba51-e8372d008d2e" providerId="ADAL" clId="{4BDD5470-D571-454E-BC54-C635A312B0DF}" dt="2024-04-18T21:00:14.579" v="17966"/>
          <ac:picMkLst>
            <pc:docMk/>
            <pc:sldMk cId="528512669" sldId="257"/>
            <ac:picMk id="591" creationId="{E14E0021-808D-CC15-AB80-15BF10AEB46D}"/>
          </ac:picMkLst>
        </pc:picChg>
        <pc:picChg chg="add del mod ord topLvl">
          <ac:chgData name="Ricardo Omar Hernandez" userId="0bbf43ff-7497-4e18-ba51-e8372d008d2e" providerId="ADAL" clId="{4BDD5470-D571-454E-BC54-C635A312B0DF}" dt="2024-04-18T21:00:30.222" v="18049"/>
          <ac:picMkLst>
            <pc:docMk/>
            <pc:sldMk cId="528512669" sldId="257"/>
            <ac:picMk id="594" creationId="{40F1E630-44F0-3C12-F61C-0B344A8A7CFB}"/>
          </ac:picMkLst>
        </pc:picChg>
        <pc:picChg chg="add del mod ord topLvl">
          <ac:chgData name="Ricardo Omar Hernandez" userId="0bbf43ff-7497-4e18-ba51-e8372d008d2e" providerId="ADAL" clId="{4BDD5470-D571-454E-BC54-C635A312B0DF}" dt="2024-04-18T21:00:38.631" v="18208"/>
          <ac:picMkLst>
            <pc:docMk/>
            <pc:sldMk cId="528512669" sldId="257"/>
            <ac:picMk id="597" creationId="{C21F1C96-236B-EDA6-A76F-284653F0ECFF}"/>
          </ac:picMkLst>
        </pc:picChg>
        <pc:picChg chg="add del mod ord topLvl">
          <ac:chgData name="Ricardo Omar Hernandez" userId="0bbf43ff-7497-4e18-ba51-e8372d008d2e" providerId="ADAL" clId="{4BDD5470-D571-454E-BC54-C635A312B0DF}" dt="2024-04-18T21:00:43.147" v="18272"/>
          <ac:picMkLst>
            <pc:docMk/>
            <pc:sldMk cId="528512669" sldId="257"/>
            <ac:picMk id="601" creationId="{2797B77F-E0D6-F5A3-99CC-6CAB512EEBFD}"/>
          </ac:picMkLst>
        </pc:picChg>
        <pc:picChg chg="add del mod ord topLvl">
          <ac:chgData name="Ricardo Omar Hernandez" userId="0bbf43ff-7497-4e18-ba51-e8372d008d2e" providerId="ADAL" clId="{4BDD5470-D571-454E-BC54-C635A312B0DF}" dt="2024-04-18T21:00:49.742" v="18355"/>
          <ac:picMkLst>
            <pc:docMk/>
            <pc:sldMk cId="528512669" sldId="257"/>
            <ac:picMk id="604" creationId="{11815305-AE23-F808-776A-52609F8F287D}"/>
          </ac:picMkLst>
        </pc:picChg>
        <pc:picChg chg="add del mod ord topLvl">
          <ac:chgData name="Ricardo Omar Hernandez" userId="0bbf43ff-7497-4e18-ba51-e8372d008d2e" providerId="ADAL" clId="{4BDD5470-D571-454E-BC54-C635A312B0DF}" dt="2024-04-18T21:00:58.981" v="18424"/>
          <ac:picMkLst>
            <pc:docMk/>
            <pc:sldMk cId="528512669" sldId="257"/>
            <ac:picMk id="607" creationId="{02C0452D-0016-1A1A-FE08-EFC677745757}"/>
          </ac:picMkLst>
        </pc:picChg>
        <pc:picChg chg="add del mod ord topLvl">
          <ac:chgData name="Ricardo Omar Hernandez" userId="0bbf43ff-7497-4e18-ba51-e8372d008d2e" providerId="ADAL" clId="{4BDD5470-D571-454E-BC54-C635A312B0DF}" dt="2024-04-18T21:01:05.638" v="18486"/>
          <ac:picMkLst>
            <pc:docMk/>
            <pc:sldMk cId="528512669" sldId="257"/>
            <ac:picMk id="611" creationId="{E8CA525D-AFCB-98C3-B7AB-070932037E13}"/>
          </ac:picMkLst>
        </pc:picChg>
        <pc:picChg chg="add del mod ord topLvl">
          <ac:chgData name="Ricardo Omar Hernandez" userId="0bbf43ff-7497-4e18-ba51-e8372d008d2e" providerId="ADAL" clId="{4BDD5470-D571-454E-BC54-C635A312B0DF}" dt="2024-04-18T21:01:16.802" v="18542"/>
          <ac:picMkLst>
            <pc:docMk/>
            <pc:sldMk cId="528512669" sldId="257"/>
            <ac:picMk id="614" creationId="{77150267-F185-4EE9-4C0E-9CABFBD79BAF}"/>
          </ac:picMkLst>
        </pc:picChg>
        <pc:picChg chg="add del mod ord topLvl">
          <ac:chgData name="Ricardo Omar Hernandez" userId="0bbf43ff-7497-4e18-ba51-e8372d008d2e" providerId="ADAL" clId="{4BDD5470-D571-454E-BC54-C635A312B0DF}" dt="2024-04-18T21:01:20.028" v="18779"/>
          <ac:picMkLst>
            <pc:docMk/>
            <pc:sldMk cId="528512669" sldId="257"/>
            <ac:picMk id="617" creationId="{09CFBDFA-73D8-F7C4-AD4E-30D58E7E29A5}"/>
          </ac:picMkLst>
        </pc:picChg>
        <pc:picChg chg="add del mod ord topLvl">
          <ac:chgData name="Ricardo Omar Hernandez" userId="0bbf43ff-7497-4e18-ba51-e8372d008d2e" providerId="ADAL" clId="{4BDD5470-D571-454E-BC54-C635A312B0DF}" dt="2024-04-18T21:01:36.957" v="18944"/>
          <ac:picMkLst>
            <pc:docMk/>
            <pc:sldMk cId="528512669" sldId="257"/>
            <ac:picMk id="620" creationId="{C84FB30B-4F2B-ADFA-D2AA-DE25EFD7F448}"/>
          </ac:picMkLst>
        </pc:picChg>
        <pc:picChg chg="add del mod ord topLvl">
          <ac:chgData name="Ricardo Omar Hernandez" userId="0bbf43ff-7497-4e18-ba51-e8372d008d2e" providerId="ADAL" clId="{4BDD5470-D571-454E-BC54-C635A312B0DF}" dt="2024-04-19T14:55:28.883" v="19071"/>
          <ac:picMkLst>
            <pc:docMk/>
            <pc:sldMk cId="528512669" sldId="257"/>
            <ac:picMk id="624" creationId="{CD815B8B-58FA-1CD7-6CAE-4CA3AA12ECD6}"/>
          </ac:picMkLst>
        </pc:picChg>
      </pc:sldChg>
      <pc:sldChg chg="delSp modSp new mod">
        <pc:chgData name="Ricardo Omar Hernandez" userId="0bbf43ff-7497-4e18-ba51-e8372d008d2e" providerId="ADAL" clId="{4BDD5470-D571-454E-BC54-C635A312B0DF}" dt="2024-04-19T15:12:13.786" v="25690" actId="14100"/>
        <pc:sldMkLst>
          <pc:docMk/>
          <pc:sldMk cId="759256068" sldId="258"/>
        </pc:sldMkLst>
        <pc:spChg chg="del mod">
          <ac:chgData name="Ricardo Omar Hernandez" userId="0bbf43ff-7497-4e18-ba51-e8372d008d2e" providerId="ADAL" clId="{4BDD5470-D571-454E-BC54-C635A312B0DF}" dt="2024-04-19T15:12:07.903" v="25688" actId="478"/>
          <ac:spMkLst>
            <pc:docMk/>
            <pc:sldMk cId="759256068" sldId="258"/>
            <ac:spMk id="2" creationId="{467D36DA-5CF6-2397-85C6-F45B979233E0}"/>
          </ac:spMkLst>
        </pc:spChg>
        <pc:spChg chg="mod">
          <ac:chgData name="Ricardo Omar Hernandez" userId="0bbf43ff-7497-4e18-ba51-e8372d008d2e" providerId="ADAL" clId="{4BDD5470-D571-454E-BC54-C635A312B0DF}" dt="2024-04-19T15:12:13.786" v="25690" actId="14100"/>
          <ac:spMkLst>
            <pc:docMk/>
            <pc:sldMk cId="759256068" sldId="258"/>
            <ac:spMk id="3" creationId="{91D2B84E-EA02-3211-A6CE-AFC2F03397D2}"/>
          </ac:spMkLst>
        </pc:spChg>
        <pc:spChg chg="mod">
          <ac:chgData name="Ricardo Omar Hernandez" userId="0bbf43ff-7497-4e18-ba51-e8372d008d2e" providerId="ADAL" clId="{4BDD5470-D571-454E-BC54-C635A312B0DF}" dt="2024-04-19T15:11:55.381" v="25685" actId="20577"/>
          <ac:spMkLst>
            <pc:docMk/>
            <pc:sldMk cId="759256068" sldId="258"/>
            <ac:spMk id="4" creationId="{F8F622DE-AB8F-8CA4-1152-3FAC89FB6C9B}"/>
          </ac:spMkLst>
        </pc:spChg>
      </pc:sldChg>
      <pc:sldMasterChg chg="addSp">
        <pc:chgData name="Ricardo Omar Hernandez" userId="0bbf43ff-7497-4e18-ba51-e8372d008d2e" providerId="ADAL" clId="{4BDD5470-D571-454E-BC54-C635A312B0DF}" dt="2024-04-19T15:10:52.901" v="25577"/>
        <pc:sldMasterMkLst>
          <pc:docMk/>
          <pc:sldMasterMk cId="2615911567" sldId="2147483660"/>
        </pc:sldMasterMkLst>
        <pc:spChg chg="add">
          <ac:chgData name="Ricardo Omar Hernandez" userId="0bbf43ff-7497-4e18-ba51-e8372d008d2e" providerId="ADAL" clId="{4BDD5470-D571-454E-BC54-C635A312B0DF}" dt="2024-04-19T15:10:52.901" v="25577"/>
          <ac:spMkLst>
            <pc:docMk/>
            <pc:sldMasterMk cId="2615911567" sldId="2147483660"/>
            <ac:spMk id="8" creationId="{6B7FA756-703A-4383-EBF9-9769BA18CA4F}"/>
          </ac:spMkLst>
        </pc:spChg>
      </pc:sldMasterChg>
      <pc:sldMasterChg chg="addSp">
        <pc:chgData name="Ricardo Omar Hernandez" userId="0bbf43ff-7497-4e18-ba51-e8372d008d2e" providerId="ADAL" clId="{4BDD5470-D571-454E-BC54-C635A312B0DF}" dt="2024-04-19T15:10:55.672" v="25578"/>
        <pc:sldMasterMkLst>
          <pc:docMk/>
          <pc:sldMasterMk cId="3213583238" sldId="2147483681"/>
        </pc:sldMasterMkLst>
        <pc:spChg chg="add">
          <ac:chgData name="Ricardo Omar Hernandez" userId="0bbf43ff-7497-4e18-ba51-e8372d008d2e" providerId="ADAL" clId="{4BDD5470-D571-454E-BC54-C635A312B0DF}" dt="2024-04-19T15:10:55.672" v="25578"/>
          <ac:spMkLst>
            <pc:docMk/>
            <pc:sldMasterMk cId="3213583238" sldId="2147483681"/>
            <ac:spMk id="8" creationId="{0973BCC4-86BC-371F-466B-7128CFCDFCB5}"/>
          </ac:spMkLst>
        </pc:spChg>
      </pc:sldMasterChg>
      <pc:sldMasterChg chg="addSp">
        <pc:chgData name="Ricardo Omar Hernandez" userId="0bbf43ff-7497-4e18-ba51-e8372d008d2e" providerId="ADAL" clId="{4BDD5470-D571-454E-BC54-C635A312B0DF}" dt="2024-04-19T15:10:56.963" v="25579"/>
        <pc:sldMasterMkLst>
          <pc:docMk/>
          <pc:sldMasterMk cId="3993558005" sldId="2147483702"/>
        </pc:sldMasterMkLst>
        <pc:spChg chg="add">
          <ac:chgData name="Ricardo Omar Hernandez" userId="0bbf43ff-7497-4e18-ba51-e8372d008d2e" providerId="ADAL" clId="{4BDD5470-D571-454E-BC54-C635A312B0DF}" dt="2024-04-19T15:10:56.963" v="25579"/>
          <ac:spMkLst>
            <pc:docMk/>
            <pc:sldMasterMk cId="3993558005" sldId="2147483702"/>
            <ac:spMk id="8" creationId="{B9B634DF-3124-206B-6A25-DB381E125ABD}"/>
          </ac:spMkLst>
        </pc:spChg>
      </pc:sldMasterChg>
      <pc:sldMasterChg chg="addSp">
        <pc:chgData name="Ricardo Omar Hernandez" userId="0bbf43ff-7497-4e18-ba51-e8372d008d2e" providerId="ADAL" clId="{4BDD5470-D571-454E-BC54-C635A312B0DF}" dt="2024-04-19T15:11:01.681" v="25580"/>
        <pc:sldMasterMkLst>
          <pc:docMk/>
          <pc:sldMasterMk cId="1693500859" sldId="2147483723"/>
        </pc:sldMasterMkLst>
        <pc:spChg chg="add">
          <ac:chgData name="Ricardo Omar Hernandez" userId="0bbf43ff-7497-4e18-ba51-e8372d008d2e" providerId="ADAL" clId="{4BDD5470-D571-454E-BC54-C635A312B0DF}" dt="2024-04-19T15:11:01.681" v="25580"/>
          <ac:spMkLst>
            <pc:docMk/>
            <pc:sldMasterMk cId="1693500859" sldId="2147483723"/>
            <ac:spMk id="8" creationId="{D21153A8-3412-2960-740E-E69D9C96DD23}"/>
          </ac:spMkLst>
        </pc:spChg>
      </pc:sldMasterChg>
      <pc:sldMasterChg chg="addSp delSldLayout">
        <pc:chgData name="Ricardo Omar Hernandez" userId="0bbf43ff-7497-4e18-ba51-e8372d008d2e" providerId="ADAL" clId="{4BDD5470-D571-454E-BC54-C635A312B0DF}" dt="2024-04-19T15:11:14.150" v="25583" actId="47"/>
        <pc:sldMasterMkLst>
          <pc:docMk/>
          <pc:sldMasterMk cId="3342646435" sldId="2147483744"/>
        </pc:sldMasterMkLst>
        <pc:spChg chg="add">
          <ac:chgData name="Ricardo Omar Hernandez" userId="0bbf43ff-7497-4e18-ba51-e8372d008d2e" providerId="ADAL" clId="{4BDD5470-D571-454E-BC54-C635A312B0DF}" dt="2024-04-19T15:11:04.527" v="25581"/>
          <ac:spMkLst>
            <pc:docMk/>
            <pc:sldMasterMk cId="3342646435" sldId="2147483744"/>
            <ac:spMk id="8" creationId="{08F787DB-C942-0E2D-1CF1-541269A9CA06}"/>
          </ac:spMkLst>
        </pc:spChg>
        <pc:sldLayoutChg chg="del">
          <pc:chgData name="Ricardo Omar Hernandez" userId="0bbf43ff-7497-4e18-ba51-e8372d008d2e" providerId="ADAL" clId="{4BDD5470-D571-454E-BC54-C635A312B0DF}" dt="2024-04-19T15:11:14.150" v="25583" actId="47"/>
          <pc:sldLayoutMkLst>
            <pc:docMk/>
            <pc:sldMasterMk cId="3342646435" sldId="2147483744"/>
            <pc:sldLayoutMk cId="3802482532" sldId="2147483763"/>
          </pc:sldLayoutMkLst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A5EB7CB-9FB1-483C-B493-BE25F73D458F}" type="datetimeFigureOut">
              <a:rPr lang="en-US" smtClean="0"/>
              <a:t>19-Apr-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4E3110-DF92-46A5-989C-C17B772BEB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61561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14E3110-DF92-46A5-989C-C17B772BEB25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67015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7" Type="http://schemas.openxmlformats.org/officeDocument/2006/relationships/image" Target="../media/image6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45A2FEF8-95DF-4328-850D-3F7840A62554}"/>
              </a:ext>
            </a:extLst>
          </p:cNvPr>
          <p:cNvSpPr/>
          <p:nvPr/>
        </p:nvSpPr>
        <p:spPr bwMode="gray">
          <a:xfrm>
            <a:off x="4075990" y="0"/>
            <a:ext cx="8116010" cy="68580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458" y="1732422"/>
            <a:ext cx="3621023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ED9F0C85-04CF-4A96-A9D8-9A9D4D010BF8}" type="datetimeFigureOut">
              <a:rPr lang="en-US" smtClean="0"/>
              <a:t>19-Apr-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7A5DF156-0738-4A77-A522-2B2AF5CECD9D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653" y="2424948"/>
            <a:ext cx="3620828" cy="1440000"/>
          </a:xfrm>
        </p:spPr>
        <p:txBody>
          <a:bodyPr anchor="t"/>
          <a:lstStyle>
            <a:lvl1pPr>
              <a:defRPr sz="3200" i="1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862" y="4041068"/>
            <a:ext cx="480895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582" y="4262151"/>
            <a:ext cx="291589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701767" y="704850"/>
            <a:ext cx="720094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13F626E8-4D4D-4477-BEF3-9372D1A5AD5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4113408" y="0"/>
            <a:ext cx="8080975" cy="6858000"/>
          </a:xfrm>
          <a:custGeom>
            <a:avLst/>
            <a:gdLst>
              <a:gd name="connsiteX0" fmla="*/ 1331361 w 8079923"/>
              <a:gd name="connsiteY0" fmla="*/ 0 h 6858000"/>
              <a:gd name="connsiteX1" fmla="*/ 8077543 w 8079923"/>
              <a:gd name="connsiteY1" fmla="*/ 0 h 6858000"/>
              <a:gd name="connsiteX2" fmla="*/ 8079923 w 8079923"/>
              <a:gd name="connsiteY2" fmla="*/ 6003673 h 6858000"/>
              <a:gd name="connsiteX3" fmla="*/ 3240429 w 8079923"/>
              <a:gd name="connsiteY3" fmla="*/ 6858000 h 6858000"/>
              <a:gd name="connsiteX4" fmla="*/ 0 w 8079923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79923" h="6858000">
                <a:moveTo>
                  <a:pt x="1331361" y="0"/>
                </a:moveTo>
                <a:lnTo>
                  <a:pt x="8077543" y="0"/>
                </a:lnTo>
                <a:cubicBezTo>
                  <a:pt x="8077543" y="1913118"/>
                  <a:pt x="8079923" y="4090555"/>
                  <a:pt x="8079923" y="6003673"/>
                </a:cubicBezTo>
                <a:lnTo>
                  <a:pt x="3240429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12" name="Logoschutz" hidden="1">
            <a:extLst>
              <a:ext uri="{FF2B5EF4-FFF2-40B4-BE49-F238E27FC236}">
                <a16:creationId xmlns:a16="http://schemas.microsoft.com/office/drawing/2014/main" id="{C9A9C5E1-5EC5-4E10-A801-6F56DB71E6CD}"/>
              </a:ext>
            </a:extLst>
          </p:cNvPr>
          <p:cNvSpPr/>
          <p:nvPr>
            <p:custDataLst>
              <p:tags r:id="rId1"/>
            </p:custDataLst>
          </p:nvPr>
        </p:nvSpPr>
        <p:spPr bwMode="gray">
          <a:xfrm>
            <a:off x="521900" y="524850"/>
            <a:ext cx="1080141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8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1196700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a14="http://schemas.microsoft.com/office/drawing/2010/main" xmlns:a16="http://schemas.microsoft.com/office/drawing/2014/main"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2) &amp; Image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948" y="1138299"/>
            <a:ext cx="10799867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ED9F0C85-04CF-4A96-A9D8-9A9D4D010BF8}" type="datetimeFigureOut">
              <a:rPr lang="en-US" smtClean="0"/>
              <a:t>19-Apr-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A5DF156-0738-4A77-A522-2B2AF5CECD9D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10 (left)"/>
          <p:cNvSpPr>
            <a:spLocks noGrp="1"/>
          </p:cNvSpPr>
          <p:nvPr>
            <p:ph type="body" sz="quarter" idx="14"/>
          </p:nvPr>
        </p:nvSpPr>
        <p:spPr bwMode="gray">
          <a:xfrm>
            <a:off x="981948" y="3892750"/>
            <a:ext cx="5220680" cy="25920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0 (right)"/>
          <p:cNvSpPr>
            <a:spLocks noGrp="1"/>
          </p:cNvSpPr>
          <p:nvPr>
            <p:ph type="body" sz="quarter" idx="15"/>
          </p:nvPr>
        </p:nvSpPr>
        <p:spPr bwMode="gray">
          <a:xfrm>
            <a:off x="6560573" y="3892750"/>
            <a:ext cx="5220680" cy="259200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Picture Placeholder 14 (left)"/>
          <p:cNvSpPr>
            <a:spLocks noGrp="1"/>
          </p:cNvSpPr>
          <p:nvPr>
            <p:ph type="pic" sz="quarter" idx="16"/>
          </p:nvPr>
        </p:nvSpPr>
        <p:spPr bwMode="gray">
          <a:xfrm>
            <a:off x="981948" y="1732750"/>
            <a:ext cx="5220680" cy="1800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14 (right)"/>
          <p:cNvSpPr>
            <a:spLocks noGrp="1"/>
          </p:cNvSpPr>
          <p:nvPr>
            <p:ph type="pic" sz="quarter" idx="17"/>
          </p:nvPr>
        </p:nvSpPr>
        <p:spPr bwMode="gray">
          <a:xfrm>
            <a:off x="6560573" y="1732750"/>
            <a:ext cx="5220680" cy="1800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30" y="617155"/>
            <a:ext cx="399652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Logoschutz" hidden="1"/>
          <p:cNvSpPr/>
          <p:nvPr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574212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908">
          <p15:clr>
            <a:srgbClr val="FBAE40"/>
          </p15:clr>
        </p15:guide>
        <p15:guide id="2" pos="4134">
          <p15:clr>
            <a:srgbClr val="FBAE40"/>
          </p15:clr>
        </p15:guide>
        <p15:guide id="3" orient="horz" pos="2228">
          <p15:clr>
            <a:srgbClr val="FBAE40"/>
          </p15:clr>
        </p15:guide>
        <p15:guide id="4" orient="horz" pos="2455">
          <p15:clr>
            <a:srgbClr val="FBAE40"/>
          </p15:clr>
        </p15:guide>
        <p15:guide id="5" pos="619">
          <p15:clr>
            <a:srgbClr val="FBAE40"/>
          </p15:clr>
        </p15:guide>
        <p15:guide id="6" pos="7423">
          <p15:clr>
            <a:srgbClr val="FBAE40"/>
          </p15:clr>
        </p15:guide>
        <p15:guide id="7" orient="horz" pos="1094">
          <p15:clr>
            <a:srgbClr val="FBAE40"/>
          </p15:clr>
        </p15:guide>
        <p15:guide id="8" orient="horz" pos="4085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(colo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948" y="1138299"/>
            <a:ext cx="10799867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981949" y="181938"/>
            <a:ext cx="10799866" cy="86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ED9F0C85-04CF-4A96-A9D8-9A9D4D010BF8}" type="datetimeFigureOut">
              <a:rPr lang="en-US" smtClean="0"/>
              <a:t>19-Apr-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A5DF156-0738-4A77-A522-2B2AF5CECD9D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30" y="617155"/>
            <a:ext cx="399652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Logoschutz" hidden="1"/>
          <p:cNvSpPr/>
          <p:nvPr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4346045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4086">
          <p15:clr>
            <a:srgbClr val="FBAE40"/>
          </p15:clr>
        </p15:guide>
        <p15:guide id="4" orient="horz" pos="1094">
          <p15:clr>
            <a:srgbClr val="FBAE40"/>
          </p15:clr>
        </p15:guide>
        <p15:guide id="5" pos="2150">
          <p15:clr>
            <a:srgbClr val="FBAE40"/>
          </p15:clr>
        </p15:guide>
        <p15:guide id="6" pos="2376">
          <p15:clr>
            <a:srgbClr val="FBAE40"/>
          </p15:clr>
        </p15:guide>
        <p15:guide id="7" pos="3908">
          <p15:clr>
            <a:srgbClr val="FBAE40"/>
          </p15:clr>
        </p15:guide>
        <p15:guide id="8" pos="4021">
          <p15:clr>
            <a:srgbClr val="FBAE40"/>
          </p15:clr>
        </p15:guide>
        <p15:guide id="9" pos="4134">
          <p15:clr>
            <a:srgbClr val="FBAE40"/>
          </p15:clr>
        </p15:guide>
        <p15:guide id="10" pos="5667">
          <p15:clr>
            <a:srgbClr val="FBAE40"/>
          </p15:clr>
        </p15:guide>
        <p15:guide id="11" pos="5894">
          <p15:clr>
            <a:srgbClr val="FBAE40"/>
          </p15:clr>
        </p15:guide>
        <p15:guide id="13" orient="horz" pos="2704">
          <p15:clr>
            <a:srgbClr val="FBAE40"/>
          </p15:clr>
        </p15:guide>
        <p15:guide id="14" orient="horz" pos="2591">
          <p15:clr>
            <a:srgbClr val="FBAE40"/>
          </p15:clr>
        </p15:guide>
        <p15:guide id="15" orient="horz" pos="2478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(color/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invGray">
          <a:xfrm>
            <a:off x="981949" y="1138299"/>
            <a:ext cx="10799866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</a:defRPr>
            </a:lvl2pPr>
            <a:lvl3pPr marL="0" indent="0" algn="l">
              <a:buNone/>
              <a:defRPr sz="1800">
                <a:solidFill>
                  <a:schemeClr val="bg1"/>
                </a:solidFill>
              </a:defRPr>
            </a:lvl3pPr>
            <a:lvl4pPr marL="0" indent="0" algn="l">
              <a:buNone/>
              <a:defRPr sz="1800">
                <a:solidFill>
                  <a:schemeClr val="bg1"/>
                </a:solidFill>
              </a:defRPr>
            </a:lvl4pPr>
            <a:lvl5pPr marL="0" indent="0" algn="l">
              <a:buNone/>
              <a:defRPr sz="1800">
                <a:solidFill>
                  <a:schemeClr val="bg1"/>
                </a:solidFill>
              </a:defRPr>
            </a:lvl5pPr>
            <a:lvl6pPr marL="0" indent="0" algn="l">
              <a:buNone/>
              <a:defRPr sz="1800">
                <a:solidFill>
                  <a:schemeClr val="bg1"/>
                </a:solidFill>
              </a:defRPr>
            </a:lvl6pPr>
            <a:lvl7pPr marL="0" indent="0" algn="l">
              <a:buNone/>
              <a:defRPr sz="1800">
                <a:solidFill>
                  <a:schemeClr val="bg1"/>
                </a:solidFill>
              </a:defRPr>
            </a:lvl7pPr>
            <a:lvl8pPr marL="0" indent="0" algn="l">
              <a:buNone/>
              <a:defRPr sz="1800">
                <a:solidFill>
                  <a:schemeClr val="bg1"/>
                </a:solidFill>
              </a:defRPr>
            </a:lvl8pPr>
            <a:lvl9pPr marL="0" indent="0" algn="l">
              <a:buNone/>
              <a:defRPr sz="1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invGray"/>
        <p:txBody>
          <a:bodyPr/>
          <a:lstStyle/>
          <a:p>
            <a:fld id="{ED9F0C85-04CF-4A96-A9D8-9A9D4D010BF8}" type="datetimeFigureOut">
              <a:rPr lang="en-US" smtClean="0"/>
              <a:t>19-Apr-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7A5DF156-0738-4A77-A522-2B2AF5CECD9D}" type="slidenum">
              <a:rPr lang="en-US" smtClean="0"/>
              <a:t>‹#›</a:t>
            </a:fld>
            <a:endParaRPr lang="en-US"/>
          </a:p>
        </p:txBody>
      </p:sp>
      <p:pic>
        <p:nvPicPr>
          <p:cNvPr id="2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196044" y="617155"/>
            <a:ext cx="399652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613944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1094">
          <p15:clr>
            <a:srgbClr val="FBAE40"/>
          </p15:clr>
        </p15:guide>
        <p15:guide id="4" orient="horz" pos="2704">
          <p15:clr>
            <a:srgbClr val="FBAE40"/>
          </p15:clr>
        </p15:guide>
        <p15:guide id="5" orient="horz" pos="2478">
          <p15:clr>
            <a:srgbClr val="FBAE40"/>
          </p15:clr>
        </p15:guide>
        <p15:guide id="6" orient="horz" pos="4086">
          <p15:clr>
            <a:srgbClr val="FBAE40"/>
          </p15:clr>
        </p15:guide>
        <p15:guide id="7" orient="horz" pos="2591">
          <p15:clr>
            <a:srgbClr val="FBAE40"/>
          </p15:clr>
        </p15:guide>
        <p15:guide id="8" pos="2150">
          <p15:clr>
            <a:srgbClr val="FBAE40"/>
          </p15:clr>
        </p15:guide>
        <p15:guide id="9" pos="2376">
          <p15:clr>
            <a:srgbClr val="FBAE40"/>
          </p15:clr>
        </p15:guide>
        <p15:guide id="10" pos="3908">
          <p15:clr>
            <a:srgbClr val="FBAE40"/>
          </p15:clr>
        </p15:guide>
        <p15:guide id="11" pos="4021">
          <p15:clr>
            <a:srgbClr val="FBAE40"/>
          </p15:clr>
        </p15:guide>
        <p15:guide id="12" pos="4134">
          <p15:clr>
            <a:srgbClr val="FBAE40"/>
          </p15:clr>
        </p15:guide>
        <p15:guide id="13" pos="5667">
          <p15:clr>
            <a:srgbClr val="FBAE40"/>
          </p15:clr>
        </p15:guide>
        <p15:guide id="14" pos="5894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invGray">
          <a:xfrm>
            <a:off x="981949" y="1138299"/>
            <a:ext cx="10799866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</a:defRPr>
            </a:lvl2pPr>
            <a:lvl3pPr marL="0" indent="0" algn="l">
              <a:buNone/>
              <a:defRPr sz="1800">
                <a:solidFill>
                  <a:schemeClr val="bg1"/>
                </a:solidFill>
              </a:defRPr>
            </a:lvl3pPr>
            <a:lvl4pPr marL="0" indent="0" algn="l">
              <a:buNone/>
              <a:defRPr sz="1800">
                <a:solidFill>
                  <a:schemeClr val="bg1"/>
                </a:solidFill>
              </a:defRPr>
            </a:lvl4pPr>
            <a:lvl5pPr marL="0" indent="0" algn="l">
              <a:buNone/>
              <a:defRPr sz="1800">
                <a:solidFill>
                  <a:schemeClr val="bg1"/>
                </a:solidFill>
              </a:defRPr>
            </a:lvl5pPr>
            <a:lvl6pPr marL="0" indent="0" algn="l">
              <a:buNone/>
              <a:defRPr sz="1800">
                <a:solidFill>
                  <a:schemeClr val="bg1"/>
                </a:solidFill>
              </a:defRPr>
            </a:lvl6pPr>
            <a:lvl7pPr marL="0" indent="0" algn="l">
              <a:buNone/>
              <a:defRPr sz="1800">
                <a:solidFill>
                  <a:schemeClr val="bg1"/>
                </a:solidFill>
              </a:defRPr>
            </a:lvl7pPr>
            <a:lvl8pPr marL="0" indent="0" algn="l">
              <a:buNone/>
              <a:defRPr sz="1800">
                <a:solidFill>
                  <a:schemeClr val="bg1"/>
                </a:solidFill>
              </a:defRPr>
            </a:lvl8pPr>
            <a:lvl9pPr marL="0" indent="0" algn="l">
              <a:buNone/>
              <a:defRPr sz="1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invGray"/>
        <p:txBody>
          <a:bodyPr/>
          <a:lstStyle/>
          <a:p>
            <a:fld id="{ED9F0C85-04CF-4A96-A9D8-9A9D4D010BF8}" type="datetimeFigureOut">
              <a:rPr lang="en-US" smtClean="0"/>
              <a:t>19-Apr-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7A5DF156-0738-4A77-A522-2B2AF5CECD9D}" type="slidenum">
              <a:rPr lang="en-US" smtClean="0"/>
              <a:t>‹#›</a:t>
            </a:fld>
            <a:endParaRPr lang="en-US"/>
          </a:p>
        </p:txBody>
      </p:sp>
      <p:pic>
        <p:nvPicPr>
          <p:cNvPr id="2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197726" y="617699"/>
            <a:ext cx="395299" cy="395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33890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1094">
          <p15:clr>
            <a:srgbClr val="FBAE40"/>
          </p15:clr>
        </p15:guide>
        <p15:guide id="4" orient="horz" pos="2478">
          <p15:clr>
            <a:srgbClr val="FBAE40"/>
          </p15:clr>
        </p15:guide>
        <p15:guide id="5" orient="horz" pos="2591">
          <p15:clr>
            <a:srgbClr val="FBAE40"/>
          </p15:clr>
        </p15:guide>
        <p15:guide id="6" orient="horz" pos="2704">
          <p15:clr>
            <a:srgbClr val="FBAE40"/>
          </p15:clr>
        </p15:guide>
        <p15:guide id="7" orient="horz" pos="4085">
          <p15:clr>
            <a:srgbClr val="FBAE40"/>
          </p15:clr>
        </p15:guide>
        <p15:guide id="8" pos="2150">
          <p15:clr>
            <a:srgbClr val="FBAE40"/>
          </p15:clr>
        </p15:guide>
        <p15:guide id="9" pos="2376">
          <p15:clr>
            <a:srgbClr val="FBAE40"/>
          </p15:clr>
        </p15:guide>
        <p15:guide id="10" pos="3908">
          <p15:clr>
            <a:srgbClr val="FBAE40"/>
          </p15:clr>
        </p15:guide>
        <p15:guide id="11" pos="4021">
          <p15:clr>
            <a:srgbClr val="FBAE40"/>
          </p15:clr>
        </p15:guide>
        <p15:guide id="12" pos="4134">
          <p15:clr>
            <a:srgbClr val="FBAE40"/>
          </p15:clr>
        </p15:guide>
        <p15:guide id="14" pos="5667">
          <p15:clr>
            <a:srgbClr val="FBAE40"/>
          </p15:clr>
        </p15:guide>
        <p15:guide id="15" pos="5894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980410" y="1052513"/>
            <a:ext cx="10801406" cy="5432237"/>
          </a:xfrm>
        </p:spPr>
        <p:txBody>
          <a:bodyPr bIns="0" anchor="ctr"/>
          <a:lstStyle>
            <a:lvl1pPr marL="0" indent="0" algn="l">
              <a:buNone/>
              <a:defRPr sz="6600">
                <a:solidFill>
                  <a:schemeClr val="tx2"/>
                </a:solidFill>
              </a:defRPr>
            </a:lvl1pPr>
            <a:lvl2pPr marL="0" indent="0" algn="l">
              <a:buNone/>
              <a:defRPr sz="6600">
                <a:solidFill>
                  <a:schemeClr val="tx2"/>
                </a:solidFill>
              </a:defRPr>
            </a:lvl2pPr>
            <a:lvl3pPr marL="0" indent="0" algn="l">
              <a:buNone/>
              <a:defRPr sz="6600">
                <a:solidFill>
                  <a:schemeClr val="tx2"/>
                </a:solidFill>
              </a:defRPr>
            </a:lvl3pPr>
            <a:lvl4pPr marL="0" indent="0" algn="l">
              <a:buNone/>
              <a:defRPr sz="6600">
                <a:solidFill>
                  <a:schemeClr val="tx2"/>
                </a:solidFill>
              </a:defRPr>
            </a:lvl4pPr>
            <a:lvl5pPr marL="0" indent="0" algn="l">
              <a:buNone/>
              <a:defRPr sz="6600">
                <a:solidFill>
                  <a:schemeClr val="tx2"/>
                </a:solidFill>
              </a:defRPr>
            </a:lvl5pPr>
            <a:lvl6pPr marL="0" indent="0" algn="l">
              <a:buNone/>
              <a:defRPr sz="6600">
                <a:solidFill>
                  <a:schemeClr val="tx2"/>
                </a:solidFill>
              </a:defRPr>
            </a:lvl6pPr>
            <a:lvl7pPr marL="0" indent="0" algn="l">
              <a:buNone/>
              <a:defRPr sz="6600">
                <a:solidFill>
                  <a:schemeClr val="tx2"/>
                </a:solidFill>
              </a:defRPr>
            </a:lvl7pPr>
            <a:lvl8pPr marL="0" indent="0" algn="l">
              <a:buNone/>
              <a:defRPr sz="6600">
                <a:solidFill>
                  <a:schemeClr val="tx2"/>
                </a:solidFill>
              </a:defRPr>
            </a:lvl8pPr>
            <a:lvl9pPr marL="0" indent="0" algn="l">
              <a:buNone/>
              <a:defRPr sz="66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ED9F0C85-04CF-4A96-A9D8-9A9D4D010BF8}" type="datetimeFigureOut">
              <a:rPr lang="en-US" smtClean="0"/>
              <a:t>19-Apr-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A5DF156-0738-4A77-A522-2B2AF5CECD9D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30" y="617155"/>
            <a:ext cx="399652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Logoschutz" hidden="1"/>
          <p:cNvSpPr/>
          <p:nvPr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2347546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663">
          <p15:clr>
            <a:srgbClr val="FBAE40"/>
          </p15:clr>
        </p15:guide>
        <p15:guide id="4" orient="horz" pos="4085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ED9F0C85-04CF-4A96-A9D8-9A9D4D010BF8}" type="datetimeFigureOut">
              <a:rPr lang="en-US" smtClean="0"/>
              <a:t>19-Apr-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7A5DF156-0738-4A77-A522-2B2AF5CECD9D}" type="slidenum">
              <a:rPr lang="en-US" smtClean="0"/>
              <a:t>‹#›</a:t>
            </a:fld>
            <a:endParaRPr lang="en-US"/>
          </a:p>
        </p:txBody>
      </p:sp>
      <p:sp>
        <p:nvSpPr>
          <p:cNvPr id="6" name="Picture Placeholder 14"/>
          <p:cNvSpPr>
            <a:spLocks noGrp="1"/>
          </p:cNvSpPr>
          <p:nvPr>
            <p:ph type="pic" sz="quarter" idx="16"/>
          </p:nvPr>
        </p:nvSpPr>
        <p:spPr bwMode="gray">
          <a:xfrm>
            <a:off x="1" y="0"/>
            <a:ext cx="12192000" cy="6858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1233169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 bwMode="gray">
          <a:xfrm flipV="1">
            <a:off x="1" y="0"/>
            <a:ext cx="8199194" cy="6877050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32760">
                <a:srgbClr val="00617F"/>
              </a:gs>
              <a:gs pos="0">
                <a:srgbClr val="00617F"/>
              </a:gs>
              <a:gs pos="72000">
                <a:srgbClr val="10384F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708911" y="1732422"/>
            <a:ext cx="5382199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ED9F0C85-04CF-4A96-A9D8-9A9D4D010BF8}" type="datetimeFigureOut">
              <a:rPr lang="en-US" smtClean="0"/>
              <a:t>19-Apr-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7A5DF156-0738-4A77-A522-2B2AF5CECD9D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708911" y="2424948"/>
            <a:ext cx="5382199" cy="1620000"/>
          </a:xfrm>
        </p:spPr>
        <p:txBody>
          <a:bodyPr anchor="t"/>
          <a:lstStyle>
            <a:lvl1pPr>
              <a:defRPr sz="5400" i="1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378862" y="4041068"/>
            <a:ext cx="480895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white">
          <a:xfrm>
            <a:off x="1414582" y="4262151"/>
            <a:ext cx="360046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6096716" y="0"/>
            <a:ext cx="6095285" cy="68580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01767" y="704850"/>
            <a:ext cx="720094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gray">
          <a:xfrm>
            <a:off x="5111999" y="0"/>
            <a:ext cx="2939247" cy="6877050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/>
          </a:p>
        </p:txBody>
      </p:sp>
      <p:sp>
        <p:nvSpPr>
          <p:cNvPr id="13" name="Logoschutz" hidden="1"/>
          <p:cNvSpPr/>
          <p:nvPr>
            <p:custDataLst>
              <p:tags r:id="rId1"/>
            </p:custDataLst>
          </p:nvPr>
        </p:nvSpPr>
        <p:spPr bwMode="gray">
          <a:xfrm>
            <a:off x="521900" y="524850"/>
            <a:ext cx="1080141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8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429215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 bwMode="gray">
          <a:xfrm flipV="1">
            <a:off x="1" y="0"/>
            <a:ext cx="8199194" cy="6877050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28000">
                <a:srgbClr val="2B6636"/>
              </a:gs>
              <a:gs pos="0">
                <a:srgbClr val="2B6636"/>
              </a:gs>
              <a:gs pos="72000">
                <a:srgbClr val="004422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708913" y="1732758"/>
            <a:ext cx="5382197" cy="592617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ED9F0C85-04CF-4A96-A9D8-9A9D4D010BF8}" type="datetimeFigureOut">
              <a:rPr lang="en-US" smtClean="0"/>
              <a:t>19-Apr-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7A5DF156-0738-4A77-A522-2B2AF5CECD9D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708912" y="2424948"/>
            <a:ext cx="5382199" cy="1620000"/>
          </a:xfrm>
        </p:spPr>
        <p:txBody>
          <a:bodyPr anchor="t"/>
          <a:lstStyle>
            <a:lvl1pPr>
              <a:defRPr sz="5400" i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378862" y="4041068"/>
            <a:ext cx="480895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white">
          <a:xfrm>
            <a:off x="1414582" y="4262151"/>
            <a:ext cx="360046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6096716" y="0"/>
            <a:ext cx="6095285" cy="68580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01767" y="704850"/>
            <a:ext cx="720094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gray">
          <a:xfrm>
            <a:off x="5111999" y="0"/>
            <a:ext cx="2939247" cy="6877050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/>
          </a:p>
        </p:txBody>
      </p:sp>
      <p:sp>
        <p:nvSpPr>
          <p:cNvPr id="13" name="Logoschutz" hidden="1"/>
          <p:cNvSpPr/>
          <p:nvPr>
            <p:custDataLst>
              <p:tags r:id="rId1"/>
            </p:custDataLst>
          </p:nvPr>
        </p:nvSpPr>
        <p:spPr bwMode="gray">
          <a:xfrm>
            <a:off x="521900" y="524850"/>
            <a:ext cx="1080141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8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4316452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 bwMode="gray">
          <a:xfrm flipV="1">
            <a:off x="1" y="0"/>
            <a:ext cx="8199194" cy="6877050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28000">
                <a:srgbClr val="624963"/>
              </a:gs>
              <a:gs pos="0">
                <a:srgbClr val="624963"/>
              </a:gs>
              <a:gs pos="72000">
                <a:srgbClr val="443247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708912" y="1732758"/>
            <a:ext cx="5382197" cy="592617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ED9F0C85-04CF-4A96-A9D8-9A9D4D010BF8}" type="datetimeFigureOut">
              <a:rPr lang="en-US" smtClean="0"/>
              <a:t>19-Apr-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7A5DF156-0738-4A77-A522-2B2AF5CECD9D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708912" y="2424948"/>
            <a:ext cx="5382199" cy="1620000"/>
          </a:xfrm>
        </p:spPr>
        <p:txBody>
          <a:bodyPr anchor="t"/>
          <a:lstStyle>
            <a:lvl1pPr>
              <a:defRPr sz="5400" i="1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378862" y="4041068"/>
            <a:ext cx="480895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white">
          <a:xfrm>
            <a:off x="1414582" y="4262151"/>
            <a:ext cx="360046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6096716" y="0"/>
            <a:ext cx="6095285" cy="68580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01767" y="704850"/>
            <a:ext cx="720094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gray">
          <a:xfrm>
            <a:off x="5111999" y="0"/>
            <a:ext cx="2939247" cy="6877050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/>
          </a:p>
        </p:txBody>
      </p:sp>
      <p:sp>
        <p:nvSpPr>
          <p:cNvPr id="13" name="Logoschutz" hidden="1"/>
          <p:cNvSpPr/>
          <p:nvPr>
            <p:custDataLst>
              <p:tags r:id="rId1"/>
            </p:custDataLst>
          </p:nvPr>
        </p:nvSpPr>
        <p:spPr bwMode="gray">
          <a:xfrm>
            <a:off x="521900" y="524850"/>
            <a:ext cx="1080141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8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567725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7F16E5-4646-306A-2411-5E473E3590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F64E44C-F78F-F630-CB1F-3F465EE469B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67DC69E-90B2-4685-2542-963462EFA2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9F0C85-04CF-4A96-A9D8-9A9D4D010BF8}" type="datetimeFigureOut">
              <a:rPr lang="en-US" smtClean="0"/>
              <a:t>19-Apr-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E09FA68-4C1B-1654-0A6E-73D290C674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A35B8E2-D0EF-8C6A-0EB3-557C9E28A0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5DF156-0738-4A77-A522-2B2AF5CECD9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500355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458" y="1732422"/>
            <a:ext cx="3621023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ED9F0C85-04CF-4A96-A9D8-9A9D4D010BF8}" type="datetimeFigureOut">
              <a:rPr lang="en-US" smtClean="0"/>
              <a:t>19-Apr-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7A5DF156-0738-4A77-A522-2B2AF5CECD9D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653" y="2424948"/>
            <a:ext cx="3620828" cy="1440000"/>
          </a:xfrm>
        </p:spPr>
        <p:txBody>
          <a:bodyPr anchor="t"/>
          <a:lstStyle>
            <a:lvl1pPr>
              <a:defRPr sz="3200" i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862" y="4041068"/>
            <a:ext cx="480895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582" y="4262151"/>
            <a:ext cx="291589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701767" y="704850"/>
            <a:ext cx="720094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8C0614FA-2289-4D50-861D-D1CE2042502D}"/>
              </a:ext>
            </a:extLst>
          </p:cNvPr>
          <p:cNvSpPr/>
          <p:nvPr/>
        </p:nvSpPr>
        <p:spPr bwMode="gray">
          <a:xfrm>
            <a:off x="4075990" y="0"/>
            <a:ext cx="8116010" cy="68580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2CD53346-3B88-4ECD-BC3C-B158CECCD4F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4113408" y="0"/>
            <a:ext cx="8080975" cy="6858000"/>
          </a:xfrm>
          <a:custGeom>
            <a:avLst/>
            <a:gdLst>
              <a:gd name="connsiteX0" fmla="*/ 1331361 w 8079923"/>
              <a:gd name="connsiteY0" fmla="*/ 0 h 6858000"/>
              <a:gd name="connsiteX1" fmla="*/ 8077543 w 8079923"/>
              <a:gd name="connsiteY1" fmla="*/ 0 h 6858000"/>
              <a:gd name="connsiteX2" fmla="*/ 8079923 w 8079923"/>
              <a:gd name="connsiteY2" fmla="*/ 6003673 h 6858000"/>
              <a:gd name="connsiteX3" fmla="*/ 3240429 w 8079923"/>
              <a:gd name="connsiteY3" fmla="*/ 6858000 h 6858000"/>
              <a:gd name="connsiteX4" fmla="*/ 0 w 8079923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79923" h="6858000">
                <a:moveTo>
                  <a:pt x="1331361" y="0"/>
                </a:moveTo>
                <a:lnTo>
                  <a:pt x="8077543" y="0"/>
                </a:lnTo>
                <a:cubicBezTo>
                  <a:pt x="8077543" y="1913118"/>
                  <a:pt x="8079923" y="4090555"/>
                  <a:pt x="8079923" y="6003673"/>
                </a:cubicBezTo>
                <a:lnTo>
                  <a:pt x="3240429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13" name="Logoschutz" hidden="1">
            <a:extLst>
              <a:ext uri="{FF2B5EF4-FFF2-40B4-BE49-F238E27FC236}">
                <a16:creationId xmlns:a16="http://schemas.microsoft.com/office/drawing/2014/main" id="{2FE56050-78D4-446C-87C6-B9C42DDC4070}"/>
              </a:ext>
            </a:extLst>
          </p:cNvPr>
          <p:cNvSpPr/>
          <p:nvPr>
            <p:custDataLst>
              <p:tags r:id="rId1"/>
            </p:custDataLst>
          </p:nvPr>
        </p:nvSpPr>
        <p:spPr bwMode="gray">
          <a:xfrm>
            <a:off x="521900" y="524850"/>
            <a:ext cx="1080141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8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9303009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 3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58331062-53AF-412B-A235-6DCBA819F08B}"/>
              </a:ext>
            </a:extLst>
          </p:cNvPr>
          <p:cNvSpPr/>
          <p:nvPr/>
        </p:nvSpPr>
        <p:spPr bwMode="gray">
          <a:xfrm>
            <a:off x="4075990" y="0"/>
            <a:ext cx="8116010" cy="68580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458" y="1732422"/>
            <a:ext cx="3621023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ED9F0C85-04CF-4A96-A9D8-9A9D4D010BF8}" type="datetimeFigureOut">
              <a:rPr lang="en-US" smtClean="0"/>
              <a:t>19-Apr-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7A5DF156-0738-4A77-A522-2B2AF5CECD9D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653" y="2424948"/>
            <a:ext cx="3620828" cy="1440000"/>
          </a:xfrm>
        </p:spPr>
        <p:txBody>
          <a:bodyPr anchor="t"/>
          <a:lstStyle>
            <a:lvl1pPr>
              <a:defRPr sz="3200" i="1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862" y="4041068"/>
            <a:ext cx="480895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582" y="4262151"/>
            <a:ext cx="291589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701767" y="704850"/>
            <a:ext cx="720094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4F895202-4A4D-43A2-B3BF-4253EA64031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4113408" y="0"/>
            <a:ext cx="8080975" cy="6858000"/>
          </a:xfrm>
          <a:custGeom>
            <a:avLst/>
            <a:gdLst>
              <a:gd name="connsiteX0" fmla="*/ 1331361 w 8079923"/>
              <a:gd name="connsiteY0" fmla="*/ 0 h 6858000"/>
              <a:gd name="connsiteX1" fmla="*/ 8077543 w 8079923"/>
              <a:gd name="connsiteY1" fmla="*/ 0 h 6858000"/>
              <a:gd name="connsiteX2" fmla="*/ 8079923 w 8079923"/>
              <a:gd name="connsiteY2" fmla="*/ 6003673 h 6858000"/>
              <a:gd name="connsiteX3" fmla="*/ 3240429 w 8079923"/>
              <a:gd name="connsiteY3" fmla="*/ 6858000 h 6858000"/>
              <a:gd name="connsiteX4" fmla="*/ 0 w 8079923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79923" h="6858000">
                <a:moveTo>
                  <a:pt x="1331361" y="0"/>
                </a:moveTo>
                <a:lnTo>
                  <a:pt x="8077543" y="0"/>
                </a:lnTo>
                <a:cubicBezTo>
                  <a:pt x="8077543" y="1913118"/>
                  <a:pt x="8079923" y="4090555"/>
                  <a:pt x="8079923" y="6003673"/>
                </a:cubicBezTo>
                <a:lnTo>
                  <a:pt x="3240429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13" name="Logoschutz" hidden="1">
            <a:extLst>
              <a:ext uri="{FF2B5EF4-FFF2-40B4-BE49-F238E27FC236}">
                <a16:creationId xmlns:a16="http://schemas.microsoft.com/office/drawing/2014/main" id="{82EE1829-716E-40CB-A4A0-CAB36B358641}"/>
              </a:ext>
            </a:extLst>
          </p:cNvPr>
          <p:cNvSpPr/>
          <p:nvPr>
            <p:custDataLst>
              <p:tags r:id="rId1"/>
            </p:custDataLst>
          </p:nvPr>
        </p:nvSpPr>
        <p:spPr bwMode="gray">
          <a:xfrm>
            <a:off x="521900" y="524850"/>
            <a:ext cx="1080141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8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7650659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 bwMode="gray">
          <a:xfrm>
            <a:off x="1977022" y="403540"/>
            <a:ext cx="9625255" cy="86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5" name="Text Placeholder 54"/>
          <p:cNvSpPr>
            <a:spLocks noGrp="1"/>
          </p:cNvSpPr>
          <p:nvPr>
            <p:ph type="body" sz="quarter" idx="13"/>
          </p:nvPr>
        </p:nvSpPr>
        <p:spPr bwMode="gray">
          <a:xfrm>
            <a:off x="2005598" y="1843721"/>
            <a:ext cx="4680609" cy="4641030"/>
          </a:xfrm>
        </p:spPr>
        <p:txBody>
          <a:bodyPr/>
          <a:lstStyle>
            <a:lvl1pPr marL="270000" indent="-270000">
              <a:spcBef>
                <a:spcPts val="1800"/>
              </a:spcBef>
              <a:spcAft>
                <a:spcPts val="0"/>
              </a:spcAft>
              <a:buFontTx/>
              <a:buBlip>
                <a:blip r:embed="rId3"/>
              </a:buBlip>
              <a:defRPr sz="2000"/>
            </a:lvl1pPr>
            <a:lvl2pPr marL="540000" indent="-270000">
              <a:spcBef>
                <a:spcPts val="600"/>
              </a:spcBef>
              <a:spcAft>
                <a:spcPts val="0"/>
              </a:spcAft>
              <a:buFontTx/>
              <a:buBlip>
                <a:blip r:embed="rId4"/>
              </a:buBlip>
              <a:defRPr sz="2000"/>
            </a:lvl2pPr>
            <a:lvl3pPr marL="810000" indent="-270000">
              <a:spcBef>
                <a:spcPts val="600"/>
              </a:spcBef>
              <a:spcAft>
                <a:spcPts val="0"/>
              </a:spcAft>
              <a:buFontTx/>
              <a:buBlip>
                <a:blip r:embed="rId5"/>
              </a:buBlip>
              <a:defRPr sz="2000"/>
            </a:lvl3pPr>
            <a:lvl4pPr marL="1080000" indent="-270000">
              <a:spcBef>
                <a:spcPts val="600"/>
              </a:spcBef>
              <a:spcAft>
                <a:spcPts val="0"/>
              </a:spcAft>
              <a:buFontTx/>
              <a:buBlip>
                <a:blip r:embed="rId6"/>
              </a:buBlip>
              <a:defRPr sz="2000"/>
            </a:lvl4pPr>
            <a:lvl5pPr>
              <a:spcBef>
                <a:spcPts val="600"/>
              </a:spcBef>
              <a:spcAft>
                <a:spcPts val="0"/>
              </a:spcAft>
              <a:defRPr sz="2000"/>
            </a:lvl5pPr>
            <a:lvl6pPr>
              <a:spcBef>
                <a:spcPts val="600"/>
              </a:spcBef>
              <a:spcAft>
                <a:spcPts val="0"/>
              </a:spcAft>
              <a:defRPr sz="2000"/>
            </a:lvl6pPr>
            <a:lvl7pPr>
              <a:spcBef>
                <a:spcPts val="600"/>
              </a:spcBef>
              <a:spcAft>
                <a:spcPts val="0"/>
              </a:spcAft>
              <a:defRPr sz="2000"/>
            </a:lvl7pPr>
            <a:lvl8pPr>
              <a:spcBef>
                <a:spcPts val="600"/>
              </a:spcBef>
              <a:spcAft>
                <a:spcPts val="0"/>
              </a:spcAft>
              <a:defRPr sz="2000"/>
            </a:lvl8pPr>
            <a:lvl9pPr>
              <a:spcBef>
                <a:spcPts val="600"/>
              </a:spcBef>
              <a:spcAft>
                <a:spcPts val="0"/>
              </a:spcAft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ED9F0C85-04CF-4A96-A9D8-9A9D4D010BF8}" type="datetimeFigureOut">
              <a:rPr lang="en-US" smtClean="0"/>
              <a:t>19-Apr-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>
          <a:xfrm>
            <a:off x="974800" y="6617933"/>
            <a:ext cx="5711408" cy="108000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>
          <a:xfrm>
            <a:off x="195869" y="6617933"/>
            <a:ext cx="392377" cy="108000"/>
          </a:xfrm>
        </p:spPr>
        <p:txBody>
          <a:bodyPr/>
          <a:lstStyle/>
          <a:p>
            <a:fld id="{7A5DF156-0738-4A77-A522-2B2AF5CECD9D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01923" y="704850"/>
            <a:ext cx="720094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" name="Group 1"/>
          <p:cNvGrpSpPr/>
          <p:nvPr/>
        </p:nvGrpSpPr>
        <p:grpSpPr bwMode="black">
          <a:xfrm>
            <a:off x="7805252" y="1"/>
            <a:ext cx="4386748" cy="6858000"/>
            <a:chOff x="7804236" y="1"/>
            <a:chExt cx="4386177" cy="6858000"/>
          </a:xfrm>
        </p:grpSpPr>
        <p:sp>
          <p:nvSpPr>
            <p:cNvPr id="19" name="Freeform 6"/>
            <p:cNvSpPr>
              <a:spLocks/>
            </p:cNvSpPr>
            <p:nvPr userDrawn="1"/>
          </p:nvSpPr>
          <p:spPr bwMode="black">
            <a:xfrm>
              <a:off x="7804236" y="1"/>
              <a:ext cx="2489310" cy="6858000"/>
            </a:xfrm>
            <a:custGeom>
              <a:avLst/>
              <a:gdLst>
                <a:gd name="T0" fmla="*/ 9 w 1857"/>
                <a:gd name="T1" fmla="*/ 5116 h 5116"/>
                <a:gd name="T2" fmla="*/ 1857 w 1857"/>
                <a:gd name="T3" fmla="*/ 0 h 5116"/>
                <a:gd name="T4" fmla="*/ 1847 w 1857"/>
                <a:gd name="T5" fmla="*/ 0 h 5116"/>
                <a:gd name="T6" fmla="*/ 0 w 1857"/>
                <a:gd name="T7" fmla="*/ 5116 h 5116"/>
                <a:gd name="T8" fmla="*/ 9 w 1857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57" h="5116">
                  <a:moveTo>
                    <a:pt x="9" y="5116"/>
                  </a:moveTo>
                  <a:lnTo>
                    <a:pt x="1857" y="0"/>
                  </a:lnTo>
                  <a:lnTo>
                    <a:pt x="1847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0" name="Freeform 6"/>
            <p:cNvSpPr>
              <a:spLocks/>
            </p:cNvSpPr>
            <p:nvPr userDrawn="1"/>
          </p:nvSpPr>
          <p:spPr bwMode="black">
            <a:xfrm>
              <a:off x="8456276" y="1408976"/>
              <a:ext cx="3734137" cy="5449024"/>
            </a:xfrm>
            <a:custGeom>
              <a:avLst/>
              <a:gdLst>
                <a:gd name="T0" fmla="*/ 0 w 2785"/>
                <a:gd name="T1" fmla="*/ 4064 h 4064"/>
                <a:gd name="T2" fmla="*/ 11 w 2785"/>
                <a:gd name="T3" fmla="*/ 4064 h 4064"/>
                <a:gd name="T4" fmla="*/ 2785 w 2785"/>
                <a:gd name="T5" fmla="*/ 17 h 4064"/>
                <a:gd name="T6" fmla="*/ 2785 w 2785"/>
                <a:gd name="T7" fmla="*/ 0 h 4064"/>
                <a:gd name="T8" fmla="*/ 0 w 2785"/>
                <a:gd name="T9" fmla="*/ 4064 h 40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85" h="4064">
                  <a:moveTo>
                    <a:pt x="0" y="4064"/>
                  </a:moveTo>
                  <a:lnTo>
                    <a:pt x="11" y="4064"/>
                  </a:lnTo>
                  <a:lnTo>
                    <a:pt x="2785" y="17"/>
                  </a:lnTo>
                  <a:lnTo>
                    <a:pt x="2785" y="0"/>
                  </a:lnTo>
                  <a:lnTo>
                    <a:pt x="0" y="4064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800"/>
            </a:p>
          </p:txBody>
        </p:sp>
      </p:grpSp>
      <p:sp>
        <p:nvSpPr>
          <p:cNvPr id="6" name="Logoschutz" hidden="1"/>
          <p:cNvSpPr/>
          <p:nvPr>
            <p:custDataLst>
              <p:tags r:id="rId1"/>
            </p:custDataLst>
          </p:nvPr>
        </p:nvSpPr>
        <p:spPr bwMode="gray">
          <a:xfrm>
            <a:off x="521900" y="524850"/>
            <a:ext cx="1080141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8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801193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254">
          <p15:clr>
            <a:srgbClr val="FBAE40"/>
          </p15:clr>
        </p15:guide>
        <p15:guide id="2" orient="horz" pos="4086">
          <p15:clr>
            <a:srgbClr val="FBAE40"/>
          </p15:clr>
        </p15:guide>
        <p15:guide id="3" orient="horz" pos="1162">
          <p15:clr>
            <a:srgbClr val="FBAE40"/>
          </p15:clr>
        </p15:guide>
        <p15:guide id="4" pos="4214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/>
          <p:nvPr/>
        </p:nvSpPr>
        <p:spPr bwMode="invGray">
          <a:xfrm>
            <a:off x="0" y="0"/>
            <a:ext cx="2104849" cy="6861175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1175"/>
              <a:gd name="connsiteX1" fmla="*/ 2104575 w 2104575"/>
              <a:gd name="connsiteY1" fmla="*/ 0 h 6861175"/>
              <a:gd name="connsiteX2" fmla="*/ 650732 w 2104575"/>
              <a:gd name="connsiteY2" fmla="*/ 6861175 h 6861175"/>
              <a:gd name="connsiteX3" fmla="*/ 0 w 2104575"/>
              <a:gd name="connsiteY3" fmla="*/ 6858000 h 6861175"/>
              <a:gd name="connsiteX4" fmla="*/ 0 w 2104575"/>
              <a:gd name="connsiteY4" fmla="*/ 0 h 6861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1175">
                <a:moveTo>
                  <a:pt x="0" y="0"/>
                </a:moveTo>
                <a:lnTo>
                  <a:pt x="2104575" y="0"/>
                </a:lnTo>
                <a:lnTo>
                  <a:pt x="650732" y="6861175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E61A5D"/>
              </a:gs>
              <a:gs pos="50000">
                <a:srgbClr val="E61A5D"/>
              </a:gs>
              <a:gs pos="84000">
                <a:srgbClr val="E61A5D">
                  <a:alpha val="0"/>
                </a:srgb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sz="1800" dirty="0" err="1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ED9F0C85-04CF-4A96-A9D8-9A9D4D010BF8}" type="datetimeFigureOut">
              <a:rPr lang="en-US" smtClean="0"/>
              <a:t>19-Apr-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7A5DF156-0738-4A77-A522-2B2AF5CECD9D}" type="slidenum">
              <a:rPr lang="en-US" smtClean="0"/>
              <a:t>‹#›</a:t>
            </a:fld>
            <a:endParaRPr lang="en-US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black">
          <a:xfrm>
            <a:off x="6846988" y="3064854"/>
            <a:ext cx="4500586" cy="720000"/>
          </a:xfrm>
        </p:spPr>
        <p:txBody>
          <a:bodyPr anchor="t"/>
          <a:lstStyle>
            <a:lvl1pPr marL="0" indent="0" algn="l">
              <a:buNone/>
              <a:defRPr sz="2400" b="1">
                <a:solidFill>
                  <a:schemeClr val="accent1"/>
                </a:solidFill>
              </a:defRPr>
            </a:lvl1pPr>
            <a:lvl2pPr marL="0" indent="0" algn="l">
              <a:buNone/>
              <a:defRPr sz="2400" b="1">
                <a:solidFill>
                  <a:schemeClr val="accent1"/>
                </a:solidFill>
              </a:defRPr>
            </a:lvl2pPr>
            <a:lvl3pPr marL="0" indent="0" algn="l">
              <a:buNone/>
              <a:defRPr sz="2400" b="1">
                <a:solidFill>
                  <a:schemeClr val="accent1"/>
                </a:solidFill>
              </a:defRPr>
            </a:lvl3pPr>
            <a:lvl4pPr marL="0" indent="0" algn="l">
              <a:buNone/>
              <a:defRPr sz="2400" b="1">
                <a:solidFill>
                  <a:schemeClr val="accent1"/>
                </a:solidFill>
              </a:defRPr>
            </a:lvl4pPr>
            <a:lvl5pPr marL="0" indent="0" algn="l">
              <a:buNone/>
              <a:defRPr sz="2400" b="1">
                <a:solidFill>
                  <a:schemeClr val="accent1"/>
                </a:solidFill>
              </a:defRPr>
            </a:lvl5pPr>
            <a:lvl6pPr marL="0" indent="0" algn="l">
              <a:buNone/>
              <a:defRPr sz="2400" b="1">
                <a:solidFill>
                  <a:schemeClr val="accent1"/>
                </a:solidFill>
              </a:defRPr>
            </a:lvl6pPr>
            <a:lvl7pPr marL="0" indent="0" algn="l">
              <a:buNone/>
              <a:defRPr sz="2400" b="1">
                <a:solidFill>
                  <a:schemeClr val="accent1"/>
                </a:solidFill>
              </a:defRPr>
            </a:lvl7pPr>
            <a:lvl8pPr marL="0" indent="0" algn="l">
              <a:buNone/>
              <a:defRPr sz="2400" b="1">
                <a:solidFill>
                  <a:schemeClr val="accent1"/>
                </a:solidFill>
              </a:defRPr>
            </a:lvl8pPr>
            <a:lvl9pPr marL="0" indent="0" algn="l">
              <a:buNone/>
              <a:defRPr sz="24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1810185" y="1473903"/>
            <a:ext cx="4140539" cy="1440753"/>
          </a:xfrm>
        </p:spPr>
        <p:txBody>
          <a:bodyPr anchor="b"/>
          <a:lstStyle>
            <a:lvl1pPr algn="r">
              <a:defRPr sz="48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49" name="Group 48"/>
          <p:cNvGrpSpPr/>
          <p:nvPr/>
        </p:nvGrpSpPr>
        <p:grpSpPr bwMode="black">
          <a:xfrm>
            <a:off x="4710724" y="1"/>
            <a:ext cx="2593848" cy="6858000"/>
            <a:chOff x="4710111" y="1"/>
            <a:chExt cx="2593510" cy="6858000"/>
          </a:xfrm>
        </p:grpSpPr>
        <p:sp>
          <p:nvSpPr>
            <p:cNvPr id="50" name="Freeform 6"/>
            <p:cNvSpPr>
              <a:spLocks/>
            </p:cNvSpPr>
            <p:nvPr userDrawn="1"/>
          </p:nvSpPr>
          <p:spPr bwMode="black">
            <a:xfrm>
              <a:off x="4710111" y="1"/>
              <a:ext cx="2393982" cy="6858000"/>
            </a:xfrm>
            <a:custGeom>
              <a:avLst/>
              <a:gdLst>
                <a:gd name="T0" fmla="*/ 9 w 1781"/>
                <a:gd name="T1" fmla="*/ 5102 h 5102"/>
                <a:gd name="T2" fmla="*/ 1781 w 1781"/>
                <a:gd name="T3" fmla="*/ 0 h 5102"/>
                <a:gd name="T4" fmla="*/ 1770 w 1781"/>
                <a:gd name="T5" fmla="*/ 0 h 5102"/>
                <a:gd name="T6" fmla="*/ 0 w 1781"/>
                <a:gd name="T7" fmla="*/ 5102 h 5102"/>
                <a:gd name="T8" fmla="*/ 9 w 1781"/>
                <a:gd name="T9" fmla="*/ 5102 h 5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81" h="5102">
                  <a:moveTo>
                    <a:pt x="9" y="5102"/>
                  </a:moveTo>
                  <a:lnTo>
                    <a:pt x="1781" y="0"/>
                  </a:lnTo>
                  <a:lnTo>
                    <a:pt x="1770" y="0"/>
                  </a:lnTo>
                  <a:lnTo>
                    <a:pt x="0" y="5102"/>
                  </a:lnTo>
                  <a:lnTo>
                    <a:pt x="9" y="5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51" name="Freeform 12"/>
            <p:cNvSpPr>
              <a:spLocks/>
            </p:cNvSpPr>
            <p:nvPr userDrawn="1"/>
          </p:nvSpPr>
          <p:spPr bwMode="black">
            <a:xfrm>
              <a:off x="5945695" y="2"/>
              <a:ext cx="1357926" cy="6857998"/>
            </a:xfrm>
            <a:custGeom>
              <a:avLst/>
              <a:gdLst>
                <a:gd name="T0" fmla="*/ 9 w 1013"/>
                <a:gd name="T1" fmla="*/ 5116 h 5116"/>
                <a:gd name="T2" fmla="*/ 1013 w 1013"/>
                <a:gd name="T3" fmla="*/ 0 h 5116"/>
                <a:gd name="T4" fmla="*/ 1004 w 1013"/>
                <a:gd name="T5" fmla="*/ 0 h 5116"/>
                <a:gd name="T6" fmla="*/ 0 w 1013"/>
                <a:gd name="T7" fmla="*/ 5116 h 5116"/>
                <a:gd name="T8" fmla="*/ 9 w 1013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3" h="5116">
                  <a:moveTo>
                    <a:pt x="9" y="5116"/>
                  </a:moveTo>
                  <a:lnTo>
                    <a:pt x="1013" y="0"/>
                  </a:lnTo>
                  <a:lnTo>
                    <a:pt x="1004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</p:grpSp>
      <p:pic>
        <p:nvPicPr>
          <p:cNvPr id="2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7726" y="617699"/>
            <a:ext cx="395299" cy="395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Logoschutz" hidden="1"/>
          <p:cNvSpPr/>
          <p:nvPr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5067945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" name="Group 35"/>
          <p:cNvGrpSpPr/>
          <p:nvPr/>
        </p:nvGrpSpPr>
        <p:grpSpPr bwMode="black">
          <a:xfrm>
            <a:off x="5740674" y="0"/>
            <a:ext cx="6451327" cy="6858000"/>
            <a:chOff x="-7368753" y="-1854009"/>
            <a:chExt cx="6299342" cy="6697306"/>
          </a:xfrm>
        </p:grpSpPr>
        <p:sp>
          <p:nvSpPr>
            <p:cNvPr id="37" name="Freeform 6"/>
            <p:cNvSpPr>
              <a:spLocks/>
            </p:cNvSpPr>
            <p:nvPr userDrawn="1"/>
          </p:nvSpPr>
          <p:spPr bwMode="black">
            <a:xfrm>
              <a:off x="-3543591" y="1231517"/>
              <a:ext cx="2474180" cy="3611780"/>
            </a:xfrm>
            <a:custGeom>
              <a:avLst/>
              <a:gdLst>
                <a:gd name="T0" fmla="*/ 0 w 1890"/>
                <a:gd name="T1" fmla="*/ 2759 h 2759"/>
                <a:gd name="T2" fmla="*/ 12 w 1890"/>
                <a:gd name="T3" fmla="*/ 2759 h 2759"/>
                <a:gd name="T4" fmla="*/ 1890 w 1890"/>
                <a:gd name="T5" fmla="*/ 17 h 2759"/>
                <a:gd name="T6" fmla="*/ 1890 w 1890"/>
                <a:gd name="T7" fmla="*/ 0 h 2759"/>
                <a:gd name="T8" fmla="*/ 0 w 1890"/>
                <a:gd name="T9" fmla="*/ 2759 h 27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0" h="2759">
                  <a:moveTo>
                    <a:pt x="0" y="2759"/>
                  </a:moveTo>
                  <a:lnTo>
                    <a:pt x="12" y="2759"/>
                  </a:lnTo>
                  <a:lnTo>
                    <a:pt x="1890" y="17"/>
                  </a:lnTo>
                  <a:lnTo>
                    <a:pt x="1890" y="0"/>
                  </a:lnTo>
                  <a:lnTo>
                    <a:pt x="0" y="275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sz="1800"/>
            </a:p>
          </p:txBody>
        </p:sp>
        <p:sp>
          <p:nvSpPr>
            <p:cNvPr id="38" name="Freeform 7"/>
            <p:cNvSpPr>
              <a:spLocks/>
            </p:cNvSpPr>
            <p:nvPr userDrawn="1"/>
          </p:nvSpPr>
          <p:spPr bwMode="black">
            <a:xfrm>
              <a:off x="-7368753" y="-1854009"/>
              <a:ext cx="1327417" cy="6697305"/>
            </a:xfrm>
            <a:custGeom>
              <a:avLst/>
              <a:gdLst>
                <a:gd name="T0" fmla="*/ 10 w 1014"/>
                <a:gd name="T1" fmla="*/ 5116 h 5116"/>
                <a:gd name="T2" fmla="*/ 1014 w 1014"/>
                <a:gd name="T3" fmla="*/ 0 h 5116"/>
                <a:gd name="T4" fmla="*/ 1007 w 1014"/>
                <a:gd name="T5" fmla="*/ 0 h 5116"/>
                <a:gd name="T6" fmla="*/ 0 w 1014"/>
                <a:gd name="T7" fmla="*/ 5116 h 5116"/>
                <a:gd name="T8" fmla="*/ 10 w 1014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4" h="5116">
                  <a:moveTo>
                    <a:pt x="10" y="5116"/>
                  </a:moveTo>
                  <a:lnTo>
                    <a:pt x="1014" y="0"/>
                  </a:lnTo>
                  <a:lnTo>
                    <a:pt x="1007" y="0"/>
                  </a:lnTo>
                  <a:lnTo>
                    <a:pt x="0" y="5116"/>
                  </a:lnTo>
                  <a:lnTo>
                    <a:pt x="10" y="51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sz="1800"/>
            </a:p>
          </p:txBody>
        </p:sp>
      </p:grpSp>
      <p:sp>
        <p:nvSpPr>
          <p:cNvPr id="6" name="Freeform 5"/>
          <p:cNvSpPr/>
          <p:nvPr/>
        </p:nvSpPr>
        <p:spPr bwMode="ltGray">
          <a:xfrm>
            <a:off x="0" y="1"/>
            <a:ext cx="2104849" cy="6860381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0381"/>
              <a:gd name="connsiteX1" fmla="*/ 2104575 w 2104575"/>
              <a:gd name="connsiteY1" fmla="*/ 0 h 6860381"/>
              <a:gd name="connsiteX2" fmla="*/ 645970 w 2104575"/>
              <a:gd name="connsiteY2" fmla="*/ 6860381 h 6860381"/>
              <a:gd name="connsiteX3" fmla="*/ 0 w 2104575"/>
              <a:gd name="connsiteY3" fmla="*/ 6858000 h 6860381"/>
              <a:gd name="connsiteX4" fmla="*/ 0 w 2104575"/>
              <a:gd name="connsiteY4" fmla="*/ 0 h 6860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0381">
                <a:moveTo>
                  <a:pt x="0" y="0"/>
                </a:moveTo>
                <a:lnTo>
                  <a:pt x="2104575" y="0"/>
                </a:lnTo>
                <a:lnTo>
                  <a:pt x="645970" y="6860381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00A5E2"/>
              </a:gs>
              <a:gs pos="50000">
                <a:srgbClr val="00A5E2"/>
              </a:gs>
              <a:gs pos="84000">
                <a:schemeClr val="accent2">
                  <a:alpha val="0"/>
                </a:scheme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sz="1800" dirty="0" err="1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6679256" y="2989334"/>
            <a:ext cx="4500586" cy="1440753"/>
          </a:xfrm>
        </p:spPr>
        <p:txBody>
          <a:bodyPr anchor="t"/>
          <a:lstStyle>
            <a:lvl1pPr algn="l">
              <a:defRPr sz="48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ED9F0C85-04CF-4A96-A9D8-9A9D4D010BF8}" type="datetimeFigureOut">
              <a:rPr lang="en-US" smtClean="0"/>
              <a:t>19-Apr-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7A5DF156-0738-4A77-A522-2B2AF5CECD9D}" type="slidenum">
              <a:rPr lang="en-US" smtClean="0"/>
              <a:t>‹#›</a:t>
            </a:fld>
            <a:endParaRPr lang="en-US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black">
          <a:xfrm>
            <a:off x="1902438" y="2134650"/>
            <a:ext cx="4500586" cy="720000"/>
          </a:xfrm>
        </p:spPr>
        <p:txBody>
          <a:bodyPr anchor="b"/>
          <a:lstStyle>
            <a:lvl1pPr marL="0" indent="0" algn="r">
              <a:buNone/>
              <a:defRPr sz="2400" b="1">
                <a:solidFill>
                  <a:schemeClr val="accent1"/>
                </a:solidFill>
              </a:defRPr>
            </a:lvl1pPr>
            <a:lvl2pPr marL="0" indent="0" algn="l">
              <a:buNone/>
              <a:defRPr sz="2400" b="1">
                <a:solidFill>
                  <a:schemeClr val="accent1"/>
                </a:solidFill>
              </a:defRPr>
            </a:lvl2pPr>
            <a:lvl3pPr marL="0" indent="0" algn="l">
              <a:buNone/>
              <a:defRPr sz="2400" b="1">
                <a:solidFill>
                  <a:schemeClr val="accent1"/>
                </a:solidFill>
              </a:defRPr>
            </a:lvl3pPr>
            <a:lvl4pPr marL="0" indent="0" algn="l">
              <a:buNone/>
              <a:defRPr sz="2400" b="1">
                <a:solidFill>
                  <a:schemeClr val="accent1"/>
                </a:solidFill>
              </a:defRPr>
            </a:lvl4pPr>
            <a:lvl5pPr marL="0" indent="0" algn="l">
              <a:buNone/>
              <a:defRPr sz="2400" b="1">
                <a:solidFill>
                  <a:schemeClr val="accent1"/>
                </a:solidFill>
              </a:defRPr>
            </a:lvl5pPr>
            <a:lvl6pPr marL="0" indent="0" algn="l">
              <a:buNone/>
              <a:defRPr sz="2400" b="1">
                <a:solidFill>
                  <a:schemeClr val="accent1"/>
                </a:solidFill>
              </a:defRPr>
            </a:lvl6pPr>
            <a:lvl7pPr marL="0" indent="0" algn="l">
              <a:buNone/>
              <a:defRPr sz="2400" b="1">
                <a:solidFill>
                  <a:schemeClr val="accent1"/>
                </a:solidFill>
              </a:defRPr>
            </a:lvl7pPr>
            <a:lvl8pPr marL="0" indent="0" algn="l">
              <a:buNone/>
              <a:defRPr sz="2400" b="1">
                <a:solidFill>
                  <a:schemeClr val="accent1"/>
                </a:solidFill>
              </a:defRPr>
            </a:lvl8pPr>
            <a:lvl9pPr marL="0" indent="0" algn="l">
              <a:buNone/>
              <a:defRPr sz="24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7726" y="617699"/>
            <a:ext cx="395299" cy="395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Logoschutz" hidden="1"/>
          <p:cNvSpPr/>
          <p:nvPr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4110927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3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/>
          <p:nvPr/>
        </p:nvSpPr>
        <p:spPr bwMode="ltGray">
          <a:xfrm>
            <a:off x="0" y="1"/>
            <a:ext cx="2104849" cy="6860381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0381"/>
              <a:gd name="connsiteX1" fmla="*/ 2104575 w 2104575"/>
              <a:gd name="connsiteY1" fmla="*/ 0 h 6860381"/>
              <a:gd name="connsiteX2" fmla="*/ 645970 w 2104575"/>
              <a:gd name="connsiteY2" fmla="*/ 6860381 h 6860381"/>
              <a:gd name="connsiteX3" fmla="*/ 0 w 2104575"/>
              <a:gd name="connsiteY3" fmla="*/ 6858000 h 6860381"/>
              <a:gd name="connsiteX4" fmla="*/ 0 w 2104575"/>
              <a:gd name="connsiteY4" fmla="*/ 0 h 6860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0381">
                <a:moveTo>
                  <a:pt x="0" y="0"/>
                </a:moveTo>
                <a:lnTo>
                  <a:pt x="2104575" y="0"/>
                </a:lnTo>
                <a:lnTo>
                  <a:pt x="645970" y="6860381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74C713"/>
              </a:gs>
              <a:gs pos="50000">
                <a:srgbClr val="74C713"/>
              </a:gs>
              <a:gs pos="84000">
                <a:srgbClr val="74C713">
                  <a:alpha val="0"/>
                </a:srgb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sz="1800" dirty="0" err="1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4854976" y="1462159"/>
            <a:ext cx="4500586" cy="1440753"/>
          </a:xfrm>
        </p:spPr>
        <p:txBody>
          <a:bodyPr anchor="b"/>
          <a:lstStyle>
            <a:lvl1pPr algn="l">
              <a:defRPr sz="48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ED9F0C85-04CF-4A96-A9D8-9A9D4D010BF8}" type="datetimeFigureOut">
              <a:rPr lang="en-US" smtClean="0"/>
              <a:t>19-Apr-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7A5DF156-0738-4A77-A522-2B2AF5CECD9D}" type="slidenum">
              <a:rPr lang="en-US" smtClean="0"/>
              <a:t>‹#›</a:t>
            </a:fld>
            <a:endParaRPr lang="en-US"/>
          </a:p>
        </p:txBody>
      </p:sp>
      <p:sp>
        <p:nvSpPr>
          <p:cNvPr id="48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56599" y="3064854"/>
            <a:ext cx="4500586" cy="720000"/>
          </a:xfrm>
        </p:spPr>
        <p:txBody>
          <a:bodyPr anchor="t"/>
          <a:lstStyle>
            <a:lvl1pPr marL="0" indent="0" algn="l">
              <a:buNone/>
              <a:defRPr sz="2400" b="1">
                <a:solidFill>
                  <a:schemeClr val="accent3"/>
                </a:solidFill>
              </a:defRPr>
            </a:lvl1pPr>
            <a:lvl2pPr marL="0" indent="0" algn="l">
              <a:buNone/>
              <a:defRPr sz="2400" b="1">
                <a:solidFill>
                  <a:schemeClr val="accent3"/>
                </a:solidFill>
              </a:defRPr>
            </a:lvl2pPr>
            <a:lvl3pPr marL="0" indent="0" algn="l">
              <a:buNone/>
              <a:defRPr sz="2400" b="1">
                <a:solidFill>
                  <a:schemeClr val="accent3"/>
                </a:solidFill>
              </a:defRPr>
            </a:lvl3pPr>
            <a:lvl4pPr marL="0" indent="0" algn="l">
              <a:buNone/>
              <a:defRPr sz="2400" b="1">
                <a:solidFill>
                  <a:schemeClr val="accent3"/>
                </a:solidFill>
              </a:defRPr>
            </a:lvl4pPr>
            <a:lvl5pPr marL="0" indent="0" algn="l">
              <a:buNone/>
              <a:defRPr sz="2400" b="1">
                <a:solidFill>
                  <a:schemeClr val="accent3"/>
                </a:solidFill>
              </a:defRPr>
            </a:lvl5pPr>
            <a:lvl6pPr marL="0" indent="0" algn="l">
              <a:buNone/>
              <a:defRPr sz="2400" b="1">
                <a:solidFill>
                  <a:schemeClr val="accent3"/>
                </a:solidFill>
              </a:defRPr>
            </a:lvl6pPr>
            <a:lvl7pPr marL="0" indent="0" algn="l">
              <a:buNone/>
              <a:defRPr sz="2400" b="1">
                <a:solidFill>
                  <a:schemeClr val="accent3"/>
                </a:solidFill>
              </a:defRPr>
            </a:lvl7pPr>
            <a:lvl8pPr marL="0" indent="0" algn="l">
              <a:buNone/>
              <a:defRPr sz="2400" b="1">
                <a:solidFill>
                  <a:schemeClr val="accent3"/>
                </a:solidFill>
              </a:defRPr>
            </a:lvl8pPr>
            <a:lvl9pPr marL="0" indent="0" algn="l">
              <a:buNone/>
              <a:defRPr sz="2400" b="1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24" name="Group 23"/>
          <p:cNvGrpSpPr/>
          <p:nvPr/>
        </p:nvGrpSpPr>
        <p:grpSpPr bwMode="black">
          <a:xfrm>
            <a:off x="759707" y="1"/>
            <a:ext cx="4149389" cy="6858000"/>
            <a:chOff x="-13927138" y="-1074738"/>
            <a:chExt cx="4913313" cy="8121651"/>
          </a:xfrm>
          <a:solidFill>
            <a:schemeClr val="bg1"/>
          </a:solidFill>
        </p:grpSpPr>
        <p:sp>
          <p:nvSpPr>
            <p:cNvPr id="26" name="Freeform 6"/>
            <p:cNvSpPr>
              <a:spLocks/>
            </p:cNvSpPr>
            <p:nvPr userDrawn="1"/>
          </p:nvSpPr>
          <p:spPr bwMode="black">
            <a:xfrm>
              <a:off x="-13927138" y="-1074738"/>
              <a:ext cx="2947988" cy="8121651"/>
            </a:xfrm>
            <a:custGeom>
              <a:avLst/>
              <a:gdLst>
                <a:gd name="T0" fmla="*/ 9 w 1857"/>
                <a:gd name="T1" fmla="*/ 5116 h 5116"/>
                <a:gd name="T2" fmla="*/ 1857 w 1857"/>
                <a:gd name="T3" fmla="*/ 0 h 5116"/>
                <a:gd name="T4" fmla="*/ 1847 w 1857"/>
                <a:gd name="T5" fmla="*/ 0 h 5116"/>
                <a:gd name="T6" fmla="*/ 0 w 1857"/>
                <a:gd name="T7" fmla="*/ 5116 h 5116"/>
                <a:gd name="T8" fmla="*/ 9 w 1857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57" h="5116">
                  <a:moveTo>
                    <a:pt x="9" y="5116"/>
                  </a:moveTo>
                  <a:lnTo>
                    <a:pt x="1857" y="0"/>
                  </a:lnTo>
                  <a:lnTo>
                    <a:pt x="1847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6" name="Freeform 7"/>
            <p:cNvSpPr>
              <a:spLocks/>
            </p:cNvSpPr>
            <p:nvPr userDrawn="1"/>
          </p:nvSpPr>
          <p:spPr bwMode="black">
            <a:xfrm>
              <a:off x="-10623550" y="-1074738"/>
              <a:ext cx="1609725" cy="8121651"/>
            </a:xfrm>
            <a:custGeom>
              <a:avLst/>
              <a:gdLst>
                <a:gd name="T0" fmla="*/ 10 w 1014"/>
                <a:gd name="T1" fmla="*/ 5116 h 5116"/>
                <a:gd name="T2" fmla="*/ 1014 w 1014"/>
                <a:gd name="T3" fmla="*/ 0 h 5116"/>
                <a:gd name="T4" fmla="*/ 1004 w 1014"/>
                <a:gd name="T5" fmla="*/ 0 h 5116"/>
                <a:gd name="T6" fmla="*/ 0 w 1014"/>
                <a:gd name="T7" fmla="*/ 5116 h 5116"/>
                <a:gd name="T8" fmla="*/ 10 w 1014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4" h="5116">
                  <a:moveTo>
                    <a:pt x="10" y="5116"/>
                  </a:moveTo>
                  <a:lnTo>
                    <a:pt x="1014" y="0"/>
                  </a:lnTo>
                  <a:lnTo>
                    <a:pt x="1004" y="0"/>
                  </a:lnTo>
                  <a:lnTo>
                    <a:pt x="0" y="5116"/>
                  </a:lnTo>
                  <a:lnTo>
                    <a:pt x="10" y="51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</p:grpSp>
      <p:pic>
        <p:nvPicPr>
          <p:cNvPr id="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7726" y="617699"/>
            <a:ext cx="395299" cy="395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Logoschutz" hidden="1"/>
          <p:cNvSpPr/>
          <p:nvPr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163521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948" y="1138299"/>
            <a:ext cx="10799867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ED9F0C85-04CF-4A96-A9D8-9A9D4D010BF8}" type="datetimeFigureOut">
              <a:rPr lang="en-US" smtClean="0"/>
              <a:t>19-Apr-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A5DF156-0738-4A77-A522-2B2AF5CECD9D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30" y="617155"/>
            <a:ext cx="399652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Inhaltsplatzhalter 6"/>
          <p:cNvSpPr>
            <a:spLocks noGrp="1"/>
          </p:cNvSpPr>
          <p:nvPr>
            <p:ph sz="quarter" idx="14"/>
          </p:nvPr>
        </p:nvSpPr>
        <p:spPr>
          <a:xfrm>
            <a:off x="981948" y="1732751"/>
            <a:ext cx="10799867" cy="47519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0" name="Logoschutz" hidden="1"/>
          <p:cNvSpPr/>
          <p:nvPr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7727922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p15="http://schemas.microsoft.com/office/powerpoint/2012/main" xmlns:a14="http://schemas.microsoft.com/office/drawing/2010/main"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1094">
          <p15:clr>
            <a:srgbClr val="FBAE40"/>
          </p15:clr>
        </p15:guide>
        <p15:guide id="4" orient="horz" pos="4085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948" y="1138299"/>
            <a:ext cx="10799867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ED9F0C85-04CF-4A96-A9D8-9A9D4D010BF8}" type="datetimeFigureOut">
              <a:rPr lang="en-US" smtClean="0"/>
              <a:t>19-Apr-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A5DF156-0738-4A77-A522-2B2AF5CECD9D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30" y="617155"/>
            <a:ext cx="399652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Inhaltsplatzhalter 6"/>
          <p:cNvSpPr>
            <a:spLocks noGrp="1"/>
          </p:cNvSpPr>
          <p:nvPr>
            <p:ph sz="quarter" idx="16"/>
          </p:nvPr>
        </p:nvSpPr>
        <p:spPr>
          <a:xfrm>
            <a:off x="981948" y="1732750"/>
            <a:ext cx="5220680" cy="47520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7"/>
          </p:nvPr>
        </p:nvSpPr>
        <p:spPr>
          <a:xfrm>
            <a:off x="6560457" y="1732750"/>
            <a:ext cx="5220680" cy="47520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10" name="Logoschutz" hidden="1"/>
          <p:cNvSpPr/>
          <p:nvPr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0296905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908">
          <p15:clr>
            <a:srgbClr val="FBAE40"/>
          </p15:clr>
        </p15:guide>
        <p15:guide id="2" pos="4134">
          <p15:clr>
            <a:srgbClr val="FBAE40"/>
          </p15:clr>
        </p15:guide>
        <p15:guide id="3" orient="horz" pos="1094">
          <p15:clr>
            <a:srgbClr val="FBAE40"/>
          </p15:clr>
        </p15:guide>
        <p15:guide id="4" orient="horz" pos="4085">
          <p15:clr>
            <a:srgbClr val="FBAE40"/>
          </p15:clr>
        </p15:guide>
        <p15:guide id="5" pos="619">
          <p15:clr>
            <a:srgbClr val="FBAE40"/>
          </p15:clr>
        </p15:guide>
        <p15:guide id="7" pos="7423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4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3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980409" y="1732751"/>
            <a:ext cx="10801406" cy="475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981949" y="181938"/>
            <a:ext cx="10799866" cy="864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11122679" y="6617933"/>
            <a:ext cx="489014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700">
                <a:noFill/>
              </a:defRPr>
            </a:lvl1pPr>
            <a:lvl2pPr marL="1588" indent="0" algn="r">
              <a:defRPr sz="700">
                <a:noFill/>
              </a:defRPr>
            </a:lvl2pPr>
            <a:lvl3pPr marL="0" indent="0" algn="r">
              <a:defRPr sz="700">
                <a:noFill/>
              </a:defRPr>
            </a:lvl3pPr>
            <a:lvl4pPr marL="0" indent="0" algn="r">
              <a:tabLst/>
              <a:defRPr sz="700">
                <a:noFill/>
              </a:defRPr>
            </a:lvl4pPr>
            <a:lvl5pPr marL="0" indent="0" algn="r">
              <a:defRPr sz="700">
                <a:noFill/>
              </a:defRPr>
            </a:lvl5pPr>
            <a:lvl6pPr marL="0" indent="0" algn="r">
              <a:defRPr sz="700">
                <a:noFill/>
              </a:defRPr>
            </a:lvl6pPr>
            <a:lvl7pPr marL="0" indent="0" algn="r">
              <a:defRPr sz="700">
                <a:noFill/>
              </a:defRPr>
            </a:lvl7pPr>
            <a:lvl8pPr marL="0" indent="0" algn="r">
              <a:defRPr sz="700">
                <a:noFill/>
              </a:defRPr>
            </a:lvl8pPr>
            <a:lvl9pPr marL="0" indent="0" algn="r">
              <a:defRPr sz="700">
                <a:noFill/>
              </a:defRPr>
            </a:lvl9pPr>
          </a:lstStyle>
          <a:p>
            <a:fld id="{ED9F0C85-04CF-4A96-A9D8-9A9D4D010BF8}" type="datetimeFigureOut">
              <a:rPr lang="en-US" smtClean="0"/>
              <a:t>19-Apr-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974799" y="6617933"/>
            <a:ext cx="8641125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>
              <a:defRPr sz="700">
                <a:solidFill>
                  <a:schemeClr val="accent1"/>
                </a:solidFill>
              </a:defRPr>
            </a:lvl1pPr>
            <a:lvl2pPr marL="0" indent="0">
              <a:defRPr sz="700">
                <a:solidFill>
                  <a:schemeClr val="accent1"/>
                </a:solidFill>
              </a:defRPr>
            </a:lvl2pPr>
            <a:lvl3pPr marL="0" indent="0">
              <a:defRPr sz="700">
                <a:solidFill>
                  <a:schemeClr val="accent1"/>
                </a:solidFill>
              </a:defRPr>
            </a:lvl3pPr>
            <a:lvl4pPr marL="0" indent="0">
              <a:defRPr sz="700">
                <a:solidFill>
                  <a:schemeClr val="accent1"/>
                </a:solidFill>
              </a:defRPr>
            </a:lvl4pPr>
            <a:lvl5pPr marL="0" indent="0">
              <a:defRPr sz="700">
                <a:solidFill>
                  <a:schemeClr val="accent1"/>
                </a:solidFill>
              </a:defRPr>
            </a:lvl5pPr>
            <a:lvl6pPr marL="0" indent="0">
              <a:tabLst/>
              <a:defRPr sz="700">
                <a:solidFill>
                  <a:schemeClr val="accent1"/>
                </a:solidFill>
              </a:defRPr>
            </a:lvl6pPr>
            <a:lvl7pPr marL="0" indent="0">
              <a:tabLst/>
              <a:defRPr sz="700">
                <a:solidFill>
                  <a:schemeClr val="accent1"/>
                </a:solidFill>
              </a:defRPr>
            </a:lvl7pPr>
            <a:lvl8pPr marL="0" indent="0">
              <a:defRPr sz="700">
                <a:solidFill>
                  <a:schemeClr val="accent1"/>
                </a:solidFill>
              </a:defRPr>
            </a:lvl8pPr>
            <a:lvl9pPr marL="0" indent="0">
              <a:defRPr sz="700">
                <a:solidFill>
                  <a:schemeClr val="accent1"/>
                </a:solidFill>
              </a:defRPr>
            </a:lvl9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95869" y="6617933"/>
            <a:ext cx="392377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ctr">
              <a:defRPr sz="700">
                <a:solidFill>
                  <a:schemeClr val="accent2"/>
                </a:solidFill>
              </a:defRPr>
            </a:lvl1pPr>
            <a:lvl2pPr marL="0" indent="0" algn="ctr">
              <a:defRPr sz="700">
                <a:solidFill>
                  <a:schemeClr val="accent2"/>
                </a:solidFill>
              </a:defRPr>
            </a:lvl2pPr>
            <a:lvl3pPr marL="0" indent="0" algn="ctr">
              <a:defRPr sz="700">
                <a:solidFill>
                  <a:schemeClr val="accent2"/>
                </a:solidFill>
              </a:defRPr>
            </a:lvl3pPr>
            <a:lvl4pPr marL="0" indent="0" algn="ctr">
              <a:defRPr sz="700">
                <a:solidFill>
                  <a:schemeClr val="accent2"/>
                </a:solidFill>
              </a:defRPr>
            </a:lvl4pPr>
            <a:lvl5pPr marL="0" indent="0" algn="ctr">
              <a:defRPr sz="700">
                <a:solidFill>
                  <a:schemeClr val="accent2"/>
                </a:solidFill>
              </a:defRPr>
            </a:lvl5pPr>
            <a:lvl6pPr marL="0" indent="0" algn="ctr">
              <a:defRPr sz="700">
                <a:solidFill>
                  <a:schemeClr val="accent2"/>
                </a:solidFill>
              </a:defRPr>
            </a:lvl6pPr>
            <a:lvl7pPr marL="0" indent="0" algn="ctr">
              <a:defRPr sz="700">
                <a:solidFill>
                  <a:schemeClr val="accent2"/>
                </a:solidFill>
              </a:defRPr>
            </a:lvl7pPr>
            <a:lvl8pPr marL="0" indent="0" algn="ctr">
              <a:defRPr sz="700">
                <a:solidFill>
                  <a:schemeClr val="accent2"/>
                </a:solidFill>
              </a:defRPr>
            </a:lvl8pPr>
            <a:lvl9pPr marL="0" indent="0" algn="ctr">
              <a:defRPr sz="700">
                <a:solidFill>
                  <a:schemeClr val="accent2"/>
                </a:solidFill>
              </a:defRPr>
            </a:lvl9pPr>
          </a:lstStyle>
          <a:p>
            <a:fld id="{7A5DF156-0738-4A77-A522-2B2AF5CECD9D}" type="slidenum">
              <a:rPr lang="en-US" smtClean="0"/>
              <a:t>‹#›</a:t>
            </a:fld>
            <a:endParaRPr lang="en-US"/>
          </a:p>
        </p:txBody>
      </p:sp>
      <p:sp>
        <p:nvSpPr>
          <p:cNvPr id="7" name="empower - DO NOT DELETE!!!" hidden="1"/>
          <p:cNvSpPr/>
          <p:nvPr>
            <p:custDataLst>
              <p:tags r:id="rId21"/>
            </p:custDataLst>
          </p:nvPr>
        </p:nvSpPr>
        <p:spPr bwMode="gray">
          <a:xfrm>
            <a:off x="0" y="0"/>
            <a:ext cx="0" cy="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 sz="180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CBA523F-6430-44A4-85ED-1EC70B1D97EA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10637635" y="6522720"/>
            <a:ext cx="1433700" cy="33528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r"/>
            <a:r>
              <a:rPr lang="de-DE" sz="2200">
                <a:solidFill>
                  <a:srgbClr val="FF893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STRICTED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8F787DB-C942-0E2D-1CF1-541269A9CA06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10758488" y="6459220"/>
            <a:ext cx="1433512" cy="33528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2200">
                <a:solidFill>
                  <a:srgbClr val="FF893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STRICTED</a:t>
            </a:r>
          </a:p>
        </p:txBody>
      </p:sp>
    </p:spTree>
    <p:extLst>
      <p:ext uri="{BB962C8B-B14F-4D97-AF65-F5344CB8AC3E}">
        <p14:creationId xmlns:p14="http://schemas.microsoft.com/office/powerpoint/2010/main" val="33426464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47" r:id="rId3"/>
    <p:sldLayoutId id="2147483748" r:id="rId4"/>
    <p:sldLayoutId id="2147483749" r:id="rId5"/>
    <p:sldLayoutId id="2147483750" r:id="rId6"/>
    <p:sldLayoutId id="2147483751" r:id="rId7"/>
    <p:sldLayoutId id="2147483752" r:id="rId8"/>
    <p:sldLayoutId id="2147483753" r:id="rId9"/>
    <p:sldLayoutId id="2147483754" r:id="rId10"/>
    <p:sldLayoutId id="2147483755" r:id="rId11"/>
    <p:sldLayoutId id="2147483756" r:id="rId12"/>
    <p:sldLayoutId id="2147483757" r:id="rId13"/>
    <p:sldLayoutId id="2147483758" r:id="rId14"/>
    <p:sldLayoutId id="2147483759" r:id="rId15"/>
    <p:sldLayoutId id="2147483760" r:id="rId16"/>
    <p:sldLayoutId id="2147483761" r:id="rId17"/>
    <p:sldLayoutId id="2147483762" r:id="rId18"/>
    <p:sldLayoutId id="2147483764" r:id="rId1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p15="http://schemas.microsoft.com/office/powerpoint/2012/main" xmlns:p184="http://schemas.microsoft.com/office/powerpoint/2018/4/main" xmlns:a16="http://schemas.microsoft.com/office/drawing/2014/main" xmlns="">
      <p:transition spd="med">
        <p:fade/>
      </p:transition>
    </mc:Fallback>
  </mc:AlternateContent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7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2"/>
        </a:buBlip>
        <a:defRPr sz="1800" kern="1200">
          <a:solidFill>
            <a:schemeClr val="accent1"/>
          </a:solidFill>
          <a:latin typeface="+mn-lt"/>
          <a:ea typeface="+mn-ea"/>
          <a:cs typeface="+mn-cs"/>
        </a:defRPr>
      </a:lvl2pPr>
      <a:lvl3pPr marL="54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3"/>
        </a:buBlip>
        <a:defRPr sz="18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81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4"/>
        </a:buBlip>
        <a:defRPr sz="18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5"/>
        </a:buBlip>
        <a:defRPr sz="1800" kern="1200">
          <a:solidFill>
            <a:schemeClr val="accent1"/>
          </a:solidFill>
          <a:latin typeface="+mn-lt"/>
          <a:ea typeface="+mn-ea"/>
          <a:cs typeface="+mn-cs"/>
        </a:defRPr>
      </a:lvl5pPr>
      <a:lvl6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5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5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5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5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13" Type="http://schemas.openxmlformats.org/officeDocument/2006/relationships/tags" Target="../tags/tag30.xml"/><Relationship Id="rId18" Type="http://schemas.openxmlformats.org/officeDocument/2006/relationships/tags" Target="../tags/tag35.xml"/><Relationship Id="rId26" Type="http://schemas.openxmlformats.org/officeDocument/2006/relationships/tags" Target="../tags/tag43.xml"/><Relationship Id="rId39" Type="http://schemas.openxmlformats.org/officeDocument/2006/relationships/tags" Target="../tags/tag56.xml"/><Relationship Id="rId21" Type="http://schemas.openxmlformats.org/officeDocument/2006/relationships/tags" Target="../tags/tag38.xml"/><Relationship Id="rId34" Type="http://schemas.openxmlformats.org/officeDocument/2006/relationships/tags" Target="../tags/tag51.xml"/><Relationship Id="rId42" Type="http://schemas.openxmlformats.org/officeDocument/2006/relationships/tags" Target="../tags/tag59.xml"/><Relationship Id="rId47" Type="http://schemas.openxmlformats.org/officeDocument/2006/relationships/tags" Target="../tags/tag64.xml"/><Relationship Id="rId50" Type="http://schemas.openxmlformats.org/officeDocument/2006/relationships/tags" Target="../tags/tag67.xml"/><Relationship Id="rId55" Type="http://schemas.openxmlformats.org/officeDocument/2006/relationships/tags" Target="../tags/tag72.xml"/><Relationship Id="rId63" Type="http://schemas.openxmlformats.org/officeDocument/2006/relationships/tags" Target="../tags/tag80.xml"/><Relationship Id="rId68" Type="http://schemas.openxmlformats.org/officeDocument/2006/relationships/tags" Target="../tags/tag85.xml"/><Relationship Id="rId76" Type="http://schemas.openxmlformats.org/officeDocument/2006/relationships/tags" Target="../tags/tag93.xml"/><Relationship Id="rId84" Type="http://schemas.openxmlformats.org/officeDocument/2006/relationships/tags" Target="../tags/tag101.xml"/><Relationship Id="rId89" Type="http://schemas.openxmlformats.org/officeDocument/2006/relationships/slideLayout" Target="../slideLayouts/slideLayout19.xml"/><Relationship Id="rId7" Type="http://schemas.openxmlformats.org/officeDocument/2006/relationships/tags" Target="../tags/tag24.xml"/><Relationship Id="rId71" Type="http://schemas.openxmlformats.org/officeDocument/2006/relationships/tags" Target="../tags/tag88.xml"/><Relationship Id="rId2" Type="http://schemas.openxmlformats.org/officeDocument/2006/relationships/tags" Target="../tags/tag19.xml"/><Relationship Id="rId16" Type="http://schemas.openxmlformats.org/officeDocument/2006/relationships/tags" Target="../tags/tag33.xml"/><Relationship Id="rId29" Type="http://schemas.openxmlformats.org/officeDocument/2006/relationships/tags" Target="../tags/tag46.xml"/><Relationship Id="rId11" Type="http://schemas.openxmlformats.org/officeDocument/2006/relationships/tags" Target="../tags/tag28.xml"/><Relationship Id="rId24" Type="http://schemas.openxmlformats.org/officeDocument/2006/relationships/tags" Target="../tags/tag41.xml"/><Relationship Id="rId32" Type="http://schemas.openxmlformats.org/officeDocument/2006/relationships/tags" Target="../tags/tag49.xml"/><Relationship Id="rId37" Type="http://schemas.openxmlformats.org/officeDocument/2006/relationships/tags" Target="../tags/tag54.xml"/><Relationship Id="rId40" Type="http://schemas.openxmlformats.org/officeDocument/2006/relationships/tags" Target="../tags/tag57.xml"/><Relationship Id="rId45" Type="http://schemas.openxmlformats.org/officeDocument/2006/relationships/tags" Target="../tags/tag62.xml"/><Relationship Id="rId53" Type="http://schemas.openxmlformats.org/officeDocument/2006/relationships/tags" Target="../tags/tag70.xml"/><Relationship Id="rId58" Type="http://schemas.openxmlformats.org/officeDocument/2006/relationships/tags" Target="../tags/tag75.xml"/><Relationship Id="rId66" Type="http://schemas.openxmlformats.org/officeDocument/2006/relationships/tags" Target="../tags/tag83.xml"/><Relationship Id="rId74" Type="http://schemas.openxmlformats.org/officeDocument/2006/relationships/tags" Target="../tags/tag91.xml"/><Relationship Id="rId79" Type="http://schemas.openxmlformats.org/officeDocument/2006/relationships/tags" Target="../tags/tag96.xml"/><Relationship Id="rId87" Type="http://schemas.openxmlformats.org/officeDocument/2006/relationships/tags" Target="../tags/tag104.xml"/><Relationship Id="rId5" Type="http://schemas.openxmlformats.org/officeDocument/2006/relationships/tags" Target="../tags/tag22.xml"/><Relationship Id="rId61" Type="http://schemas.openxmlformats.org/officeDocument/2006/relationships/tags" Target="../tags/tag78.xml"/><Relationship Id="rId82" Type="http://schemas.openxmlformats.org/officeDocument/2006/relationships/tags" Target="../tags/tag99.xml"/><Relationship Id="rId90" Type="http://schemas.openxmlformats.org/officeDocument/2006/relationships/notesSlide" Target="../notesSlides/notesSlide1.xml"/><Relationship Id="rId19" Type="http://schemas.openxmlformats.org/officeDocument/2006/relationships/tags" Target="../tags/tag36.xml"/><Relationship Id="rId14" Type="http://schemas.openxmlformats.org/officeDocument/2006/relationships/tags" Target="../tags/tag31.xml"/><Relationship Id="rId22" Type="http://schemas.openxmlformats.org/officeDocument/2006/relationships/tags" Target="../tags/tag39.xml"/><Relationship Id="rId27" Type="http://schemas.openxmlformats.org/officeDocument/2006/relationships/tags" Target="../tags/tag44.xml"/><Relationship Id="rId30" Type="http://schemas.openxmlformats.org/officeDocument/2006/relationships/tags" Target="../tags/tag47.xml"/><Relationship Id="rId35" Type="http://schemas.openxmlformats.org/officeDocument/2006/relationships/tags" Target="../tags/tag52.xml"/><Relationship Id="rId43" Type="http://schemas.openxmlformats.org/officeDocument/2006/relationships/tags" Target="../tags/tag60.xml"/><Relationship Id="rId48" Type="http://schemas.openxmlformats.org/officeDocument/2006/relationships/tags" Target="../tags/tag65.xml"/><Relationship Id="rId56" Type="http://schemas.openxmlformats.org/officeDocument/2006/relationships/tags" Target="../tags/tag73.xml"/><Relationship Id="rId64" Type="http://schemas.openxmlformats.org/officeDocument/2006/relationships/tags" Target="../tags/tag81.xml"/><Relationship Id="rId69" Type="http://schemas.openxmlformats.org/officeDocument/2006/relationships/tags" Target="../tags/tag86.xml"/><Relationship Id="rId77" Type="http://schemas.openxmlformats.org/officeDocument/2006/relationships/tags" Target="../tags/tag94.xml"/><Relationship Id="rId8" Type="http://schemas.openxmlformats.org/officeDocument/2006/relationships/tags" Target="../tags/tag25.xml"/><Relationship Id="rId51" Type="http://schemas.openxmlformats.org/officeDocument/2006/relationships/tags" Target="../tags/tag68.xml"/><Relationship Id="rId72" Type="http://schemas.openxmlformats.org/officeDocument/2006/relationships/tags" Target="../tags/tag89.xml"/><Relationship Id="rId80" Type="http://schemas.openxmlformats.org/officeDocument/2006/relationships/tags" Target="../tags/tag97.xml"/><Relationship Id="rId85" Type="http://schemas.openxmlformats.org/officeDocument/2006/relationships/tags" Target="../tags/tag102.xml"/><Relationship Id="rId3" Type="http://schemas.openxmlformats.org/officeDocument/2006/relationships/tags" Target="../tags/tag20.xml"/><Relationship Id="rId12" Type="http://schemas.openxmlformats.org/officeDocument/2006/relationships/tags" Target="../tags/tag29.xml"/><Relationship Id="rId17" Type="http://schemas.openxmlformats.org/officeDocument/2006/relationships/tags" Target="../tags/tag34.xml"/><Relationship Id="rId25" Type="http://schemas.openxmlformats.org/officeDocument/2006/relationships/tags" Target="../tags/tag42.xml"/><Relationship Id="rId33" Type="http://schemas.openxmlformats.org/officeDocument/2006/relationships/tags" Target="../tags/tag50.xml"/><Relationship Id="rId38" Type="http://schemas.openxmlformats.org/officeDocument/2006/relationships/tags" Target="../tags/tag55.xml"/><Relationship Id="rId46" Type="http://schemas.openxmlformats.org/officeDocument/2006/relationships/tags" Target="../tags/tag63.xml"/><Relationship Id="rId59" Type="http://schemas.openxmlformats.org/officeDocument/2006/relationships/tags" Target="../tags/tag76.xml"/><Relationship Id="rId67" Type="http://schemas.openxmlformats.org/officeDocument/2006/relationships/tags" Target="../tags/tag84.xml"/><Relationship Id="rId20" Type="http://schemas.openxmlformats.org/officeDocument/2006/relationships/tags" Target="../tags/tag37.xml"/><Relationship Id="rId41" Type="http://schemas.openxmlformats.org/officeDocument/2006/relationships/tags" Target="../tags/tag58.xml"/><Relationship Id="rId54" Type="http://schemas.openxmlformats.org/officeDocument/2006/relationships/tags" Target="../tags/tag71.xml"/><Relationship Id="rId62" Type="http://schemas.openxmlformats.org/officeDocument/2006/relationships/tags" Target="../tags/tag79.xml"/><Relationship Id="rId70" Type="http://schemas.openxmlformats.org/officeDocument/2006/relationships/tags" Target="../tags/tag87.xml"/><Relationship Id="rId75" Type="http://schemas.openxmlformats.org/officeDocument/2006/relationships/tags" Target="../tags/tag92.xml"/><Relationship Id="rId83" Type="http://schemas.openxmlformats.org/officeDocument/2006/relationships/tags" Target="../tags/tag100.xml"/><Relationship Id="rId88" Type="http://schemas.openxmlformats.org/officeDocument/2006/relationships/tags" Target="../tags/tag105.xml"/><Relationship Id="rId91" Type="http://schemas.openxmlformats.org/officeDocument/2006/relationships/image" Target="../media/image8.emf"/><Relationship Id="rId1" Type="http://schemas.openxmlformats.org/officeDocument/2006/relationships/tags" Target="../tags/tag18.xml"/><Relationship Id="rId6" Type="http://schemas.openxmlformats.org/officeDocument/2006/relationships/tags" Target="../tags/tag23.xml"/><Relationship Id="rId15" Type="http://schemas.openxmlformats.org/officeDocument/2006/relationships/tags" Target="../tags/tag32.xml"/><Relationship Id="rId23" Type="http://schemas.openxmlformats.org/officeDocument/2006/relationships/tags" Target="../tags/tag40.xml"/><Relationship Id="rId28" Type="http://schemas.openxmlformats.org/officeDocument/2006/relationships/tags" Target="../tags/tag45.xml"/><Relationship Id="rId36" Type="http://schemas.openxmlformats.org/officeDocument/2006/relationships/tags" Target="../tags/tag53.xml"/><Relationship Id="rId49" Type="http://schemas.openxmlformats.org/officeDocument/2006/relationships/tags" Target="../tags/tag66.xml"/><Relationship Id="rId57" Type="http://schemas.openxmlformats.org/officeDocument/2006/relationships/tags" Target="../tags/tag74.xml"/><Relationship Id="rId10" Type="http://schemas.openxmlformats.org/officeDocument/2006/relationships/tags" Target="../tags/tag27.xml"/><Relationship Id="rId31" Type="http://schemas.openxmlformats.org/officeDocument/2006/relationships/tags" Target="../tags/tag48.xml"/><Relationship Id="rId44" Type="http://schemas.openxmlformats.org/officeDocument/2006/relationships/tags" Target="../tags/tag61.xml"/><Relationship Id="rId52" Type="http://schemas.openxmlformats.org/officeDocument/2006/relationships/tags" Target="../tags/tag69.xml"/><Relationship Id="rId60" Type="http://schemas.openxmlformats.org/officeDocument/2006/relationships/tags" Target="../tags/tag77.xml"/><Relationship Id="rId65" Type="http://schemas.openxmlformats.org/officeDocument/2006/relationships/tags" Target="../tags/tag82.xml"/><Relationship Id="rId73" Type="http://schemas.openxmlformats.org/officeDocument/2006/relationships/tags" Target="../tags/tag90.xml"/><Relationship Id="rId78" Type="http://schemas.openxmlformats.org/officeDocument/2006/relationships/tags" Target="../tags/tag95.xml"/><Relationship Id="rId81" Type="http://schemas.openxmlformats.org/officeDocument/2006/relationships/tags" Target="../tags/tag98.xml"/><Relationship Id="rId86" Type="http://schemas.openxmlformats.org/officeDocument/2006/relationships/tags" Target="../tags/tag103.xml"/><Relationship Id="rId4" Type="http://schemas.openxmlformats.org/officeDocument/2006/relationships/tags" Target="../tags/tag21.xml"/><Relationship Id="rId9" Type="http://schemas.openxmlformats.org/officeDocument/2006/relationships/tags" Target="../tags/tag2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1D2B84E-EA02-3211-A6CE-AFC2F03397D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08911" y="1515849"/>
            <a:ext cx="5853814" cy="2529099"/>
          </a:xfrm>
        </p:spPr>
        <p:txBody>
          <a:bodyPr/>
          <a:lstStyle/>
          <a:p>
            <a:r>
              <a:rPr lang="es-MX" dirty="0" err="1"/>
              <a:t>RoadMap</a:t>
            </a:r>
            <a:br>
              <a:rPr lang="en-US" dirty="0"/>
            </a:br>
            <a:r>
              <a:rPr lang="es-MX" dirty="0"/>
              <a:t>Digital </a:t>
            </a:r>
            <a:r>
              <a:rPr lang="es-MX" dirty="0" err="1"/>
              <a:t>Ecosystem</a:t>
            </a:r>
            <a:r>
              <a:rPr lang="es-MX" dirty="0"/>
              <a:t>	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8F622DE-AB8F-8CA4-1152-3FAC89FB6C9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s-MX" dirty="0"/>
              <a:t>Eng. </a:t>
            </a:r>
            <a:r>
              <a:rPr lang="es-MX" dirty="0" err="1"/>
              <a:t>Americas</a:t>
            </a:r>
            <a:endParaRPr lang="en-US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150B9F69-67DE-0E24-F97E-6EC7985243A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9256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8" name="Rechteck 7">
            <a:extLst>
              <a:ext uri="{FF2B5EF4-FFF2-40B4-BE49-F238E27FC236}">
                <a16:creationId xmlns:a16="http://schemas.microsoft.com/office/drawing/2014/main" id="{44A69474-84B4-78EF-899C-0CF910EC6619}"/>
              </a:ext>
            </a:extLst>
          </p:cNvPr>
          <p:cNvSpPr>
            <a:spLocks noGrp="1" noRot="1" noEditPoints="1" noAdjustHandles="1" noChangeArrowheads="1" noChangeShapeType="1"/>
          </p:cNvSpPr>
          <p:nvPr>
            <p:custDataLst>
              <p:tags r:id="rId1"/>
            </p:custDataLst>
          </p:nvPr>
        </p:nvSpPr>
        <p:spPr>
          <a:xfrm>
            <a:off x="42677" y="54865"/>
            <a:ext cx="12134076" cy="6821657"/>
          </a:xfrm>
          <a:prstGeom prst="rect">
            <a:avLst/>
          </a:prstGeom>
          <a:noFill/>
          <a:ln w="0" cap="flat" cmpd="sng" algn="ctr">
            <a:solidFill>
              <a:prstClr val="black">
                <a:alpha val="0"/>
              </a:prst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95300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b="0" i="0" u="none" baseline="0">
                <a:solidFill>
                  <a:srgbClr val="000000"/>
                </a:solidFill>
                <a:latin typeface="Arial" panose="020B0604020202020204" pitchFamily="34" charset="0"/>
                <a:cs typeface="Segoe UI Light" panose="020B0502040204020203" pitchFamily="34" charset="0"/>
              </a:rPr>
              <a:t>​</a:t>
            </a:r>
            <a:endParaRPr lang="en-US" sz="1600" b="0" i="0" u="none" baseline="0" dirty="0">
              <a:solidFill>
                <a:srgbClr val="000000"/>
              </a:solidFill>
              <a:latin typeface="Arial" panose="020B0604020202020204" pitchFamily="34" charset="0"/>
              <a:cs typeface="Segoe UI Light" panose="020B0502040204020203" pitchFamily="34" charset="0"/>
            </a:endParaRPr>
          </a:p>
        </p:txBody>
      </p:sp>
      <p:grpSp>
        <p:nvGrpSpPr>
          <p:cNvPr id="541" name="Group 540">
            <a:extLst>
              <a:ext uri="{FF2B5EF4-FFF2-40B4-BE49-F238E27FC236}">
                <a16:creationId xmlns:a16="http://schemas.microsoft.com/office/drawing/2014/main" id="{21F19F09-22CA-A425-3988-0891B904008E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2677" y="54865"/>
            <a:ext cx="12134076" cy="6821657"/>
            <a:chOff x="42677" y="54865"/>
            <a:chExt cx="12134076" cy="6821657"/>
          </a:xfrm>
        </p:grpSpPr>
        <p:pic>
          <p:nvPicPr>
            <p:cNvPr id="540" name="Picture 539">
              <a:extLst>
                <a:ext uri="{FF2B5EF4-FFF2-40B4-BE49-F238E27FC236}">
                  <a16:creationId xmlns:a16="http://schemas.microsoft.com/office/drawing/2014/main" id="{166C163C-FD2D-627B-17E6-1333893E2550}"/>
                </a:ext>
              </a:extLst>
            </p:cNvPr>
            <p:cNvPicPr>
              <a:picLocks/>
            </p:cNvPicPr>
            <p:nvPr/>
          </p:nvPicPr>
          <p:blipFill>
            <a:blip r:embed="rId9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678" y="54866"/>
              <a:ext cx="12134075" cy="6821656"/>
            </a:xfrm>
            <a:prstGeom prst="rect">
              <a:avLst/>
            </a:prstGeom>
          </p:spPr>
        </p:pic>
        <p:sp>
          <p:nvSpPr>
            <p:cNvPr id="6" name="Rectangle 5" hidden="1">
              <a:extLst>
                <a:ext uri="{FF2B5EF4-FFF2-40B4-BE49-F238E27FC236}">
                  <a16:creationId xmlns:a16="http://schemas.microsoft.com/office/drawing/2014/main" id="{EC3ABF94-C91A-52E0-9189-6BAD9C7C40C1}"/>
                </a:ext>
              </a:extLst>
            </p:cNvPr>
            <p:cNvSpPr/>
            <p:nvPr>
              <p:custDataLst>
                <p:tags r:id="rId3"/>
              </p:custDataLst>
            </p:nvPr>
          </p:nvSpPr>
          <p:spPr>
            <a:xfrm>
              <a:off x="6114669" y="3470647"/>
              <a:ext cx="12700" cy="12700"/>
            </a:xfrm>
            <a:prstGeom prst="rect">
              <a:avLst/>
            </a:prstGeom>
            <a:noFill/>
            <a:ln w="0" cap="flat" cmpd="sng" algn="ctr">
              <a:solidFill>
                <a:schemeClr val="accent1">
                  <a:shade val="15000"/>
                  <a:alpha val="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B874E3CA-3DFA-7DE4-F423-7024449B0DCD}"/>
                </a:ext>
              </a:extLst>
            </p:cNvPr>
            <p:cNvSpPr txBox="1"/>
            <p:nvPr>
              <p:custDataLst>
                <p:tags r:id="rId4"/>
              </p:custDataLst>
            </p:nvPr>
          </p:nvSpPr>
          <p:spPr>
            <a:xfrm>
              <a:off x="1534236" y="56453"/>
              <a:ext cx="1022763" cy="189905"/>
            </a:xfrm>
            <a:prstGeom prst="rect">
              <a:avLst/>
            </a:prstGeom>
            <a:solidFill>
              <a:srgbClr val="00617F"/>
            </a:solidFill>
            <a:ln w="3175">
              <a:solidFill>
                <a:srgbClr val="FFFFFF"/>
              </a:solidFill>
            </a:ln>
          </p:spPr>
          <p:txBody>
            <a:bodyPr vert="horz" wrap="none" lIns="1588" tIns="1588" rIns="1588" bIns="1588" rtlCol="0" anchor="ctr" anchorCtr="1">
              <a:noAutofit/>
            </a:bodyPr>
            <a:lstStyle/>
            <a:p>
              <a:pPr algn="ctr" defTabSz="495300"/>
              <a:r>
                <a:rPr lang="en-US" sz="1200">
                  <a:solidFill>
                    <a:srgbClr val="FFFFFF"/>
                  </a:solidFill>
                  <a:latin typeface="Arial" panose="020B0604020202020204" pitchFamily="34" charset="0"/>
                </a:rPr>
                <a:t>April</a:t>
              </a: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53F1075E-A420-FA16-A3BB-0E1FF085041B}"/>
                </a:ext>
              </a:extLst>
            </p:cNvPr>
            <p:cNvSpPr txBox="1"/>
            <p:nvPr>
              <p:custDataLst>
                <p:tags r:id="rId5"/>
              </p:custDataLst>
            </p:nvPr>
          </p:nvSpPr>
          <p:spPr>
            <a:xfrm>
              <a:off x="2560174" y="56453"/>
              <a:ext cx="1984579" cy="189905"/>
            </a:xfrm>
            <a:prstGeom prst="rect">
              <a:avLst/>
            </a:prstGeom>
            <a:solidFill>
              <a:srgbClr val="00617F"/>
            </a:solidFill>
            <a:ln w="3175">
              <a:solidFill>
                <a:srgbClr val="FFFFFF"/>
              </a:solidFill>
            </a:ln>
          </p:spPr>
          <p:txBody>
            <a:bodyPr vert="horz" wrap="none" lIns="1588" tIns="1588" rIns="1588" bIns="1588" rtlCol="0" anchor="ctr" anchorCtr="1">
              <a:noAutofit/>
            </a:bodyPr>
            <a:lstStyle/>
            <a:p>
              <a:pPr algn="ctr" defTabSz="495300"/>
              <a:r>
                <a:rPr lang="en-US" sz="1200">
                  <a:solidFill>
                    <a:srgbClr val="FFFFFF"/>
                  </a:solidFill>
                  <a:latin typeface="Arial" panose="020B0604020202020204" pitchFamily="34" charset="0"/>
                </a:rPr>
                <a:t>May</a:t>
              </a: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A0A52F95-E30B-768C-2792-81817936A662}"/>
                </a:ext>
              </a:extLst>
            </p:cNvPr>
            <p:cNvSpPr txBox="1"/>
            <p:nvPr>
              <p:custDataLst>
                <p:tags r:id="rId6"/>
              </p:custDataLst>
            </p:nvPr>
          </p:nvSpPr>
          <p:spPr>
            <a:xfrm>
              <a:off x="4547929" y="56453"/>
              <a:ext cx="1920458" cy="189905"/>
            </a:xfrm>
            <a:prstGeom prst="rect">
              <a:avLst/>
            </a:prstGeom>
            <a:solidFill>
              <a:srgbClr val="00617F"/>
            </a:solidFill>
            <a:ln w="3175">
              <a:solidFill>
                <a:srgbClr val="FFFFFF"/>
              </a:solidFill>
            </a:ln>
          </p:spPr>
          <p:txBody>
            <a:bodyPr vert="horz" wrap="none" lIns="1588" tIns="1588" rIns="1588" bIns="1588" rtlCol="0" anchor="ctr" anchorCtr="1">
              <a:noAutofit/>
            </a:bodyPr>
            <a:lstStyle/>
            <a:p>
              <a:pPr algn="ctr" defTabSz="495300"/>
              <a:r>
                <a:rPr lang="en-US" sz="1200">
                  <a:solidFill>
                    <a:srgbClr val="FFFFFF"/>
                  </a:solidFill>
                  <a:latin typeface="Arial" panose="020B0604020202020204" pitchFamily="34" charset="0"/>
                </a:rPr>
                <a:t>June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70B99247-50FA-896C-03C9-1290357129E7}"/>
                </a:ext>
              </a:extLst>
            </p:cNvPr>
            <p:cNvSpPr txBox="1"/>
            <p:nvPr>
              <p:custDataLst>
                <p:tags r:id="rId7"/>
              </p:custDataLst>
            </p:nvPr>
          </p:nvSpPr>
          <p:spPr>
            <a:xfrm>
              <a:off x="1534235" y="249534"/>
              <a:ext cx="445673" cy="189905"/>
            </a:xfrm>
            <a:prstGeom prst="rect">
              <a:avLst/>
            </a:prstGeom>
            <a:solidFill>
              <a:srgbClr val="33A7E5"/>
            </a:solidFill>
            <a:ln w="3175">
              <a:solidFill>
                <a:srgbClr val="FFFFFF"/>
              </a:solidFill>
            </a:ln>
          </p:spPr>
          <p:txBody>
            <a:bodyPr vert="horz" wrap="none" lIns="1588" tIns="1588" rIns="1588" bIns="1588" rtlCol="0" anchor="ctr" anchorCtr="1">
              <a:noAutofit/>
            </a:bodyPr>
            <a:lstStyle/>
            <a:p>
              <a:pPr algn="ctr" defTabSz="495300"/>
              <a:r>
                <a:rPr lang="en-US" sz="1200">
                  <a:solidFill>
                    <a:srgbClr val="FFFFFF"/>
                  </a:solidFill>
                  <a:latin typeface="Arial" panose="020B0604020202020204" pitchFamily="34" charset="0"/>
                </a:rPr>
                <a:t>16</a:t>
              </a: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F2F26A6B-3641-546B-AFE5-CBFA6C3A0C24}"/>
                </a:ext>
              </a:extLst>
            </p:cNvPr>
            <p:cNvSpPr txBox="1"/>
            <p:nvPr>
              <p:custDataLst>
                <p:tags r:id="rId8"/>
              </p:custDataLst>
            </p:nvPr>
          </p:nvSpPr>
          <p:spPr>
            <a:xfrm>
              <a:off x="1983084" y="249534"/>
              <a:ext cx="445673" cy="189905"/>
            </a:xfrm>
            <a:prstGeom prst="rect">
              <a:avLst/>
            </a:prstGeom>
            <a:solidFill>
              <a:srgbClr val="33A7E5"/>
            </a:solidFill>
            <a:ln w="3175">
              <a:solidFill>
                <a:srgbClr val="FFFFFF"/>
              </a:solidFill>
            </a:ln>
          </p:spPr>
          <p:txBody>
            <a:bodyPr vert="horz" wrap="none" lIns="1588" tIns="1588" rIns="1588" bIns="1588" rtlCol="0" anchor="ctr" anchorCtr="1">
              <a:noAutofit/>
            </a:bodyPr>
            <a:lstStyle/>
            <a:p>
              <a:pPr algn="ctr" defTabSz="495300"/>
              <a:r>
                <a:rPr lang="en-US" sz="1200">
                  <a:solidFill>
                    <a:srgbClr val="FFFFFF"/>
                  </a:solidFill>
                  <a:latin typeface="Arial" panose="020B0604020202020204" pitchFamily="34" charset="0"/>
                </a:rPr>
                <a:t>17</a:t>
              </a: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12075341-ACD8-8A86-70B1-E9B9577CD11C}"/>
                </a:ext>
              </a:extLst>
            </p:cNvPr>
            <p:cNvSpPr txBox="1"/>
            <p:nvPr>
              <p:custDataLst>
                <p:tags r:id="rId9"/>
              </p:custDataLst>
            </p:nvPr>
          </p:nvSpPr>
          <p:spPr>
            <a:xfrm>
              <a:off x="2431932" y="249534"/>
              <a:ext cx="445673" cy="189905"/>
            </a:xfrm>
            <a:prstGeom prst="rect">
              <a:avLst/>
            </a:prstGeom>
            <a:solidFill>
              <a:srgbClr val="33A7E5"/>
            </a:solidFill>
            <a:ln w="3175">
              <a:solidFill>
                <a:srgbClr val="FFFFFF"/>
              </a:solidFill>
            </a:ln>
          </p:spPr>
          <p:txBody>
            <a:bodyPr vert="horz" wrap="none" lIns="1588" tIns="1588" rIns="1588" bIns="1588" rtlCol="0" anchor="ctr" anchorCtr="1">
              <a:noAutofit/>
            </a:bodyPr>
            <a:lstStyle/>
            <a:p>
              <a:pPr algn="ctr" defTabSz="495300"/>
              <a:r>
                <a:rPr lang="en-US" sz="1200">
                  <a:solidFill>
                    <a:srgbClr val="FFFFFF"/>
                  </a:solidFill>
                  <a:latin typeface="Arial" panose="020B0604020202020204" pitchFamily="34" charset="0"/>
                </a:rPr>
                <a:t>18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F556502A-A7C9-F6A8-BD3E-1A9655BE69FF}"/>
                </a:ext>
              </a:extLst>
            </p:cNvPr>
            <p:cNvSpPr txBox="1"/>
            <p:nvPr>
              <p:custDataLst>
                <p:tags r:id="rId10"/>
              </p:custDataLst>
            </p:nvPr>
          </p:nvSpPr>
          <p:spPr>
            <a:xfrm>
              <a:off x="2880780" y="249534"/>
              <a:ext cx="445673" cy="189905"/>
            </a:xfrm>
            <a:prstGeom prst="rect">
              <a:avLst/>
            </a:prstGeom>
            <a:solidFill>
              <a:srgbClr val="33A7E5"/>
            </a:solidFill>
            <a:ln w="3175">
              <a:solidFill>
                <a:srgbClr val="FFFFFF"/>
              </a:solidFill>
            </a:ln>
          </p:spPr>
          <p:txBody>
            <a:bodyPr vert="horz" wrap="none" lIns="1588" tIns="1588" rIns="1588" bIns="1588" rtlCol="0" anchor="ctr" anchorCtr="1">
              <a:noAutofit/>
            </a:bodyPr>
            <a:lstStyle/>
            <a:p>
              <a:pPr algn="ctr" defTabSz="495300"/>
              <a:r>
                <a:rPr lang="en-US" sz="1200">
                  <a:solidFill>
                    <a:srgbClr val="FFFFFF"/>
                  </a:solidFill>
                  <a:latin typeface="Arial" panose="020B0604020202020204" pitchFamily="34" charset="0"/>
                </a:rPr>
                <a:t>19</a:t>
              </a: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43E36B62-3380-E2C6-814D-1C301EE45280}"/>
                </a:ext>
              </a:extLst>
            </p:cNvPr>
            <p:cNvSpPr txBox="1"/>
            <p:nvPr>
              <p:custDataLst>
                <p:tags r:id="rId11"/>
              </p:custDataLst>
            </p:nvPr>
          </p:nvSpPr>
          <p:spPr>
            <a:xfrm>
              <a:off x="3329627" y="249534"/>
              <a:ext cx="445673" cy="189905"/>
            </a:xfrm>
            <a:prstGeom prst="rect">
              <a:avLst/>
            </a:prstGeom>
            <a:solidFill>
              <a:srgbClr val="33A7E5"/>
            </a:solidFill>
            <a:ln w="3175">
              <a:solidFill>
                <a:srgbClr val="FFFFFF"/>
              </a:solidFill>
            </a:ln>
          </p:spPr>
          <p:txBody>
            <a:bodyPr vert="horz" wrap="none" lIns="1588" tIns="1588" rIns="1588" bIns="1588" rtlCol="0" anchor="ctr" anchorCtr="1">
              <a:noAutofit/>
            </a:bodyPr>
            <a:lstStyle/>
            <a:p>
              <a:pPr algn="ctr" defTabSz="495300"/>
              <a:r>
                <a:rPr lang="en-US" sz="1200">
                  <a:solidFill>
                    <a:srgbClr val="FFFFFF"/>
                  </a:solidFill>
                  <a:latin typeface="Arial" panose="020B0604020202020204" pitchFamily="34" charset="0"/>
                </a:rPr>
                <a:t>20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144CA99F-6E04-4B21-2737-CC743BE0C8EA}"/>
                </a:ext>
              </a:extLst>
            </p:cNvPr>
            <p:cNvSpPr txBox="1"/>
            <p:nvPr>
              <p:custDataLst>
                <p:tags r:id="rId12"/>
              </p:custDataLst>
            </p:nvPr>
          </p:nvSpPr>
          <p:spPr>
            <a:xfrm>
              <a:off x="3778475" y="249534"/>
              <a:ext cx="445673" cy="189905"/>
            </a:xfrm>
            <a:prstGeom prst="rect">
              <a:avLst/>
            </a:prstGeom>
            <a:solidFill>
              <a:srgbClr val="33A7E5"/>
            </a:solidFill>
            <a:ln w="3175">
              <a:solidFill>
                <a:srgbClr val="FFFFFF"/>
              </a:solidFill>
            </a:ln>
          </p:spPr>
          <p:txBody>
            <a:bodyPr vert="horz" wrap="none" lIns="1588" tIns="1588" rIns="1588" bIns="1588" rtlCol="0" anchor="ctr" anchorCtr="1">
              <a:noAutofit/>
            </a:bodyPr>
            <a:lstStyle/>
            <a:p>
              <a:pPr algn="ctr" defTabSz="495300"/>
              <a:r>
                <a:rPr lang="en-US" sz="1200">
                  <a:solidFill>
                    <a:srgbClr val="FFFFFF"/>
                  </a:solidFill>
                  <a:latin typeface="Arial" panose="020B0604020202020204" pitchFamily="34" charset="0"/>
                </a:rPr>
                <a:t>21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2914C590-8B56-078F-8C51-4CC939B99F2B}"/>
                </a:ext>
              </a:extLst>
            </p:cNvPr>
            <p:cNvSpPr txBox="1"/>
            <p:nvPr>
              <p:custDataLst>
                <p:tags r:id="rId13"/>
              </p:custDataLst>
            </p:nvPr>
          </p:nvSpPr>
          <p:spPr>
            <a:xfrm>
              <a:off x="4227323" y="249534"/>
              <a:ext cx="445673" cy="189905"/>
            </a:xfrm>
            <a:prstGeom prst="rect">
              <a:avLst/>
            </a:prstGeom>
            <a:solidFill>
              <a:srgbClr val="33A7E5"/>
            </a:solidFill>
            <a:ln w="3175">
              <a:solidFill>
                <a:srgbClr val="FFFFFF"/>
              </a:solidFill>
            </a:ln>
          </p:spPr>
          <p:txBody>
            <a:bodyPr vert="horz" wrap="none" lIns="1588" tIns="1588" rIns="1588" bIns="1588" rtlCol="0" anchor="ctr" anchorCtr="1">
              <a:noAutofit/>
            </a:bodyPr>
            <a:lstStyle/>
            <a:p>
              <a:pPr algn="ctr" defTabSz="495300"/>
              <a:r>
                <a:rPr lang="en-US" sz="1200">
                  <a:solidFill>
                    <a:srgbClr val="FFFFFF"/>
                  </a:solidFill>
                  <a:latin typeface="Arial" panose="020B0604020202020204" pitchFamily="34" charset="0"/>
                </a:rPr>
                <a:t>22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19CCBB93-BA7C-1A6E-BE4E-70CFB6642A9C}"/>
                </a:ext>
              </a:extLst>
            </p:cNvPr>
            <p:cNvSpPr txBox="1"/>
            <p:nvPr>
              <p:custDataLst>
                <p:tags r:id="rId14"/>
              </p:custDataLst>
            </p:nvPr>
          </p:nvSpPr>
          <p:spPr>
            <a:xfrm>
              <a:off x="4676171" y="249534"/>
              <a:ext cx="445673" cy="189905"/>
            </a:xfrm>
            <a:prstGeom prst="rect">
              <a:avLst/>
            </a:prstGeom>
            <a:solidFill>
              <a:srgbClr val="33A7E5"/>
            </a:solidFill>
            <a:ln w="3175">
              <a:solidFill>
                <a:srgbClr val="FFFFFF"/>
              </a:solidFill>
            </a:ln>
          </p:spPr>
          <p:txBody>
            <a:bodyPr vert="horz" wrap="none" lIns="1588" tIns="1588" rIns="1588" bIns="1588" rtlCol="0" anchor="ctr" anchorCtr="1">
              <a:noAutofit/>
            </a:bodyPr>
            <a:lstStyle/>
            <a:p>
              <a:pPr algn="ctr" defTabSz="495300"/>
              <a:r>
                <a:rPr lang="en-US" sz="1200">
                  <a:solidFill>
                    <a:srgbClr val="FFFFFF"/>
                  </a:solidFill>
                  <a:latin typeface="Arial" panose="020B0604020202020204" pitchFamily="34" charset="0"/>
                </a:rPr>
                <a:t>23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FC057803-0A16-8A81-ED95-1E7FD501D03A}"/>
                </a:ext>
              </a:extLst>
            </p:cNvPr>
            <p:cNvSpPr txBox="1"/>
            <p:nvPr>
              <p:custDataLst>
                <p:tags r:id="rId15"/>
              </p:custDataLst>
            </p:nvPr>
          </p:nvSpPr>
          <p:spPr>
            <a:xfrm>
              <a:off x="5125019" y="249534"/>
              <a:ext cx="445673" cy="189905"/>
            </a:xfrm>
            <a:prstGeom prst="rect">
              <a:avLst/>
            </a:prstGeom>
            <a:solidFill>
              <a:srgbClr val="33A7E5"/>
            </a:solidFill>
            <a:ln w="3175">
              <a:solidFill>
                <a:srgbClr val="FFFFFF"/>
              </a:solidFill>
            </a:ln>
          </p:spPr>
          <p:txBody>
            <a:bodyPr vert="horz" wrap="none" lIns="1588" tIns="1588" rIns="1588" bIns="1588" rtlCol="0" anchor="ctr" anchorCtr="1">
              <a:noAutofit/>
            </a:bodyPr>
            <a:lstStyle/>
            <a:p>
              <a:pPr algn="ctr" defTabSz="495300"/>
              <a:r>
                <a:rPr lang="en-US" sz="1200">
                  <a:solidFill>
                    <a:srgbClr val="FFFFFF"/>
                  </a:solidFill>
                  <a:latin typeface="Arial" panose="020B0604020202020204" pitchFamily="34" charset="0"/>
                </a:rPr>
                <a:t>24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82105F27-6C5B-7E44-D1F9-E129EAD7F287}"/>
                </a:ext>
              </a:extLst>
            </p:cNvPr>
            <p:cNvSpPr txBox="1"/>
            <p:nvPr>
              <p:custDataLst>
                <p:tags r:id="rId16"/>
              </p:custDataLst>
            </p:nvPr>
          </p:nvSpPr>
          <p:spPr>
            <a:xfrm>
              <a:off x="5573866" y="249534"/>
              <a:ext cx="445673" cy="189905"/>
            </a:xfrm>
            <a:prstGeom prst="rect">
              <a:avLst/>
            </a:prstGeom>
            <a:solidFill>
              <a:srgbClr val="33A7E5"/>
            </a:solidFill>
            <a:ln w="3175">
              <a:solidFill>
                <a:srgbClr val="FFFFFF"/>
              </a:solidFill>
            </a:ln>
          </p:spPr>
          <p:txBody>
            <a:bodyPr vert="horz" wrap="none" lIns="1588" tIns="1588" rIns="1588" bIns="1588" rtlCol="0" anchor="ctr" anchorCtr="1">
              <a:noAutofit/>
            </a:bodyPr>
            <a:lstStyle/>
            <a:p>
              <a:pPr algn="ctr" defTabSz="495300"/>
              <a:r>
                <a:rPr lang="en-US" sz="1200">
                  <a:solidFill>
                    <a:srgbClr val="FFFFFF"/>
                  </a:solidFill>
                  <a:latin typeface="Arial" panose="020B0604020202020204" pitchFamily="34" charset="0"/>
                </a:rPr>
                <a:t>25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B5BD13D4-08B1-FCFC-8B82-548D7574A50E}"/>
                </a:ext>
              </a:extLst>
            </p:cNvPr>
            <p:cNvSpPr txBox="1"/>
            <p:nvPr>
              <p:custDataLst>
                <p:tags r:id="rId17"/>
              </p:custDataLst>
            </p:nvPr>
          </p:nvSpPr>
          <p:spPr>
            <a:xfrm>
              <a:off x="6022714" y="249534"/>
              <a:ext cx="445673" cy="189905"/>
            </a:xfrm>
            <a:prstGeom prst="rect">
              <a:avLst/>
            </a:prstGeom>
            <a:solidFill>
              <a:srgbClr val="33A7E5"/>
            </a:solidFill>
            <a:ln w="3175">
              <a:solidFill>
                <a:srgbClr val="FFFFFF"/>
              </a:solidFill>
            </a:ln>
          </p:spPr>
          <p:txBody>
            <a:bodyPr vert="horz" wrap="none" lIns="1588" tIns="1588" rIns="1588" bIns="1588" rtlCol="0" anchor="ctr" anchorCtr="1">
              <a:noAutofit/>
            </a:bodyPr>
            <a:lstStyle/>
            <a:p>
              <a:pPr algn="ctr" defTabSz="495300"/>
              <a:r>
                <a:rPr lang="en-US" sz="1200">
                  <a:solidFill>
                    <a:srgbClr val="FFFFFF"/>
                  </a:solidFill>
                  <a:latin typeface="Arial" panose="020B0604020202020204" pitchFamily="34" charset="0"/>
                </a:rPr>
                <a:t>26</a:t>
              </a:r>
            </a:p>
          </p:txBody>
        </p:sp>
        <p:sp>
          <p:nvSpPr>
            <p:cNvPr id="259" name="TextBox 258">
              <a:extLst>
                <a:ext uri="{FF2B5EF4-FFF2-40B4-BE49-F238E27FC236}">
                  <a16:creationId xmlns:a16="http://schemas.microsoft.com/office/drawing/2014/main" id="{0F768A62-D709-81E3-A3A5-F72B9EDC469C}"/>
                </a:ext>
              </a:extLst>
            </p:cNvPr>
            <p:cNvSpPr txBox="1"/>
            <p:nvPr>
              <p:custDataLst>
                <p:tags r:id="rId18"/>
              </p:custDataLst>
            </p:nvPr>
          </p:nvSpPr>
          <p:spPr>
            <a:xfrm>
              <a:off x="6471562" y="56453"/>
              <a:ext cx="1984579" cy="189905"/>
            </a:xfrm>
            <a:prstGeom prst="rect">
              <a:avLst/>
            </a:prstGeom>
            <a:solidFill>
              <a:srgbClr val="00617F"/>
            </a:solidFill>
            <a:ln w="3175">
              <a:solidFill>
                <a:srgbClr val="FFFFFF"/>
              </a:solidFill>
            </a:ln>
          </p:spPr>
          <p:txBody>
            <a:bodyPr vert="horz" wrap="none" lIns="1588" tIns="1588" rIns="1588" bIns="1588" rtlCol="0" anchor="ctr" anchorCtr="1">
              <a:noAutofit/>
            </a:bodyPr>
            <a:lstStyle/>
            <a:p>
              <a:pPr algn="ctr" defTabSz="495300"/>
              <a:r>
                <a:rPr lang="en-US" sz="1200">
                  <a:solidFill>
                    <a:srgbClr val="FFFFFF"/>
                  </a:solidFill>
                  <a:latin typeface="Arial" panose="020B0604020202020204" pitchFamily="34" charset="0"/>
                </a:rPr>
                <a:t>July</a:t>
              </a:r>
            </a:p>
          </p:txBody>
        </p:sp>
        <p:sp>
          <p:nvSpPr>
            <p:cNvPr id="260" name="TextBox 259">
              <a:extLst>
                <a:ext uri="{FF2B5EF4-FFF2-40B4-BE49-F238E27FC236}">
                  <a16:creationId xmlns:a16="http://schemas.microsoft.com/office/drawing/2014/main" id="{CEDB5FB8-F09D-17B4-7880-8780698023BE}"/>
                </a:ext>
              </a:extLst>
            </p:cNvPr>
            <p:cNvSpPr txBox="1"/>
            <p:nvPr>
              <p:custDataLst>
                <p:tags r:id="rId19"/>
              </p:custDataLst>
            </p:nvPr>
          </p:nvSpPr>
          <p:spPr>
            <a:xfrm>
              <a:off x="8459316" y="56453"/>
              <a:ext cx="1984579" cy="189905"/>
            </a:xfrm>
            <a:prstGeom prst="rect">
              <a:avLst/>
            </a:prstGeom>
            <a:solidFill>
              <a:srgbClr val="00617F"/>
            </a:solidFill>
            <a:ln w="3175">
              <a:solidFill>
                <a:srgbClr val="FFFFFF"/>
              </a:solidFill>
            </a:ln>
          </p:spPr>
          <p:txBody>
            <a:bodyPr vert="horz" wrap="none" lIns="1588" tIns="1588" rIns="1588" bIns="1588" rtlCol="0" anchor="ctr" anchorCtr="1">
              <a:noAutofit/>
            </a:bodyPr>
            <a:lstStyle/>
            <a:p>
              <a:pPr algn="ctr" defTabSz="495300"/>
              <a:r>
                <a:rPr lang="en-US" sz="1200">
                  <a:solidFill>
                    <a:srgbClr val="FFFFFF"/>
                  </a:solidFill>
                  <a:latin typeface="Arial" panose="020B0604020202020204" pitchFamily="34" charset="0"/>
                </a:rPr>
                <a:t>August</a:t>
              </a:r>
            </a:p>
          </p:txBody>
        </p:sp>
        <p:sp>
          <p:nvSpPr>
            <p:cNvPr id="261" name="TextBox 260">
              <a:extLst>
                <a:ext uri="{FF2B5EF4-FFF2-40B4-BE49-F238E27FC236}">
                  <a16:creationId xmlns:a16="http://schemas.microsoft.com/office/drawing/2014/main" id="{D95D5482-D47D-2608-850D-9A2F832CB0F1}"/>
                </a:ext>
              </a:extLst>
            </p:cNvPr>
            <p:cNvSpPr txBox="1"/>
            <p:nvPr>
              <p:custDataLst>
                <p:tags r:id="rId20"/>
              </p:custDataLst>
            </p:nvPr>
          </p:nvSpPr>
          <p:spPr>
            <a:xfrm>
              <a:off x="10447071" y="56453"/>
              <a:ext cx="1728095" cy="189905"/>
            </a:xfrm>
            <a:prstGeom prst="rect">
              <a:avLst/>
            </a:prstGeom>
            <a:solidFill>
              <a:srgbClr val="00617F"/>
            </a:solidFill>
            <a:ln w="3175">
              <a:solidFill>
                <a:srgbClr val="FFFFFF"/>
              </a:solidFill>
            </a:ln>
          </p:spPr>
          <p:txBody>
            <a:bodyPr vert="horz" wrap="none" lIns="1588" tIns="1588" rIns="1588" bIns="1588" rtlCol="0" anchor="ctr" anchorCtr="1">
              <a:noAutofit/>
            </a:bodyPr>
            <a:lstStyle/>
            <a:p>
              <a:pPr algn="ctr" defTabSz="495300"/>
              <a:r>
                <a:rPr lang="en-US" sz="1200">
                  <a:solidFill>
                    <a:srgbClr val="FFFFFF"/>
                  </a:solidFill>
                  <a:latin typeface="Arial" panose="020B0604020202020204" pitchFamily="34" charset="0"/>
                </a:rPr>
                <a:t>September</a:t>
              </a:r>
            </a:p>
          </p:txBody>
        </p:sp>
        <p:sp>
          <p:nvSpPr>
            <p:cNvPr id="262" name="TextBox 261">
              <a:extLst>
                <a:ext uri="{FF2B5EF4-FFF2-40B4-BE49-F238E27FC236}">
                  <a16:creationId xmlns:a16="http://schemas.microsoft.com/office/drawing/2014/main" id="{AA24BF94-2099-409A-BCF8-D9D0BC81DC75}"/>
                </a:ext>
              </a:extLst>
            </p:cNvPr>
            <p:cNvSpPr txBox="1"/>
            <p:nvPr>
              <p:custDataLst>
                <p:tags r:id="rId21"/>
              </p:custDataLst>
            </p:nvPr>
          </p:nvSpPr>
          <p:spPr>
            <a:xfrm>
              <a:off x="6471562" y="249533"/>
              <a:ext cx="445673" cy="189905"/>
            </a:xfrm>
            <a:prstGeom prst="rect">
              <a:avLst/>
            </a:prstGeom>
            <a:solidFill>
              <a:srgbClr val="33A7E5"/>
            </a:solidFill>
            <a:ln w="3175">
              <a:solidFill>
                <a:srgbClr val="FFFFFF"/>
              </a:solidFill>
            </a:ln>
          </p:spPr>
          <p:txBody>
            <a:bodyPr vert="horz" wrap="none" lIns="1588" tIns="1588" rIns="1588" bIns="1588" rtlCol="0" anchor="ctr" anchorCtr="1">
              <a:noAutofit/>
            </a:bodyPr>
            <a:lstStyle/>
            <a:p>
              <a:pPr algn="ctr" defTabSz="495300"/>
              <a:r>
                <a:rPr lang="en-US" sz="1200">
                  <a:solidFill>
                    <a:srgbClr val="FFFFFF"/>
                  </a:solidFill>
                  <a:latin typeface="Arial" panose="020B0604020202020204" pitchFamily="34" charset="0"/>
                </a:rPr>
                <a:t>27</a:t>
              </a:r>
            </a:p>
          </p:txBody>
        </p:sp>
        <p:sp>
          <p:nvSpPr>
            <p:cNvPr id="263" name="TextBox 262">
              <a:extLst>
                <a:ext uri="{FF2B5EF4-FFF2-40B4-BE49-F238E27FC236}">
                  <a16:creationId xmlns:a16="http://schemas.microsoft.com/office/drawing/2014/main" id="{57E94282-5CC9-11B0-6954-21FB1E264390}"/>
                </a:ext>
              </a:extLst>
            </p:cNvPr>
            <p:cNvSpPr txBox="1"/>
            <p:nvPr>
              <p:custDataLst>
                <p:tags r:id="rId22"/>
              </p:custDataLst>
            </p:nvPr>
          </p:nvSpPr>
          <p:spPr>
            <a:xfrm>
              <a:off x="6920409" y="249533"/>
              <a:ext cx="445673" cy="189905"/>
            </a:xfrm>
            <a:prstGeom prst="rect">
              <a:avLst/>
            </a:prstGeom>
            <a:solidFill>
              <a:srgbClr val="33A7E5"/>
            </a:solidFill>
            <a:ln w="3175">
              <a:solidFill>
                <a:srgbClr val="FFFFFF"/>
              </a:solidFill>
            </a:ln>
          </p:spPr>
          <p:txBody>
            <a:bodyPr vert="horz" wrap="none" lIns="1588" tIns="1588" rIns="1588" bIns="1588" rtlCol="0" anchor="ctr" anchorCtr="1">
              <a:noAutofit/>
            </a:bodyPr>
            <a:lstStyle/>
            <a:p>
              <a:pPr algn="ctr" defTabSz="495300"/>
              <a:r>
                <a:rPr lang="en-US" sz="1200">
                  <a:solidFill>
                    <a:srgbClr val="FFFFFF"/>
                  </a:solidFill>
                  <a:latin typeface="Arial" panose="020B0604020202020204" pitchFamily="34" charset="0"/>
                </a:rPr>
                <a:t>28</a:t>
              </a:r>
            </a:p>
          </p:txBody>
        </p:sp>
        <p:sp>
          <p:nvSpPr>
            <p:cNvPr id="264" name="TextBox 263">
              <a:extLst>
                <a:ext uri="{FF2B5EF4-FFF2-40B4-BE49-F238E27FC236}">
                  <a16:creationId xmlns:a16="http://schemas.microsoft.com/office/drawing/2014/main" id="{176A3A7D-F335-9D3E-646B-2533E62AFDFF}"/>
                </a:ext>
              </a:extLst>
            </p:cNvPr>
            <p:cNvSpPr txBox="1"/>
            <p:nvPr>
              <p:custDataLst>
                <p:tags r:id="rId23"/>
              </p:custDataLst>
            </p:nvPr>
          </p:nvSpPr>
          <p:spPr>
            <a:xfrm>
              <a:off x="7369257" y="249533"/>
              <a:ext cx="445673" cy="189905"/>
            </a:xfrm>
            <a:prstGeom prst="rect">
              <a:avLst/>
            </a:prstGeom>
            <a:solidFill>
              <a:srgbClr val="33A7E5"/>
            </a:solidFill>
            <a:ln w="3175">
              <a:solidFill>
                <a:srgbClr val="FFFFFF"/>
              </a:solidFill>
            </a:ln>
          </p:spPr>
          <p:txBody>
            <a:bodyPr vert="horz" wrap="none" lIns="1588" tIns="1588" rIns="1588" bIns="1588" rtlCol="0" anchor="ctr" anchorCtr="1">
              <a:noAutofit/>
            </a:bodyPr>
            <a:lstStyle/>
            <a:p>
              <a:pPr algn="ctr" defTabSz="495300"/>
              <a:r>
                <a:rPr lang="en-US" sz="1200">
                  <a:solidFill>
                    <a:srgbClr val="FFFFFF"/>
                  </a:solidFill>
                  <a:latin typeface="Arial" panose="020B0604020202020204" pitchFamily="34" charset="0"/>
                </a:rPr>
                <a:t>29</a:t>
              </a:r>
            </a:p>
          </p:txBody>
        </p:sp>
        <p:sp>
          <p:nvSpPr>
            <p:cNvPr id="265" name="TextBox 264">
              <a:extLst>
                <a:ext uri="{FF2B5EF4-FFF2-40B4-BE49-F238E27FC236}">
                  <a16:creationId xmlns:a16="http://schemas.microsoft.com/office/drawing/2014/main" id="{9885EF18-EA2A-4227-2800-77CB56926314}"/>
                </a:ext>
              </a:extLst>
            </p:cNvPr>
            <p:cNvSpPr txBox="1"/>
            <p:nvPr>
              <p:custDataLst>
                <p:tags r:id="rId24"/>
              </p:custDataLst>
            </p:nvPr>
          </p:nvSpPr>
          <p:spPr>
            <a:xfrm>
              <a:off x="7818105" y="249533"/>
              <a:ext cx="445673" cy="189905"/>
            </a:xfrm>
            <a:prstGeom prst="rect">
              <a:avLst/>
            </a:prstGeom>
            <a:solidFill>
              <a:srgbClr val="33A7E5"/>
            </a:solidFill>
            <a:ln w="3175">
              <a:solidFill>
                <a:srgbClr val="FFFFFF"/>
              </a:solidFill>
            </a:ln>
          </p:spPr>
          <p:txBody>
            <a:bodyPr vert="horz" wrap="none" lIns="1588" tIns="1588" rIns="1588" bIns="1588" rtlCol="0" anchor="ctr" anchorCtr="1">
              <a:noAutofit/>
            </a:bodyPr>
            <a:lstStyle/>
            <a:p>
              <a:pPr algn="ctr" defTabSz="495300"/>
              <a:r>
                <a:rPr lang="en-US" sz="1200">
                  <a:solidFill>
                    <a:srgbClr val="FFFFFF"/>
                  </a:solidFill>
                  <a:latin typeface="Arial" panose="020B0604020202020204" pitchFamily="34" charset="0"/>
                </a:rPr>
                <a:t>30</a:t>
              </a:r>
            </a:p>
          </p:txBody>
        </p:sp>
        <p:sp>
          <p:nvSpPr>
            <p:cNvPr id="266" name="TextBox 265">
              <a:extLst>
                <a:ext uri="{FF2B5EF4-FFF2-40B4-BE49-F238E27FC236}">
                  <a16:creationId xmlns:a16="http://schemas.microsoft.com/office/drawing/2014/main" id="{4369C8CD-8235-DFEA-3592-41679363608E}"/>
                </a:ext>
              </a:extLst>
            </p:cNvPr>
            <p:cNvSpPr txBox="1"/>
            <p:nvPr>
              <p:custDataLst>
                <p:tags r:id="rId25"/>
              </p:custDataLst>
            </p:nvPr>
          </p:nvSpPr>
          <p:spPr>
            <a:xfrm>
              <a:off x="8266953" y="249533"/>
              <a:ext cx="445673" cy="189905"/>
            </a:xfrm>
            <a:prstGeom prst="rect">
              <a:avLst/>
            </a:prstGeom>
            <a:solidFill>
              <a:srgbClr val="33A7E5"/>
            </a:solidFill>
            <a:ln w="3175">
              <a:solidFill>
                <a:srgbClr val="FFFFFF"/>
              </a:solidFill>
            </a:ln>
          </p:spPr>
          <p:txBody>
            <a:bodyPr vert="horz" wrap="none" lIns="1588" tIns="1588" rIns="1588" bIns="1588" rtlCol="0" anchor="ctr" anchorCtr="1">
              <a:noAutofit/>
            </a:bodyPr>
            <a:lstStyle/>
            <a:p>
              <a:pPr algn="ctr" defTabSz="495300"/>
              <a:r>
                <a:rPr lang="en-US" sz="1200">
                  <a:solidFill>
                    <a:srgbClr val="FFFFFF"/>
                  </a:solidFill>
                  <a:latin typeface="Arial" panose="020B0604020202020204" pitchFamily="34" charset="0"/>
                </a:rPr>
                <a:t>31</a:t>
              </a:r>
            </a:p>
          </p:txBody>
        </p:sp>
        <p:sp>
          <p:nvSpPr>
            <p:cNvPr id="267" name="TextBox 266">
              <a:extLst>
                <a:ext uri="{FF2B5EF4-FFF2-40B4-BE49-F238E27FC236}">
                  <a16:creationId xmlns:a16="http://schemas.microsoft.com/office/drawing/2014/main" id="{3032A8B2-73A6-05C8-E6AD-FD6FB3325D16}"/>
                </a:ext>
              </a:extLst>
            </p:cNvPr>
            <p:cNvSpPr txBox="1"/>
            <p:nvPr>
              <p:custDataLst>
                <p:tags r:id="rId26"/>
              </p:custDataLst>
            </p:nvPr>
          </p:nvSpPr>
          <p:spPr>
            <a:xfrm>
              <a:off x="8715801" y="249533"/>
              <a:ext cx="445673" cy="189905"/>
            </a:xfrm>
            <a:prstGeom prst="rect">
              <a:avLst/>
            </a:prstGeom>
            <a:solidFill>
              <a:srgbClr val="33A7E5"/>
            </a:solidFill>
            <a:ln w="3175">
              <a:solidFill>
                <a:srgbClr val="FFFFFF"/>
              </a:solidFill>
            </a:ln>
          </p:spPr>
          <p:txBody>
            <a:bodyPr vert="horz" wrap="none" lIns="1588" tIns="1588" rIns="1588" bIns="1588" rtlCol="0" anchor="ctr" anchorCtr="1">
              <a:noAutofit/>
            </a:bodyPr>
            <a:lstStyle/>
            <a:p>
              <a:pPr algn="ctr" defTabSz="495300"/>
              <a:r>
                <a:rPr lang="en-US" sz="1200">
                  <a:solidFill>
                    <a:srgbClr val="FFFFFF"/>
                  </a:solidFill>
                  <a:latin typeface="Arial" panose="020B0604020202020204" pitchFamily="34" charset="0"/>
                </a:rPr>
                <a:t>32</a:t>
              </a:r>
            </a:p>
          </p:txBody>
        </p:sp>
        <p:sp>
          <p:nvSpPr>
            <p:cNvPr id="268" name="TextBox 267">
              <a:extLst>
                <a:ext uri="{FF2B5EF4-FFF2-40B4-BE49-F238E27FC236}">
                  <a16:creationId xmlns:a16="http://schemas.microsoft.com/office/drawing/2014/main" id="{D4D40DCE-FC13-A279-45A4-C7CF1D38D2BC}"/>
                </a:ext>
              </a:extLst>
            </p:cNvPr>
            <p:cNvSpPr txBox="1"/>
            <p:nvPr>
              <p:custDataLst>
                <p:tags r:id="rId27"/>
              </p:custDataLst>
            </p:nvPr>
          </p:nvSpPr>
          <p:spPr>
            <a:xfrm>
              <a:off x="9164648" y="249533"/>
              <a:ext cx="445673" cy="189905"/>
            </a:xfrm>
            <a:prstGeom prst="rect">
              <a:avLst/>
            </a:prstGeom>
            <a:solidFill>
              <a:srgbClr val="33A7E5"/>
            </a:solidFill>
            <a:ln w="3175">
              <a:solidFill>
                <a:srgbClr val="FFFFFF"/>
              </a:solidFill>
            </a:ln>
          </p:spPr>
          <p:txBody>
            <a:bodyPr vert="horz" wrap="none" lIns="1588" tIns="1588" rIns="1588" bIns="1588" rtlCol="0" anchor="ctr" anchorCtr="1">
              <a:noAutofit/>
            </a:bodyPr>
            <a:lstStyle/>
            <a:p>
              <a:pPr algn="ctr" defTabSz="495300"/>
              <a:r>
                <a:rPr lang="en-US" sz="1200">
                  <a:solidFill>
                    <a:srgbClr val="FFFFFF"/>
                  </a:solidFill>
                  <a:latin typeface="Arial" panose="020B0604020202020204" pitchFamily="34" charset="0"/>
                </a:rPr>
                <a:t>33</a:t>
              </a:r>
            </a:p>
          </p:txBody>
        </p:sp>
        <p:sp>
          <p:nvSpPr>
            <p:cNvPr id="269" name="TextBox 268">
              <a:extLst>
                <a:ext uri="{FF2B5EF4-FFF2-40B4-BE49-F238E27FC236}">
                  <a16:creationId xmlns:a16="http://schemas.microsoft.com/office/drawing/2014/main" id="{86B42A5C-9ECF-6D9D-1C01-0FCF116E5C9B}"/>
                </a:ext>
              </a:extLst>
            </p:cNvPr>
            <p:cNvSpPr txBox="1"/>
            <p:nvPr>
              <p:custDataLst>
                <p:tags r:id="rId28"/>
              </p:custDataLst>
            </p:nvPr>
          </p:nvSpPr>
          <p:spPr>
            <a:xfrm>
              <a:off x="9613496" y="249533"/>
              <a:ext cx="445673" cy="189905"/>
            </a:xfrm>
            <a:prstGeom prst="rect">
              <a:avLst/>
            </a:prstGeom>
            <a:solidFill>
              <a:srgbClr val="33A7E5"/>
            </a:solidFill>
            <a:ln w="3175">
              <a:solidFill>
                <a:srgbClr val="FFFFFF"/>
              </a:solidFill>
            </a:ln>
          </p:spPr>
          <p:txBody>
            <a:bodyPr vert="horz" wrap="none" lIns="1588" tIns="1588" rIns="1588" bIns="1588" rtlCol="0" anchor="ctr" anchorCtr="1">
              <a:noAutofit/>
            </a:bodyPr>
            <a:lstStyle/>
            <a:p>
              <a:pPr algn="ctr" defTabSz="495300"/>
              <a:r>
                <a:rPr lang="en-US" sz="1200">
                  <a:solidFill>
                    <a:srgbClr val="FFFFFF"/>
                  </a:solidFill>
                  <a:latin typeface="Arial" panose="020B0604020202020204" pitchFamily="34" charset="0"/>
                </a:rPr>
                <a:t>34</a:t>
              </a:r>
            </a:p>
          </p:txBody>
        </p:sp>
        <p:sp>
          <p:nvSpPr>
            <p:cNvPr id="270" name="TextBox 269">
              <a:extLst>
                <a:ext uri="{FF2B5EF4-FFF2-40B4-BE49-F238E27FC236}">
                  <a16:creationId xmlns:a16="http://schemas.microsoft.com/office/drawing/2014/main" id="{8CB97A00-5CD9-11D4-19E9-819F68EF907A}"/>
                </a:ext>
              </a:extLst>
            </p:cNvPr>
            <p:cNvSpPr txBox="1"/>
            <p:nvPr>
              <p:custDataLst>
                <p:tags r:id="rId29"/>
              </p:custDataLst>
            </p:nvPr>
          </p:nvSpPr>
          <p:spPr>
            <a:xfrm>
              <a:off x="10062344" y="249533"/>
              <a:ext cx="445673" cy="189905"/>
            </a:xfrm>
            <a:prstGeom prst="rect">
              <a:avLst/>
            </a:prstGeom>
            <a:solidFill>
              <a:srgbClr val="33A7E5"/>
            </a:solidFill>
            <a:ln w="3175">
              <a:solidFill>
                <a:srgbClr val="FFFFFF"/>
              </a:solidFill>
            </a:ln>
          </p:spPr>
          <p:txBody>
            <a:bodyPr vert="horz" wrap="none" lIns="1588" tIns="1588" rIns="1588" bIns="1588" rtlCol="0" anchor="ctr" anchorCtr="1">
              <a:noAutofit/>
            </a:bodyPr>
            <a:lstStyle/>
            <a:p>
              <a:pPr algn="ctr" defTabSz="495300"/>
              <a:r>
                <a:rPr lang="en-US" sz="1200">
                  <a:solidFill>
                    <a:srgbClr val="FFFFFF"/>
                  </a:solidFill>
                  <a:latin typeface="Arial" panose="020B0604020202020204" pitchFamily="34" charset="0"/>
                </a:rPr>
                <a:t>35</a:t>
              </a:r>
            </a:p>
          </p:txBody>
        </p:sp>
        <p:sp>
          <p:nvSpPr>
            <p:cNvPr id="271" name="TextBox 270">
              <a:extLst>
                <a:ext uri="{FF2B5EF4-FFF2-40B4-BE49-F238E27FC236}">
                  <a16:creationId xmlns:a16="http://schemas.microsoft.com/office/drawing/2014/main" id="{B4CF8612-9DE4-48D6-C6FB-853FA5917312}"/>
                </a:ext>
              </a:extLst>
            </p:cNvPr>
            <p:cNvSpPr txBox="1"/>
            <p:nvPr>
              <p:custDataLst>
                <p:tags r:id="rId30"/>
              </p:custDataLst>
            </p:nvPr>
          </p:nvSpPr>
          <p:spPr>
            <a:xfrm>
              <a:off x="10511192" y="249533"/>
              <a:ext cx="445673" cy="189905"/>
            </a:xfrm>
            <a:prstGeom prst="rect">
              <a:avLst/>
            </a:prstGeom>
            <a:solidFill>
              <a:srgbClr val="33A7E5"/>
            </a:solidFill>
            <a:ln w="3175">
              <a:solidFill>
                <a:srgbClr val="FFFFFF"/>
              </a:solidFill>
            </a:ln>
          </p:spPr>
          <p:txBody>
            <a:bodyPr vert="horz" wrap="none" lIns="1588" tIns="1588" rIns="1588" bIns="1588" rtlCol="0" anchor="ctr" anchorCtr="1">
              <a:noAutofit/>
            </a:bodyPr>
            <a:lstStyle/>
            <a:p>
              <a:pPr algn="ctr" defTabSz="495300"/>
              <a:r>
                <a:rPr lang="en-US" sz="1200">
                  <a:solidFill>
                    <a:srgbClr val="FFFFFF"/>
                  </a:solidFill>
                  <a:latin typeface="Arial" panose="020B0604020202020204" pitchFamily="34" charset="0"/>
                </a:rPr>
                <a:t>36</a:t>
              </a:r>
            </a:p>
          </p:txBody>
        </p:sp>
        <p:sp>
          <p:nvSpPr>
            <p:cNvPr id="272" name="TextBox 271">
              <a:extLst>
                <a:ext uri="{FF2B5EF4-FFF2-40B4-BE49-F238E27FC236}">
                  <a16:creationId xmlns:a16="http://schemas.microsoft.com/office/drawing/2014/main" id="{B326B9F0-DCDF-1CFA-40F6-6016CB989A3E}"/>
                </a:ext>
              </a:extLst>
            </p:cNvPr>
            <p:cNvSpPr txBox="1"/>
            <p:nvPr>
              <p:custDataLst>
                <p:tags r:id="rId31"/>
              </p:custDataLst>
            </p:nvPr>
          </p:nvSpPr>
          <p:spPr>
            <a:xfrm>
              <a:off x="10960040" y="249533"/>
              <a:ext cx="445673" cy="189905"/>
            </a:xfrm>
            <a:prstGeom prst="rect">
              <a:avLst/>
            </a:prstGeom>
            <a:solidFill>
              <a:srgbClr val="33A7E5"/>
            </a:solidFill>
            <a:ln w="3175">
              <a:solidFill>
                <a:srgbClr val="FFFFFF"/>
              </a:solidFill>
            </a:ln>
          </p:spPr>
          <p:txBody>
            <a:bodyPr vert="horz" wrap="none" lIns="1588" tIns="1588" rIns="1588" bIns="1588" rtlCol="0" anchor="ctr" anchorCtr="1">
              <a:noAutofit/>
            </a:bodyPr>
            <a:lstStyle/>
            <a:p>
              <a:pPr algn="ctr" defTabSz="495300"/>
              <a:r>
                <a:rPr lang="en-US" sz="1200">
                  <a:solidFill>
                    <a:srgbClr val="FFFFFF"/>
                  </a:solidFill>
                  <a:latin typeface="Arial" panose="020B0604020202020204" pitchFamily="34" charset="0"/>
                </a:rPr>
                <a:t>37</a:t>
              </a:r>
            </a:p>
          </p:txBody>
        </p:sp>
        <p:sp>
          <p:nvSpPr>
            <p:cNvPr id="273" name="TextBox 272">
              <a:extLst>
                <a:ext uri="{FF2B5EF4-FFF2-40B4-BE49-F238E27FC236}">
                  <a16:creationId xmlns:a16="http://schemas.microsoft.com/office/drawing/2014/main" id="{508895D0-3D8B-4D15-F32D-9DE68F68768C}"/>
                </a:ext>
              </a:extLst>
            </p:cNvPr>
            <p:cNvSpPr txBox="1"/>
            <p:nvPr>
              <p:custDataLst>
                <p:tags r:id="rId32"/>
              </p:custDataLst>
            </p:nvPr>
          </p:nvSpPr>
          <p:spPr>
            <a:xfrm>
              <a:off x="11408887" y="249533"/>
              <a:ext cx="445673" cy="189905"/>
            </a:xfrm>
            <a:prstGeom prst="rect">
              <a:avLst/>
            </a:prstGeom>
            <a:solidFill>
              <a:srgbClr val="33A7E5"/>
            </a:solidFill>
            <a:ln w="3175">
              <a:solidFill>
                <a:srgbClr val="FFFFFF"/>
              </a:solidFill>
            </a:ln>
          </p:spPr>
          <p:txBody>
            <a:bodyPr vert="horz" wrap="none" lIns="1588" tIns="1588" rIns="1588" bIns="1588" rtlCol="0" anchor="ctr" anchorCtr="1">
              <a:noAutofit/>
            </a:bodyPr>
            <a:lstStyle/>
            <a:p>
              <a:pPr algn="ctr" defTabSz="495300"/>
              <a:r>
                <a:rPr lang="en-US" sz="1200">
                  <a:solidFill>
                    <a:srgbClr val="FFFFFF"/>
                  </a:solidFill>
                  <a:latin typeface="Arial" panose="020B0604020202020204" pitchFamily="34" charset="0"/>
                </a:rPr>
                <a:t>38</a:t>
              </a:r>
            </a:p>
          </p:txBody>
        </p:sp>
        <p:sp>
          <p:nvSpPr>
            <p:cNvPr id="274" name="TextBox 273">
              <a:extLst>
                <a:ext uri="{FF2B5EF4-FFF2-40B4-BE49-F238E27FC236}">
                  <a16:creationId xmlns:a16="http://schemas.microsoft.com/office/drawing/2014/main" id="{C0ED0E15-5153-5063-02E8-F83823D64955}"/>
                </a:ext>
              </a:extLst>
            </p:cNvPr>
            <p:cNvSpPr txBox="1"/>
            <p:nvPr>
              <p:custDataLst>
                <p:tags r:id="rId33"/>
              </p:custDataLst>
            </p:nvPr>
          </p:nvSpPr>
          <p:spPr>
            <a:xfrm>
              <a:off x="11857735" y="249533"/>
              <a:ext cx="317431" cy="189905"/>
            </a:xfrm>
            <a:prstGeom prst="rect">
              <a:avLst/>
            </a:prstGeom>
            <a:solidFill>
              <a:srgbClr val="33A7E5"/>
            </a:solidFill>
            <a:ln w="3175">
              <a:solidFill>
                <a:srgbClr val="FFFFFF"/>
              </a:solidFill>
            </a:ln>
          </p:spPr>
          <p:txBody>
            <a:bodyPr vert="horz" wrap="none" lIns="1588" tIns="1588" rIns="1588" bIns="1588" rtlCol="0" anchor="ctr" anchorCtr="1">
              <a:noAutofit/>
            </a:bodyPr>
            <a:lstStyle/>
            <a:p>
              <a:pPr algn="ctr" defTabSz="495300"/>
              <a:r>
                <a:rPr lang="en-US" sz="1200">
                  <a:solidFill>
                    <a:srgbClr val="FFFFFF"/>
                  </a:solidFill>
                  <a:latin typeface="Arial" panose="020B0604020202020204" pitchFamily="34" charset="0"/>
                </a:rPr>
                <a:t>39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4ECD7A71-9BC2-5B6B-E3E0-35B506A14685}"/>
                </a:ext>
              </a:extLst>
            </p:cNvPr>
            <p:cNvSpPr txBox="1"/>
            <p:nvPr>
              <p:custDataLst>
                <p:tags r:id="rId34"/>
              </p:custDataLst>
            </p:nvPr>
          </p:nvSpPr>
          <p:spPr>
            <a:xfrm>
              <a:off x="169677" y="516615"/>
              <a:ext cx="684064" cy="169755"/>
            </a:xfrm>
            <a:prstGeom prst="rect">
              <a:avLst/>
            </a:prstGeom>
            <a:noFill/>
            <a:ln w="0" cap="flat" cmpd="sng" algn="ctr">
              <a:solidFill>
                <a:prstClr val="black">
                  <a:alpha val="0"/>
                </a:prst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none" lIns="0" tIns="0" rIns="0" bIns="0" rtlCol="0">
              <a:noAutofit/>
            </a:bodyPr>
            <a:lstStyle/>
            <a:p>
              <a:pPr defTabSz="495300"/>
              <a:r>
                <a:rPr lang="en-US" sz="1200">
                  <a:solidFill>
                    <a:srgbClr val="10384F"/>
                  </a:solidFill>
                  <a:latin typeface="Arial" panose="020B0604020202020204" pitchFamily="34" charset="0"/>
                </a:rPr>
                <a:t>OEE App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D6CF148F-6310-4DD8-234E-3C6A22233841}"/>
                </a:ext>
              </a:extLst>
            </p:cNvPr>
            <p:cNvSpPr txBox="1"/>
            <p:nvPr>
              <p:custDataLst>
                <p:tags r:id="rId35"/>
              </p:custDataLst>
            </p:nvPr>
          </p:nvSpPr>
          <p:spPr>
            <a:xfrm>
              <a:off x="169677" y="1469885"/>
              <a:ext cx="938318" cy="169755"/>
            </a:xfrm>
            <a:prstGeom prst="rect">
              <a:avLst/>
            </a:prstGeom>
            <a:noFill/>
            <a:ln w="0" cap="flat" cmpd="sng" algn="ctr">
              <a:solidFill>
                <a:prstClr val="black">
                  <a:alpha val="0"/>
                </a:prst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none" lIns="0" tIns="0" rIns="0" bIns="0" rtlCol="0">
              <a:noAutofit/>
            </a:bodyPr>
            <a:lstStyle/>
            <a:p>
              <a:pPr defTabSz="495300"/>
              <a:r>
                <a:rPr lang="en-US" sz="1200">
                  <a:solidFill>
                    <a:srgbClr val="10384F"/>
                  </a:solidFill>
                  <a:latin typeface="Arial" panose="020B0604020202020204" pitchFamily="34" charset="0"/>
                </a:rPr>
                <a:t>A3 Reloaded</a:t>
              </a: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FA3F4FFD-BE32-BFAA-88E0-5B230035E5B3}"/>
                </a:ext>
              </a:extLst>
            </p:cNvPr>
            <p:cNvSpPr txBox="1"/>
            <p:nvPr>
              <p:custDataLst>
                <p:tags r:id="rId36"/>
              </p:custDataLst>
            </p:nvPr>
          </p:nvSpPr>
          <p:spPr>
            <a:xfrm>
              <a:off x="296678" y="1162246"/>
              <a:ext cx="445347" cy="146344"/>
            </a:xfrm>
            <a:prstGeom prst="rect">
              <a:avLst/>
            </a:prstGeom>
            <a:noFill/>
            <a:ln w="0" cap="flat" cmpd="sng" algn="ctr">
              <a:solidFill>
                <a:prstClr val="black">
                  <a:alpha val="0"/>
                </a:prst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none" lIns="0" tIns="0" rIns="0" bIns="0" rtlCol="0" anchor="ctr">
              <a:noAutofit/>
            </a:bodyPr>
            <a:lstStyle/>
            <a:p>
              <a:pPr defTabSz="495300"/>
              <a:r>
                <a:rPr lang="en-US" sz="1000">
                  <a:solidFill>
                    <a:srgbClr val="10384F"/>
                  </a:solidFill>
                  <a:latin typeface="Arial" panose="020B0604020202020204" pitchFamily="34" charset="0"/>
                </a:rPr>
                <a:t>Ciclo 4</a:t>
              </a: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DAA5ADBE-E39C-D2AE-8B7C-7894BB1E81C6}"/>
                </a:ext>
              </a:extLst>
            </p:cNvPr>
            <p:cNvSpPr txBox="1"/>
            <p:nvPr>
              <p:custDataLst>
                <p:tags r:id="rId37"/>
              </p:custDataLst>
            </p:nvPr>
          </p:nvSpPr>
          <p:spPr>
            <a:xfrm>
              <a:off x="296678" y="1797760"/>
              <a:ext cx="494750" cy="146344"/>
            </a:xfrm>
            <a:prstGeom prst="rect">
              <a:avLst/>
            </a:prstGeom>
            <a:noFill/>
            <a:ln w="0" cap="flat" cmpd="sng" algn="ctr">
              <a:solidFill>
                <a:prstClr val="black">
                  <a:alpha val="0"/>
                </a:prst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none" lIns="0" tIns="0" rIns="0" bIns="0" rtlCol="0" anchor="ctr">
              <a:noAutofit/>
            </a:bodyPr>
            <a:lstStyle/>
            <a:p>
              <a:pPr defTabSz="495300"/>
              <a:r>
                <a:rPr lang="en-US" sz="1000">
                  <a:solidFill>
                    <a:srgbClr val="10384F"/>
                  </a:solidFill>
                  <a:latin typeface="Arial" panose="020B0604020202020204" pitchFamily="34" charset="0"/>
                </a:rPr>
                <a:t>Sprint 1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FB90FC84-7EA1-CCB0-2A21-5F052CC300C4}"/>
                </a:ext>
              </a:extLst>
            </p:cNvPr>
            <p:cNvSpPr txBox="1"/>
            <p:nvPr>
              <p:custDataLst>
                <p:tags r:id="rId38"/>
              </p:custDataLst>
            </p:nvPr>
          </p:nvSpPr>
          <p:spPr>
            <a:xfrm>
              <a:off x="296678" y="2115516"/>
              <a:ext cx="494750" cy="146344"/>
            </a:xfrm>
            <a:prstGeom prst="rect">
              <a:avLst/>
            </a:prstGeom>
            <a:noFill/>
            <a:ln w="0" cap="flat" cmpd="sng" algn="ctr">
              <a:solidFill>
                <a:prstClr val="black">
                  <a:alpha val="0"/>
                </a:prst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none" lIns="0" tIns="0" rIns="0" bIns="0" rtlCol="0" anchor="ctr">
              <a:noAutofit/>
            </a:bodyPr>
            <a:lstStyle/>
            <a:p>
              <a:pPr defTabSz="495300"/>
              <a:r>
                <a:rPr lang="en-US" sz="1000">
                  <a:solidFill>
                    <a:srgbClr val="10384F"/>
                  </a:solidFill>
                  <a:latin typeface="Arial" panose="020B0604020202020204" pitchFamily="34" charset="0"/>
                </a:rPr>
                <a:t>Sprint 2</a:t>
              </a: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4192C9D9-5D5E-F55A-3761-F3482A6BF064}"/>
                </a:ext>
              </a:extLst>
            </p:cNvPr>
            <p:cNvSpPr txBox="1"/>
            <p:nvPr>
              <p:custDataLst>
                <p:tags r:id="rId39"/>
              </p:custDataLst>
            </p:nvPr>
          </p:nvSpPr>
          <p:spPr>
            <a:xfrm>
              <a:off x="296678" y="2433273"/>
              <a:ext cx="494750" cy="146344"/>
            </a:xfrm>
            <a:prstGeom prst="rect">
              <a:avLst/>
            </a:prstGeom>
            <a:noFill/>
            <a:ln w="0" cap="flat" cmpd="sng" algn="ctr">
              <a:solidFill>
                <a:prstClr val="black">
                  <a:alpha val="0"/>
                </a:prst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none" lIns="0" tIns="0" rIns="0" bIns="0" rtlCol="0" anchor="ctr">
              <a:noAutofit/>
            </a:bodyPr>
            <a:lstStyle/>
            <a:p>
              <a:pPr defTabSz="495300"/>
              <a:r>
                <a:rPr lang="en-US" sz="1000">
                  <a:solidFill>
                    <a:srgbClr val="10384F"/>
                  </a:solidFill>
                  <a:latin typeface="Arial" panose="020B0604020202020204" pitchFamily="34" charset="0"/>
                </a:rPr>
                <a:t>Sprint 3</a:t>
              </a: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59768E68-B566-3699-152E-F2D5B93A96DA}"/>
                </a:ext>
              </a:extLst>
            </p:cNvPr>
            <p:cNvSpPr txBox="1"/>
            <p:nvPr>
              <p:custDataLst>
                <p:tags r:id="rId40"/>
              </p:custDataLst>
            </p:nvPr>
          </p:nvSpPr>
          <p:spPr>
            <a:xfrm>
              <a:off x="296678" y="844489"/>
              <a:ext cx="445347" cy="146344"/>
            </a:xfrm>
            <a:prstGeom prst="rect">
              <a:avLst/>
            </a:prstGeom>
            <a:noFill/>
            <a:ln w="0" cap="flat" cmpd="sng" algn="ctr">
              <a:solidFill>
                <a:prstClr val="black">
                  <a:alpha val="0"/>
                </a:prst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none" lIns="0" tIns="0" rIns="0" bIns="0" rtlCol="0" anchor="ctr">
              <a:noAutofit/>
            </a:bodyPr>
            <a:lstStyle/>
            <a:p>
              <a:pPr defTabSz="495300"/>
              <a:r>
                <a:rPr lang="en-US" sz="1000">
                  <a:solidFill>
                    <a:srgbClr val="10384F"/>
                  </a:solidFill>
                  <a:latin typeface="Arial" panose="020B0604020202020204" pitchFamily="34" charset="0"/>
                </a:rPr>
                <a:t>Ciclo 3</a:t>
              </a:r>
            </a:p>
          </p:txBody>
        </p:sp>
        <p:sp>
          <p:nvSpPr>
            <p:cNvPr id="229" name="TextBox 228">
              <a:extLst>
                <a:ext uri="{FF2B5EF4-FFF2-40B4-BE49-F238E27FC236}">
                  <a16:creationId xmlns:a16="http://schemas.microsoft.com/office/drawing/2014/main" id="{C070CAD8-C1A6-C696-15EB-FECB8F8B5B78}"/>
                </a:ext>
              </a:extLst>
            </p:cNvPr>
            <p:cNvSpPr txBox="1"/>
            <p:nvPr>
              <p:custDataLst>
                <p:tags r:id="rId41"/>
              </p:custDataLst>
            </p:nvPr>
          </p:nvSpPr>
          <p:spPr>
            <a:xfrm>
              <a:off x="296677" y="2751030"/>
              <a:ext cx="494750" cy="146344"/>
            </a:xfrm>
            <a:prstGeom prst="rect">
              <a:avLst/>
            </a:prstGeom>
            <a:noFill/>
            <a:ln w="0" cap="flat" cmpd="sng" algn="ctr">
              <a:solidFill>
                <a:prstClr val="black">
                  <a:alpha val="0"/>
                </a:prst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none" lIns="0" tIns="0" rIns="0" bIns="0" rtlCol="0" anchor="ctr">
              <a:noAutofit/>
            </a:bodyPr>
            <a:lstStyle/>
            <a:p>
              <a:pPr defTabSz="495300"/>
              <a:r>
                <a:rPr lang="en-US" sz="1000">
                  <a:solidFill>
                    <a:srgbClr val="10384F"/>
                  </a:solidFill>
                  <a:latin typeface="Arial" panose="020B0604020202020204" pitchFamily="34" charset="0"/>
                </a:rPr>
                <a:t>Sprint 4</a:t>
              </a:r>
            </a:p>
          </p:txBody>
        </p:sp>
        <p:sp>
          <p:nvSpPr>
            <p:cNvPr id="415" name="TextBox 414">
              <a:extLst>
                <a:ext uri="{FF2B5EF4-FFF2-40B4-BE49-F238E27FC236}">
                  <a16:creationId xmlns:a16="http://schemas.microsoft.com/office/drawing/2014/main" id="{0C0AD231-2248-3093-7F39-5E2502EEA9A7}"/>
                </a:ext>
              </a:extLst>
            </p:cNvPr>
            <p:cNvSpPr txBox="1"/>
            <p:nvPr>
              <p:custDataLst>
                <p:tags r:id="rId42"/>
              </p:custDataLst>
            </p:nvPr>
          </p:nvSpPr>
          <p:spPr>
            <a:xfrm>
              <a:off x="169678" y="3937939"/>
              <a:ext cx="1022816" cy="398117"/>
            </a:xfrm>
            <a:prstGeom prst="rect">
              <a:avLst/>
            </a:prstGeom>
            <a:noFill/>
            <a:ln w="0" cap="flat" cmpd="sng" algn="ctr">
              <a:solidFill>
                <a:prstClr val="black">
                  <a:alpha val="0"/>
                </a:prst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none" lIns="0" tIns="0" rIns="0" bIns="0" rtlCol="0">
              <a:noAutofit/>
            </a:bodyPr>
            <a:lstStyle/>
            <a:p>
              <a:pPr defTabSz="495300"/>
              <a:r>
                <a:rPr lang="en-US" sz="1200">
                  <a:solidFill>
                    <a:srgbClr val="10384F"/>
                  </a:solidFill>
                  <a:latin typeface="Arial" panose="020B0604020202020204" pitchFamily="34" charset="0"/>
                </a:rPr>
                <a:t>Failure Mode</a:t>
              </a:r>
            </a:p>
            <a:p>
              <a:pPr defTabSz="495300"/>
              <a:r>
                <a:rPr lang="en-US" sz="1200">
                  <a:solidFill>
                    <a:srgbClr val="10384F"/>
                  </a:solidFill>
                  <a:latin typeface="Arial" panose="020B0604020202020204" pitchFamily="34" charset="0"/>
                </a:rPr>
                <a:t>Data Analytics</a:t>
              </a:r>
            </a:p>
          </p:txBody>
        </p:sp>
        <p:sp>
          <p:nvSpPr>
            <p:cNvPr id="472" name="TextBox 471">
              <a:extLst>
                <a:ext uri="{FF2B5EF4-FFF2-40B4-BE49-F238E27FC236}">
                  <a16:creationId xmlns:a16="http://schemas.microsoft.com/office/drawing/2014/main" id="{6DF59259-4E3A-6FA7-F99A-AAA191A25A32}"/>
                </a:ext>
              </a:extLst>
            </p:cNvPr>
            <p:cNvSpPr txBox="1"/>
            <p:nvPr>
              <p:custDataLst>
                <p:tags r:id="rId43"/>
              </p:custDataLst>
            </p:nvPr>
          </p:nvSpPr>
          <p:spPr>
            <a:xfrm>
              <a:off x="296677" y="4420174"/>
              <a:ext cx="494750" cy="146344"/>
            </a:xfrm>
            <a:prstGeom prst="rect">
              <a:avLst/>
            </a:prstGeom>
            <a:noFill/>
            <a:ln w="0" cap="flat" cmpd="sng" algn="ctr">
              <a:solidFill>
                <a:prstClr val="black">
                  <a:alpha val="0"/>
                </a:prst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none" lIns="0" tIns="0" rIns="0" bIns="0" rtlCol="0" anchor="ctr">
              <a:noAutofit/>
            </a:bodyPr>
            <a:lstStyle/>
            <a:p>
              <a:pPr defTabSz="495300"/>
              <a:r>
                <a:rPr lang="en-US" sz="1000">
                  <a:solidFill>
                    <a:srgbClr val="10384F"/>
                  </a:solidFill>
                  <a:latin typeface="Arial" panose="020B0604020202020204" pitchFamily="34" charset="0"/>
                </a:rPr>
                <a:t>Sprint 1</a:t>
              </a:r>
            </a:p>
          </p:txBody>
        </p:sp>
        <p:sp>
          <p:nvSpPr>
            <p:cNvPr id="493" name="TextBox 492">
              <a:extLst>
                <a:ext uri="{FF2B5EF4-FFF2-40B4-BE49-F238E27FC236}">
                  <a16:creationId xmlns:a16="http://schemas.microsoft.com/office/drawing/2014/main" id="{5FA8CA78-A31D-65C1-215C-D32D9D042B15}"/>
                </a:ext>
              </a:extLst>
            </p:cNvPr>
            <p:cNvSpPr txBox="1"/>
            <p:nvPr>
              <p:custDataLst>
                <p:tags r:id="rId44"/>
              </p:custDataLst>
            </p:nvPr>
          </p:nvSpPr>
          <p:spPr>
            <a:xfrm>
              <a:off x="296678" y="4737931"/>
              <a:ext cx="494750" cy="146344"/>
            </a:xfrm>
            <a:prstGeom prst="rect">
              <a:avLst/>
            </a:prstGeom>
            <a:noFill/>
            <a:ln w="0" cap="flat" cmpd="sng" algn="ctr">
              <a:solidFill>
                <a:prstClr val="black">
                  <a:alpha val="0"/>
                </a:prst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none" lIns="0" tIns="0" rIns="0" bIns="0" rtlCol="0" anchor="ctr">
              <a:noAutofit/>
            </a:bodyPr>
            <a:lstStyle/>
            <a:p>
              <a:pPr defTabSz="495300"/>
              <a:r>
                <a:rPr lang="en-US" sz="1000">
                  <a:solidFill>
                    <a:srgbClr val="10384F"/>
                  </a:solidFill>
                  <a:latin typeface="Arial" panose="020B0604020202020204" pitchFamily="34" charset="0"/>
                </a:rPr>
                <a:t>Sprint 2</a:t>
              </a:r>
            </a:p>
          </p:txBody>
        </p:sp>
        <p:sp>
          <p:nvSpPr>
            <p:cNvPr id="522" name="TextBox 521">
              <a:extLst>
                <a:ext uri="{FF2B5EF4-FFF2-40B4-BE49-F238E27FC236}">
                  <a16:creationId xmlns:a16="http://schemas.microsoft.com/office/drawing/2014/main" id="{6547A717-5EB5-1FDA-D8C3-15966419A0BF}"/>
                </a:ext>
              </a:extLst>
            </p:cNvPr>
            <p:cNvSpPr txBox="1"/>
            <p:nvPr>
              <p:custDataLst>
                <p:tags r:id="rId45"/>
              </p:custDataLst>
            </p:nvPr>
          </p:nvSpPr>
          <p:spPr>
            <a:xfrm>
              <a:off x="296678" y="5055688"/>
              <a:ext cx="494750" cy="146344"/>
            </a:xfrm>
            <a:prstGeom prst="rect">
              <a:avLst/>
            </a:prstGeom>
            <a:noFill/>
            <a:ln w="0" cap="flat" cmpd="sng" algn="ctr">
              <a:solidFill>
                <a:prstClr val="black">
                  <a:alpha val="0"/>
                </a:prst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none" lIns="0" tIns="0" rIns="0" bIns="0" rtlCol="0" anchor="ctr">
              <a:noAutofit/>
            </a:bodyPr>
            <a:lstStyle/>
            <a:p>
              <a:pPr defTabSz="495300"/>
              <a:r>
                <a:rPr lang="en-US" sz="1000">
                  <a:solidFill>
                    <a:srgbClr val="10384F"/>
                  </a:solidFill>
                  <a:latin typeface="Arial" panose="020B0604020202020204" pitchFamily="34" charset="0"/>
                </a:rPr>
                <a:t>Sprint 3</a:t>
              </a:r>
            </a:p>
          </p:txBody>
        </p:sp>
        <p:sp>
          <p:nvSpPr>
            <p:cNvPr id="539" name="TextBox 538">
              <a:extLst>
                <a:ext uri="{FF2B5EF4-FFF2-40B4-BE49-F238E27FC236}">
                  <a16:creationId xmlns:a16="http://schemas.microsoft.com/office/drawing/2014/main" id="{12D8F71C-D0E1-6E60-F007-BA2EE8EE3890}"/>
                </a:ext>
              </a:extLst>
            </p:cNvPr>
            <p:cNvSpPr txBox="1"/>
            <p:nvPr>
              <p:custDataLst>
                <p:tags r:id="rId46"/>
              </p:custDataLst>
            </p:nvPr>
          </p:nvSpPr>
          <p:spPr>
            <a:xfrm>
              <a:off x="296678" y="5373444"/>
              <a:ext cx="494750" cy="146344"/>
            </a:xfrm>
            <a:prstGeom prst="rect">
              <a:avLst/>
            </a:prstGeom>
            <a:noFill/>
            <a:ln w="0" cap="flat" cmpd="sng" algn="ctr">
              <a:solidFill>
                <a:prstClr val="black">
                  <a:alpha val="0"/>
                </a:prst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none" lIns="0" tIns="0" rIns="0" bIns="0" rtlCol="0" anchor="ctr">
              <a:noAutofit/>
            </a:bodyPr>
            <a:lstStyle/>
            <a:p>
              <a:pPr defTabSz="495300"/>
              <a:r>
                <a:rPr lang="en-US" sz="1000">
                  <a:solidFill>
                    <a:srgbClr val="10384F"/>
                  </a:solidFill>
                  <a:latin typeface="Arial" panose="020B0604020202020204" pitchFamily="34" charset="0"/>
                </a:rPr>
                <a:t>Sprint 4</a:t>
              </a:r>
            </a:p>
          </p:txBody>
        </p:sp>
        <p:sp>
          <p:nvSpPr>
            <p:cNvPr id="598" name="TextBox 597">
              <a:extLst>
                <a:ext uri="{FF2B5EF4-FFF2-40B4-BE49-F238E27FC236}">
                  <a16:creationId xmlns:a16="http://schemas.microsoft.com/office/drawing/2014/main" id="{A1F76661-13EF-C6B5-F576-1FE012C769E6}"/>
                </a:ext>
              </a:extLst>
            </p:cNvPr>
            <p:cNvSpPr txBox="1"/>
            <p:nvPr>
              <p:custDataLst>
                <p:tags r:id="rId47"/>
              </p:custDataLst>
            </p:nvPr>
          </p:nvSpPr>
          <p:spPr>
            <a:xfrm>
              <a:off x="296678" y="5691201"/>
              <a:ext cx="494750" cy="146344"/>
            </a:xfrm>
            <a:prstGeom prst="rect">
              <a:avLst/>
            </a:prstGeom>
            <a:noFill/>
            <a:ln w="0" cap="flat" cmpd="sng" algn="ctr">
              <a:solidFill>
                <a:prstClr val="black">
                  <a:alpha val="0"/>
                </a:prst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none" lIns="0" tIns="0" rIns="0" bIns="0" rtlCol="0" anchor="ctr">
              <a:noAutofit/>
            </a:bodyPr>
            <a:lstStyle/>
            <a:p>
              <a:pPr defTabSz="495300"/>
              <a:r>
                <a:rPr lang="en-US" sz="1000">
                  <a:solidFill>
                    <a:srgbClr val="10384F"/>
                  </a:solidFill>
                  <a:latin typeface="Arial" panose="020B0604020202020204" pitchFamily="34" charset="0"/>
                </a:rPr>
                <a:t>Sprint 5</a:t>
              </a:r>
            </a:p>
          </p:txBody>
        </p:sp>
        <p:sp>
          <p:nvSpPr>
            <p:cNvPr id="621" name="TextBox 620">
              <a:extLst>
                <a:ext uri="{FF2B5EF4-FFF2-40B4-BE49-F238E27FC236}">
                  <a16:creationId xmlns:a16="http://schemas.microsoft.com/office/drawing/2014/main" id="{9F5B6FD4-D229-E948-73A0-4FCC569525EB}"/>
                </a:ext>
              </a:extLst>
            </p:cNvPr>
            <p:cNvSpPr txBox="1"/>
            <p:nvPr>
              <p:custDataLst>
                <p:tags r:id="rId48"/>
              </p:custDataLst>
            </p:nvPr>
          </p:nvSpPr>
          <p:spPr>
            <a:xfrm>
              <a:off x="296678" y="6008958"/>
              <a:ext cx="494750" cy="146344"/>
            </a:xfrm>
            <a:prstGeom prst="rect">
              <a:avLst/>
            </a:prstGeom>
            <a:noFill/>
            <a:ln w="0" cap="flat" cmpd="sng" algn="ctr">
              <a:solidFill>
                <a:prstClr val="black">
                  <a:alpha val="0"/>
                </a:prst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none" lIns="0" tIns="0" rIns="0" bIns="0" rtlCol="0" anchor="ctr">
              <a:noAutofit/>
            </a:bodyPr>
            <a:lstStyle/>
            <a:p>
              <a:pPr defTabSz="495300"/>
              <a:r>
                <a:rPr lang="en-US" sz="1000">
                  <a:solidFill>
                    <a:srgbClr val="10384F"/>
                  </a:solidFill>
                  <a:latin typeface="Arial" panose="020B0604020202020204" pitchFamily="34" charset="0"/>
                </a:rPr>
                <a:t>Sprint 6</a:t>
              </a:r>
            </a:p>
          </p:txBody>
        </p:sp>
        <p:sp>
          <p:nvSpPr>
            <p:cNvPr id="152" name="TextBox 151">
              <a:extLst>
                <a:ext uri="{FF2B5EF4-FFF2-40B4-BE49-F238E27FC236}">
                  <a16:creationId xmlns:a16="http://schemas.microsoft.com/office/drawing/2014/main" id="{AABE9FE8-DC44-B5AD-E240-698409F3E9C5}"/>
                </a:ext>
              </a:extLst>
            </p:cNvPr>
            <p:cNvSpPr txBox="1"/>
            <p:nvPr>
              <p:custDataLst>
                <p:tags r:id="rId49"/>
              </p:custDataLst>
            </p:nvPr>
          </p:nvSpPr>
          <p:spPr>
            <a:xfrm>
              <a:off x="169678" y="3058669"/>
              <a:ext cx="633010" cy="169755"/>
            </a:xfrm>
            <a:prstGeom prst="rect">
              <a:avLst/>
            </a:prstGeom>
            <a:noFill/>
            <a:ln w="0" cap="flat" cmpd="sng" algn="ctr">
              <a:solidFill>
                <a:prstClr val="black">
                  <a:alpha val="0"/>
                </a:prst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none" lIns="0" tIns="0" rIns="0" bIns="0" rtlCol="0">
              <a:noAutofit/>
            </a:bodyPr>
            <a:lstStyle/>
            <a:p>
              <a:pPr defTabSz="495300"/>
              <a:r>
                <a:rPr lang="en-US" sz="1200">
                  <a:solidFill>
                    <a:srgbClr val="10384F"/>
                  </a:solidFill>
                  <a:latin typeface="Arial" panose="020B0604020202020204" pitchFamily="34" charset="0"/>
                </a:rPr>
                <a:t>OEE DA</a:t>
              </a:r>
            </a:p>
          </p:txBody>
        </p:sp>
        <p:sp>
          <p:nvSpPr>
            <p:cNvPr id="289" name="TextBox 288">
              <a:extLst>
                <a:ext uri="{FF2B5EF4-FFF2-40B4-BE49-F238E27FC236}">
                  <a16:creationId xmlns:a16="http://schemas.microsoft.com/office/drawing/2014/main" id="{3BEC54D3-3DEA-C255-452A-CACE46571521}"/>
                </a:ext>
              </a:extLst>
            </p:cNvPr>
            <p:cNvSpPr txBox="1"/>
            <p:nvPr>
              <p:custDataLst>
                <p:tags r:id="rId50"/>
              </p:custDataLst>
            </p:nvPr>
          </p:nvSpPr>
          <p:spPr>
            <a:xfrm>
              <a:off x="296678" y="3386544"/>
              <a:ext cx="494750" cy="146344"/>
            </a:xfrm>
            <a:prstGeom prst="rect">
              <a:avLst/>
            </a:prstGeom>
            <a:noFill/>
            <a:ln w="0" cap="flat" cmpd="sng" algn="ctr">
              <a:solidFill>
                <a:prstClr val="black">
                  <a:alpha val="0"/>
                </a:prst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none" lIns="0" tIns="0" rIns="0" bIns="0" rtlCol="0" anchor="ctr">
              <a:noAutofit/>
            </a:bodyPr>
            <a:lstStyle/>
            <a:p>
              <a:pPr defTabSz="495300"/>
              <a:r>
                <a:rPr lang="en-US" sz="1000">
                  <a:solidFill>
                    <a:srgbClr val="10384F"/>
                  </a:solidFill>
                  <a:latin typeface="Arial" panose="020B0604020202020204" pitchFamily="34" charset="0"/>
                </a:rPr>
                <a:t>Sprint 1</a:t>
              </a:r>
            </a:p>
          </p:txBody>
        </p:sp>
        <p:sp>
          <p:nvSpPr>
            <p:cNvPr id="290" name="TextBox 289">
              <a:extLst>
                <a:ext uri="{FF2B5EF4-FFF2-40B4-BE49-F238E27FC236}">
                  <a16:creationId xmlns:a16="http://schemas.microsoft.com/office/drawing/2014/main" id="{58975180-5F21-9CAA-2D9C-013F80B934EF}"/>
                </a:ext>
              </a:extLst>
            </p:cNvPr>
            <p:cNvSpPr txBox="1"/>
            <p:nvPr>
              <p:custDataLst>
                <p:tags r:id="rId51"/>
              </p:custDataLst>
            </p:nvPr>
          </p:nvSpPr>
          <p:spPr>
            <a:xfrm>
              <a:off x="296678" y="3704300"/>
              <a:ext cx="494750" cy="146344"/>
            </a:xfrm>
            <a:prstGeom prst="rect">
              <a:avLst/>
            </a:prstGeom>
            <a:noFill/>
            <a:ln w="0" cap="flat" cmpd="sng" algn="ctr">
              <a:solidFill>
                <a:prstClr val="black">
                  <a:alpha val="0"/>
                </a:prst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none" lIns="0" tIns="0" rIns="0" bIns="0" rtlCol="0" anchor="ctr">
              <a:noAutofit/>
            </a:bodyPr>
            <a:lstStyle/>
            <a:p>
              <a:pPr defTabSz="495300"/>
              <a:r>
                <a:rPr lang="en-US" sz="1000">
                  <a:solidFill>
                    <a:srgbClr val="10384F"/>
                  </a:solidFill>
                  <a:latin typeface="Arial" panose="020B0604020202020204" pitchFamily="34" charset="0"/>
                </a:rPr>
                <a:t>Sprint 2</a:t>
              </a:r>
            </a:p>
          </p:txBody>
        </p:sp>
        <p:sp>
          <p:nvSpPr>
            <p:cNvPr id="407" name="TextBox 406">
              <a:extLst>
                <a:ext uri="{FF2B5EF4-FFF2-40B4-BE49-F238E27FC236}">
                  <a16:creationId xmlns:a16="http://schemas.microsoft.com/office/drawing/2014/main" id="{1CBA03E9-6B99-1273-448E-CD43A7BB524E}"/>
                </a:ext>
              </a:extLst>
            </p:cNvPr>
            <p:cNvSpPr txBox="1"/>
            <p:nvPr>
              <p:custDataLst>
                <p:tags r:id="rId52"/>
              </p:custDataLst>
            </p:nvPr>
          </p:nvSpPr>
          <p:spPr bwMode="gray">
            <a:xfrm>
              <a:off x="296677" y="6326715"/>
              <a:ext cx="494750" cy="146344"/>
            </a:xfrm>
            <a:prstGeom prst="rect">
              <a:avLst/>
            </a:prstGeom>
            <a:noFill/>
            <a:ln w="0" cap="flat" cmpd="sng" algn="ctr">
              <a:solidFill>
                <a:prstClr val="black">
                  <a:alpha val="0"/>
                </a:prst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none" lIns="0" tIns="0" rIns="0" bIns="0" rtlCol="0" anchor="ctr">
              <a:noAutofit/>
            </a:bodyPr>
            <a:lstStyle/>
            <a:p>
              <a:pPr defTabSz="495300"/>
              <a:r>
                <a:rPr lang="en-US" sz="1000">
                  <a:solidFill>
                    <a:srgbClr val="10384F"/>
                  </a:solidFill>
                  <a:latin typeface="Arial" panose="020B0604020202020204" pitchFamily="34" charset="0"/>
                </a:rPr>
                <a:t>Sprint 7</a:t>
              </a:r>
              <a:endParaRPr lang="en-US" sz="1000" dirty="0" err="1">
                <a:solidFill>
                  <a:srgbClr val="10384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498" name="TextBox 497">
              <a:extLst>
                <a:ext uri="{FF2B5EF4-FFF2-40B4-BE49-F238E27FC236}">
                  <a16:creationId xmlns:a16="http://schemas.microsoft.com/office/drawing/2014/main" id="{3FD5D720-268B-F1D0-347B-B14FAD6B0EBC}"/>
                </a:ext>
              </a:extLst>
            </p:cNvPr>
            <p:cNvSpPr txBox="1"/>
            <p:nvPr>
              <p:custDataLst>
                <p:tags r:id="rId53"/>
              </p:custDataLst>
            </p:nvPr>
          </p:nvSpPr>
          <p:spPr bwMode="gray">
            <a:xfrm>
              <a:off x="296678" y="6644471"/>
              <a:ext cx="311235" cy="146344"/>
            </a:xfrm>
            <a:prstGeom prst="rect">
              <a:avLst/>
            </a:prstGeom>
            <a:noFill/>
            <a:ln w="0" cap="flat" cmpd="sng" algn="ctr">
              <a:solidFill>
                <a:prstClr val="black">
                  <a:alpha val="0"/>
                </a:prst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none" lIns="0" tIns="0" rIns="0" bIns="0" rtlCol="0" anchor="ctr">
              <a:noAutofit/>
            </a:bodyPr>
            <a:lstStyle/>
            <a:p>
              <a:pPr defTabSz="495300"/>
              <a:r>
                <a:rPr lang="en-US" sz="1000">
                  <a:solidFill>
                    <a:srgbClr val="10384F"/>
                  </a:solidFill>
                  <a:latin typeface="Arial" panose="020B0604020202020204" pitchFamily="34" charset="0"/>
                </a:rPr>
                <a:t>Row</a:t>
              </a:r>
              <a:endParaRPr lang="en-US" sz="1000" dirty="0" err="1">
                <a:solidFill>
                  <a:srgbClr val="10384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5E0A5B2E-F6B1-F8BF-C81A-3769A1654349}"/>
                </a:ext>
              </a:extLst>
            </p:cNvPr>
            <p:cNvSpPr txBox="1"/>
            <p:nvPr>
              <p:custDataLst>
                <p:tags r:id="rId54"/>
              </p:custDataLst>
            </p:nvPr>
          </p:nvSpPr>
          <p:spPr>
            <a:xfrm>
              <a:off x="1583449" y="526669"/>
              <a:ext cx="1242441" cy="146344"/>
            </a:xfrm>
            <a:prstGeom prst="rect">
              <a:avLst/>
            </a:prstGeom>
            <a:noFill/>
            <a:ln w="0" cap="flat" cmpd="sng" algn="ctr">
              <a:solidFill>
                <a:prstClr val="black">
                  <a:alpha val="0"/>
                </a:prst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none" lIns="0" tIns="0" rIns="0" bIns="0" rtlCol="0" anchor="ctr">
              <a:noAutofit/>
            </a:bodyPr>
            <a:lstStyle/>
            <a:p>
              <a:pPr defTabSz="495300"/>
              <a:r>
                <a:rPr lang="en-US" sz="1000">
                  <a:solidFill>
                    <a:srgbClr val="FFFFFF"/>
                  </a:solidFill>
                  <a:latin typeface="Arial" panose="020B0604020202020204" pitchFamily="34" charset="0"/>
                </a:rPr>
                <a:t>4​/14/2024 - 5/17/202​4</a:t>
              </a:r>
            </a:p>
          </p:txBody>
        </p:sp>
        <p:sp>
          <p:nvSpPr>
            <p:cNvPr id="171" name="TextBox 170">
              <a:extLst>
                <a:ext uri="{FF2B5EF4-FFF2-40B4-BE49-F238E27FC236}">
                  <a16:creationId xmlns:a16="http://schemas.microsoft.com/office/drawing/2014/main" id="{B52A6EB0-0C36-22B4-8BCF-2A054661D516}"/>
                </a:ext>
              </a:extLst>
            </p:cNvPr>
            <p:cNvSpPr txBox="1"/>
            <p:nvPr>
              <p:custDataLst>
                <p:tags r:id="rId55"/>
              </p:custDataLst>
            </p:nvPr>
          </p:nvSpPr>
          <p:spPr>
            <a:xfrm>
              <a:off x="3712776" y="1480058"/>
              <a:ext cx="1171829" cy="146344"/>
            </a:xfrm>
            <a:prstGeom prst="rect">
              <a:avLst/>
            </a:prstGeom>
            <a:noFill/>
            <a:ln w="0" cap="flat" cmpd="sng" algn="ctr">
              <a:solidFill>
                <a:prstClr val="black">
                  <a:alpha val="0"/>
                </a:prst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none" lIns="0" tIns="0" rIns="0" bIns="0" rtlCol="0" anchor="ctr">
              <a:noAutofit/>
            </a:bodyPr>
            <a:lstStyle/>
            <a:p>
              <a:pPr defTabSz="495300"/>
              <a:r>
                <a:rPr lang="en-US" sz="1000">
                  <a:solidFill>
                    <a:srgbClr val="FFFFFF"/>
                  </a:solidFill>
                  <a:latin typeface="Arial" panose="020B0604020202020204" pitchFamily="34" charset="0"/>
                </a:rPr>
                <a:t>5​/18/2024 - 8/2/202​4</a:t>
              </a:r>
            </a:p>
          </p:txBody>
        </p:sp>
        <p:sp>
          <p:nvSpPr>
            <p:cNvPr id="479" name="TextBox 478">
              <a:extLst>
                <a:ext uri="{FF2B5EF4-FFF2-40B4-BE49-F238E27FC236}">
                  <a16:creationId xmlns:a16="http://schemas.microsoft.com/office/drawing/2014/main" id="{DBF8DA7F-9EC6-F907-47F2-845669AC88DA}"/>
                </a:ext>
              </a:extLst>
            </p:cNvPr>
            <p:cNvSpPr txBox="1"/>
            <p:nvPr>
              <p:custDataLst>
                <p:tags r:id="rId56"/>
              </p:custDataLst>
            </p:nvPr>
          </p:nvSpPr>
          <p:spPr>
            <a:xfrm>
              <a:off x="1725022" y="4062222"/>
              <a:ext cx="1171829" cy="146344"/>
            </a:xfrm>
            <a:prstGeom prst="rect">
              <a:avLst/>
            </a:prstGeom>
            <a:noFill/>
            <a:ln w="0" cap="flat" cmpd="sng" algn="ctr">
              <a:solidFill>
                <a:prstClr val="black">
                  <a:alpha val="0"/>
                </a:prst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none" lIns="0" tIns="0" rIns="0" bIns="0" rtlCol="0" anchor="ctr">
              <a:noAutofit/>
            </a:bodyPr>
            <a:lstStyle/>
            <a:p>
              <a:pPr defTabSz="495300"/>
              <a:r>
                <a:rPr lang="en-US" sz="1000">
                  <a:solidFill>
                    <a:srgbClr val="FFFFFF"/>
                  </a:solidFill>
                  <a:latin typeface="Arial" panose="020B0604020202020204" pitchFamily="34" charset="0"/>
                </a:rPr>
                <a:t>4​/17/2024 - 9/8/202​4</a:t>
              </a:r>
            </a:p>
          </p:txBody>
        </p:sp>
        <p:sp>
          <p:nvSpPr>
            <p:cNvPr id="175" name="TextBox 174">
              <a:extLst>
                <a:ext uri="{FF2B5EF4-FFF2-40B4-BE49-F238E27FC236}">
                  <a16:creationId xmlns:a16="http://schemas.microsoft.com/office/drawing/2014/main" id="{A7866E01-ED86-85BA-C66C-41C1284AFD23}"/>
                </a:ext>
              </a:extLst>
            </p:cNvPr>
            <p:cNvSpPr txBox="1"/>
            <p:nvPr>
              <p:custDataLst>
                <p:tags r:id="rId57"/>
              </p:custDataLst>
            </p:nvPr>
          </p:nvSpPr>
          <p:spPr>
            <a:xfrm>
              <a:off x="7303559" y="3068828"/>
              <a:ext cx="1242441" cy="146344"/>
            </a:xfrm>
            <a:prstGeom prst="rect">
              <a:avLst/>
            </a:prstGeom>
            <a:noFill/>
            <a:ln w="0" cap="flat" cmpd="sng" algn="ctr">
              <a:solidFill>
                <a:prstClr val="black">
                  <a:alpha val="0"/>
                </a:prst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none" lIns="0" tIns="0" rIns="0" bIns="0" rtlCol="0" anchor="ctr">
              <a:noAutofit/>
            </a:bodyPr>
            <a:lstStyle/>
            <a:p>
              <a:pPr defTabSz="495300"/>
              <a:r>
                <a:rPr lang="en-US" sz="1000">
                  <a:solidFill>
                    <a:srgbClr val="FFFFFF"/>
                  </a:solidFill>
                  <a:latin typeface="Arial" panose="020B0604020202020204" pitchFamily="34" charset="0"/>
                </a:rPr>
                <a:t>7​/13/2024 - 8/18/202​4</a:t>
              </a:r>
            </a:p>
          </p:txBody>
        </p:sp>
        <p:sp>
          <p:nvSpPr>
            <p:cNvPr id="108" name="TextBox 107">
              <a:extLst>
                <a:ext uri="{FF2B5EF4-FFF2-40B4-BE49-F238E27FC236}">
                  <a16:creationId xmlns:a16="http://schemas.microsoft.com/office/drawing/2014/main" id="{1D49BDC4-239B-ED87-CF84-42816AB4A806}"/>
                </a:ext>
              </a:extLst>
            </p:cNvPr>
            <p:cNvSpPr txBox="1"/>
            <p:nvPr>
              <p:custDataLst>
                <p:tags r:id="rId58"/>
              </p:custDataLst>
            </p:nvPr>
          </p:nvSpPr>
          <p:spPr>
            <a:xfrm>
              <a:off x="1711925" y="856194"/>
              <a:ext cx="475022" cy="122934"/>
            </a:xfrm>
            <a:prstGeom prst="rect">
              <a:avLst/>
            </a:prstGeom>
            <a:noFill/>
            <a:ln w="0" cap="flat" cmpd="sng" algn="ctr">
              <a:solidFill>
                <a:prstClr val="black">
                  <a:alpha val="0"/>
                </a:prst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none" lIns="0" tIns="0" rIns="0" bIns="0" rtlCol="0" anchor="ctr" anchorCtr="1">
              <a:noAutofit/>
            </a:bodyPr>
            <a:lstStyle/>
            <a:p>
              <a:pPr algn="ctr" defTabSz="495300"/>
              <a:r>
                <a:rPr lang="en-US" sz="800">
                  <a:solidFill>
                    <a:srgbClr val="10384F"/>
                  </a:solidFill>
                  <a:latin typeface="Arial" panose="020B0604020202020204" pitchFamily="34" charset="0"/>
                </a:rPr>
                <a:t>Hypercare</a:t>
              </a:r>
            </a:p>
          </p:txBody>
        </p:sp>
        <p:sp>
          <p:nvSpPr>
            <p:cNvPr id="154" name="TextBox 153">
              <a:extLst>
                <a:ext uri="{FF2B5EF4-FFF2-40B4-BE49-F238E27FC236}">
                  <a16:creationId xmlns:a16="http://schemas.microsoft.com/office/drawing/2014/main" id="{903E9D5F-3DFD-E8C2-289C-B9234D405A3B}"/>
                </a:ext>
              </a:extLst>
            </p:cNvPr>
            <p:cNvSpPr txBox="1"/>
            <p:nvPr>
              <p:custDataLst>
                <p:tags r:id="rId59"/>
              </p:custDataLst>
            </p:nvPr>
          </p:nvSpPr>
          <p:spPr>
            <a:xfrm>
              <a:off x="2353624" y="1173951"/>
              <a:ext cx="1051137" cy="122934"/>
            </a:xfrm>
            <a:prstGeom prst="rect">
              <a:avLst/>
            </a:prstGeom>
            <a:noFill/>
            <a:ln w="0" cap="flat" cmpd="sng" algn="ctr">
              <a:solidFill>
                <a:prstClr val="black">
                  <a:alpha val="0"/>
                </a:prst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none" lIns="0" tIns="0" rIns="0" bIns="0" rtlCol="0" anchor="ctr" anchorCtr="1">
              <a:noAutofit/>
            </a:bodyPr>
            <a:lstStyle/>
            <a:p>
              <a:pPr algn="ctr" defTabSz="495300"/>
              <a:r>
                <a:rPr lang="en-US" sz="800">
                  <a:solidFill>
                    <a:srgbClr val="10384F"/>
                  </a:solidFill>
                  <a:latin typeface="Arial" panose="020B0604020202020204" pitchFamily="34" charset="0"/>
                </a:rPr>
                <a:t>Desarrollo de Reportes</a:t>
              </a:r>
            </a:p>
          </p:txBody>
        </p:sp>
        <p:sp>
          <p:nvSpPr>
            <p:cNvPr id="219" name="TextBox 218">
              <a:extLst>
                <a:ext uri="{FF2B5EF4-FFF2-40B4-BE49-F238E27FC236}">
                  <a16:creationId xmlns:a16="http://schemas.microsoft.com/office/drawing/2014/main" id="{AC3ADABB-4395-5353-82AA-67030B5ECA65}"/>
                </a:ext>
              </a:extLst>
            </p:cNvPr>
            <p:cNvSpPr txBox="1"/>
            <p:nvPr>
              <p:custDataLst>
                <p:tags r:id="rId60"/>
              </p:custDataLst>
            </p:nvPr>
          </p:nvSpPr>
          <p:spPr>
            <a:xfrm>
              <a:off x="3853682" y="1809465"/>
              <a:ext cx="808228" cy="122934"/>
            </a:xfrm>
            <a:prstGeom prst="rect">
              <a:avLst/>
            </a:prstGeom>
            <a:noFill/>
            <a:ln w="0" cap="flat" cmpd="sng" algn="ctr">
              <a:solidFill>
                <a:prstClr val="black">
                  <a:alpha val="0"/>
                </a:prst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none" lIns="0" tIns="0" rIns="0" bIns="0" rtlCol="0" anchor="ctr" anchorCtr="1">
              <a:noAutofit/>
            </a:bodyPr>
            <a:lstStyle/>
            <a:p>
              <a:pPr algn="ctr" defTabSz="495300"/>
              <a:r>
                <a:rPr lang="en-US" sz="800">
                  <a:solidFill>
                    <a:srgbClr val="10384F"/>
                  </a:solidFill>
                  <a:latin typeface="Arial" panose="020B0604020202020204" pitchFamily="34" charset="0"/>
                </a:rPr>
                <a:t>Fase 1 Desarrollo</a:t>
              </a:r>
            </a:p>
          </p:txBody>
        </p:sp>
        <p:sp>
          <p:nvSpPr>
            <p:cNvPr id="293" name="TextBox 292">
              <a:extLst>
                <a:ext uri="{FF2B5EF4-FFF2-40B4-BE49-F238E27FC236}">
                  <a16:creationId xmlns:a16="http://schemas.microsoft.com/office/drawing/2014/main" id="{7D639E9D-190F-F85E-9DBE-1E68F54258BA}"/>
                </a:ext>
              </a:extLst>
            </p:cNvPr>
            <p:cNvSpPr txBox="1"/>
            <p:nvPr>
              <p:custDataLst>
                <p:tags r:id="rId61"/>
              </p:custDataLst>
            </p:nvPr>
          </p:nvSpPr>
          <p:spPr>
            <a:xfrm>
              <a:off x="4975801" y="2127222"/>
              <a:ext cx="808228" cy="122934"/>
            </a:xfrm>
            <a:prstGeom prst="rect">
              <a:avLst/>
            </a:prstGeom>
            <a:noFill/>
            <a:ln w="0" cap="flat" cmpd="sng" algn="ctr">
              <a:solidFill>
                <a:prstClr val="black">
                  <a:alpha val="0"/>
                </a:prst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none" lIns="0" tIns="0" rIns="0" bIns="0" rtlCol="0" anchor="ctr" anchorCtr="1">
              <a:noAutofit/>
            </a:bodyPr>
            <a:lstStyle/>
            <a:p>
              <a:pPr algn="ctr" defTabSz="495300"/>
              <a:r>
                <a:rPr lang="en-US" sz="800">
                  <a:solidFill>
                    <a:srgbClr val="10384F"/>
                  </a:solidFill>
                  <a:latin typeface="Arial" panose="020B0604020202020204" pitchFamily="34" charset="0"/>
                </a:rPr>
                <a:t>Fase 2 Desarrollo</a:t>
              </a:r>
            </a:p>
          </p:txBody>
        </p:sp>
        <p:sp>
          <p:nvSpPr>
            <p:cNvPr id="366" name="TextBox 365">
              <a:extLst>
                <a:ext uri="{FF2B5EF4-FFF2-40B4-BE49-F238E27FC236}">
                  <a16:creationId xmlns:a16="http://schemas.microsoft.com/office/drawing/2014/main" id="{FAF067D6-C682-4844-F33B-FABC97D18EB1}"/>
                </a:ext>
              </a:extLst>
            </p:cNvPr>
            <p:cNvSpPr txBox="1"/>
            <p:nvPr>
              <p:custDataLst>
                <p:tags r:id="rId62"/>
              </p:custDataLst>
            </p:nvPr>
          </p:nvSpPr>
          <p:spPr>
            <a:xfrm>
              <a:off x="6246687" y="2444978"/>
              <a:ext cx="638937" cy="122934"/>
            </a:xfrm>
            <a:prstGeom prst="rect">
              <a:avLst/>
            </a:prstGeom>
            <a:noFill/>
            <a:ln w="0" cap="flat" cmpd="sng" algn="ctr">
              <a:solidFill>
                <a:prstClr val="black">
                  <a:alpha val="0"/>
                </a:prst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none" lIns="0" tIns="0" rIns="0" bIns="0" rtlCol="0" anchor="ctr" anchorCtr="1">
              <a:noAutofit/>
            </a:bodyPr>
            <a:lstStyle/>
            <a:p>
              <a:pPr algn="ctr" defTabSz="495300"/>
              <a:r>
                <a:rPr lang="en-US" sz="800">
                  <a:solidFill>
                    <a:srgbClr val="10384F"/>
                  </a:solidFill>
                  <a:latin typeface="Arial" panose="020B0604020202020204" pitchFamily="34" charset="0"/>
                </a:rPr>
                <a:t>Fase Pruebas</a:t>
              </a:r>
            </a:p>
          </p:txBody>
        </p:sp>
        <p:sp>
          <p:nvSpPr>
            <p:cNvPr id="398" name="TextBox 397">
              <a:extLst>
                <a:ext uri="{FF2B5EF4-FFF2-40B4-BE49-F238E27FC236}">
                  <a16:creationId xmlns:a16="http://schemas.microsoft.com/office/drawing/2014/main" id="{8FAF7969-FB1E-B72E-4789-9BECDD87343A}"/>
                </a:ext>
              </a:extLst>
            </p:cNvPr>
            <p:cNvSpPr txBox="1"/>
            <p:nvPr>
              <p:custDataLst>
                <p:tags r:id="rId63"/>
              </p:custDataLst>
            </p:nvPr>
          </p:nvSpPr>
          <p:spPr>
            <a:xfrm>
              <a:off x="7675188" y="2762735"/>
              <a:ext cx="475022" cy="122934"/>
            </a:xfrm>
            <a:prstGeom prst="rect">
              <a:avLst/>
            </a:prstGeom>
            <a:noFill/>
            <a:ln w="0" cap="flat" cmpd="sng" algn="ctr">
              <a:solidFill>
                <a:prstClr val="black">
                  <a:alpha val="0"/>
                </a:prst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none" lIns="0" tIns="0" rIns="0" bIns="0" rtlCol="0" anchor="ctr" anchorCtr="1">
              <a:noAutofit/>
            </a:bodyPr>
            <a:lstStyle/>
            <a:p>
              <a:pPr algn="ctr" defTabSz="495300"/>
              <a:r>
                <a:rPr lang="en-US" sz="800">
                  <a:solidFill>
                    <a:srgbClr val="10384F"/>
                  </a:solidFill>
                  <a:latin typeface="Arial" panose="020B0604020202020204" pitchFamily="34" charset="0"/>
                </a:rPr>
                <a:t>Hypercare</a:t>
              </a:r>
            </a:p>
          </p:txBody>
        </p:sp>
        <p:sp>
          <p:nvSpPr>
            <p:cNvPr id="486" name="TextBox 485">
              <a:extLst>
                <a:ext uri="{FF2B5EF4-FFF2-40B4-BE49-F238E27FC236}">
                  <a16:creationId xmlns:a16="http://schemas.microsoft.com/office/drawing/2014/main" id="{43F4262E-736C-FF5A-6E6C-271295DBFF0D}"/>
                </a:ext>
              </a:extLst>
            </p:cNvPr>
            <p:cNvSpPr txBox="1"/>
            <p:nvPr>
              <p:custDataLst>
                <p:tags r:id="rId64"/>
              </p:custDataLst>
            </p:nvPr>
          </p:nvSpPr>
          <p:spPr>
            <a:xfrm>
              <a:off x="2877365" y="4431879"/>
              <a:ext cx="452501" cy="122934"/>
            </a:xfrm>
            <a:prstGeom prst="rect">
              <a:avLst/>
            </a:prstGeom>
            <a:noFill/>
            <a:ln w="0" cap="flat" cmpd="sng" algn="ctr">
              <a:solidFill>
                <a:prstClr val="black">
                  <a:alpha val="0"/>
                </a:prst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none" lIns="0" tIns="0" rIns="0" bIns="0" rtlCol="0" anchor="ctr" anchorCtr="1">
              <a:noAutofit/>
            </a:bodyPr>
            <a:lstStyle/>
            <a:p>
              <a:pPr algn="ctr" defTabSz="495300"/>
              <a:r>
                <a:rPr lang="en-US" sz="800">
                  <a:solidFill>
                    <a:srgbClr val="10384F"/>
                  </a:solidFill>
                  <a:latin typeface="Arial" panose="020B0604020202020204" pitchFamily="34" charset="0"/>
                </a:rPr>
                <a:t>Definición</a:t>
              </a:r>
            </a:p>
          </p:txBody>
        </p:sp>
        <p:sp>
          <p:nvSpPr>
            <p:cNvPr id="503" name="TextBox 502">
              <a:extLst>
                <a:ext uri="{FF2B5EF4-FFF2-40B4-BE49-F238E27FC236}">
                  <a16:creationId xmlns:a16="http://schemas.microsoft.com/office/drawing/2014/main" id="{68D7458A-8A7C-8095-8F37-C23DCF694238}"/>
                </a:ext>
              </a:extLst>
            </p:cNvPr>
            <p:cNvSpPr txBox="1"/>
            <p:nvPr>
              <p:custDataLst>
                <p:tags r:id="rId65"/>
              </p:custDataLst>
            </p:nvPr>
          </p:nvSpPr>
          <p:spPr>
            <a:xfrm>
              <a:off x="3704428" y="4749636"/>
              <a:ext cx="593767" cy="122934"/>
            </a:xfrm>
            <a:prstGeom prst="rect">
              <a:avLst/>
            </a:prstGeom>
            <a:noFill/>
            <a:ln w="0" cap="flat" cmpd="sng" algn="ctr">
              <a:solidFill>
                <a:prstClr val="black">
                  <a:alpha val="0"/>
                </a:prst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none" lIns="0" tIns="0" rIns="0" bIns="0" rtlCol="0" anchor="ctr" anchorCtr="1">
              <a:noAutofit/>
            </a:bodyPr>
            <a:lstStyle/>
            <a:p>
              <a:pPr algn="ctr" defTabSz="495300"/>
              <a:r>
                <a:rPr lang="es-ES" sz="800">
                  <a:solidFill>
                    <a:srgbClr val="10384F"/>
                  </a:solidFill>
                  <a:latin typeface="Arial" panose="020B0604020202020204" pitchFamily="34" charset="0"/>
                </a:rPr>
                <a:t>Conectividad</a:t>
              </a:r>
              <a:endParaRPr lang="en-US" sz="800">
                <a:solidFill>
                  <a:srgbClr val="10384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32" name="TextBox 531">
              <a:extLst>
                <a:ext uri="{FF2B5EF4-FFF2-40B4-BE49-F238E27FC236}">
                  <a16:creationId xmlns:a16="http://schemas.microsoft.com/office/drawing/2014/main" id="{07B84EEB-7827-EFBA-D282-470289FBDE28}"/>
                </a:ext>
              </a:extLst>
            </p:cNvPr>
            <p:cNvSpPr txBox="1"/>
            <p:nvPr>
              <p:custDataLst>
                <p:tags r:id="rId66"/>
              </p:custDataLst>
            </p:nvPr>
          </p:nvSpPr>
          <p:spPr>
            <a:xfrm>
              <a:off x="5034080" y="5067393"/>
              <a:ext cx="627549" cy="122934"/>
            </a:xfrm>
            <a:prstGeom prst="rect">
              <a:avLst/>
            </a:prstGeom>
            <a:noFill/>
            <a:ln w="0" cap="flat" cmpd="sng" algn="ctr">
              <a:solidFill>
                <a:prstClr val="black">
                  <a:alpha val="0"/>
                </a:prst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none" lIns="0" tIns="0" rIns="0" bIns="0" rtlCol="0" anchor="ctr" anchorCtr="1">
              <a:noAutofit/>
            </a:bodyPr>
            <a:lstStyle/>
            <a:p>
              <a:pPr algn="ctr" defTabSz="495300"/>
              <a:r>
                <a:rPr lang="en-US" sz="800">
                  <a:solidFill>
                    <a:srgbClr val="10384F"/>
                  </a:solidFill>
                  <a:latin typeface="Arial" panose="020B0604020202020204" pitchFamily="34" charset="0"/>
                </a:rPr>
                <a:t>Data Colector</a:t>
              </a:r>
            </a:p>
          </p:txBody>
        </p:sp>
        <p:sp>
          <p:nvSpPr>
            <p:cNvPr id="549" name="TextBox 548">
              <a:extLst>
                <a:ext uri="{FF2B5EF4-FFF2-40B4-BE49-F238E27FC236}">
                  <a16:creationId xmlns:a16="http://schemas.microsoft.com/office/drawing/2014/main" id="{C8FF1236-9158-E5DB-A6D6-B4AFE5BCEEB1}"/>
                </a:ext>
              </a:extLst>
            </p:cNvPr>
            <p:cNvSpPr txBox="1"/>
            <p:nvPr>
              <p:custDataLst>
                <p:tags r:id="rId67"/>
              </p:custDataLst>
            </p:nvPr>
          </p:nvSpPr>
          <p:spPr>
            <a:xfrm>
              <a:off x="4824996" y="5385149"/>
              <a:ext cx="1045718" cy="122934"/>
            </a:xfrm>
            <a:prstGeom prst="rect">
              <a:avLst/>
            </a:prstGeom>
            <a:noFill/>
            <a:ln w="0" cap="flat" cmpd="sng" algn="ctr">
              <a:solidFill>
                <a:prstClr val="black">
                  <a:alpha val="0"/>
                </a:prst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none" lIns="0" tIns="0" rIns="0" bIns="0" rtlCol="0" anchor="ctr" anchorCtr="1">
              <a:noAutofit/>
            </a:bodyPr>
            <a:lstStyle/>
            <a:p>
              <a:pPr algn="ctr" defTabSz="495300"/>
              <a:r>
                <a:rPr lang="en-US" sz="800">
                  <a:solidFill>
                    <a:srgbClr val="10384F"/>
                  </a:solidFill>
                  <a:latin typeface="Arial" panose="020B0604020202020204" pitchFamily="34" charset="0"/>
                </a:rPr>
                <a:t>Pruebas Funcionalidad</a:t>
              </a:r>
            </a:p>
          </p:txBody>
        </p:sp>
        <p:sp>
          <p:nvSpPr>
            <p:cNvPr id="608" name="TextBox 607">
              <a:extLst>
                <a:ext uri="{FF2B5EF4-FFF2-40B4-BE49-F238E27FC236}">
                  <a16:creationId xmlns:a16="http://schemas.microsoft.com/office/drawing/2014/main" id="{4CDB9F5D-77C0-CEEC-6CA2-6CCE01049837}"/>
                </a:ext>
              </a:extLst>
            </p:cNvPr>
            <p:cNvSpPr txBox="1"/>
            <p:nvPr>
              <p:custDataLst>
                <p:tags r:id="rId68"/>
              </p:custDataLst>
            </p:nvPr>
          </p:nvSpPr>
          <p:spPr>
            <a:xfrm>
              <a:off x="6064351" y="5526508"/>
              <a:ext cx="1260094" cy="122934"/>
            </a:xfrm>
            <a:prstGeom prst="rect">
              <a:avLst/>
            </a:prstGeom>
            <a:noFill/>
            <a:ln w="0" cap="flat" cmpd="sng" algn="ctr">
              <a:solidFill>
                <a:prstClr val="black">
                  <a:alpha val="0"/>
                </a:prst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none" lIns="0" tIns="0" rIns="0" bIns="0" rtlCol="0" anchor="ctr" anchorCtr="1">
              <a:noAutofit/>
            </a:bodyPr>
            <a:lstStyle/>
            <a:p>
              <a:pPr algn="ctr" defTabSz="495300"/>
              <a:r>
                <a:rPr lang="en-US" sz="800">
                  <a:solidFill>
                    <a:srgbClr val="10384F"/>
                  </a:solidFill>
                  <a:latin typeface="Arial" panose="020B0604020202020204" pitchFamily="34" charset="0"/>
                </a:rPr>
                <a:t>Retroalimentación y Ajustes</a:t>
              </a: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7C278C7F-3D82-9EBE-5475-956A94501E76}"/>
                </a:ext>
              </a:extLst>
            </p:cNvPr>
            <p:cNvSpPr txBox="1"/>
            <p:nvPr>
              <p:custDataLst>
                <p:tags r:id="rId69"/>
              </p:custDataLst>
            </p:nvPr>
          </p:nvSpPr>
          <p:spPr>
            <a:xfrm>
              <a:off x="7803431" y="6020663"/>
              <a:ext cx="475022" cy="122934"/>
            </a:xfrm>
            <a:prstGeom prst="rect">
              <a:avLst/>
            </a:prstGeom>
            <a:noFill/>
            <a:ln w="0" cap="flat" cmpd="sng" algn="ctr">
              <a:solidFill>
                <a:prstClr val="black">
                  <a:alpha val="0"/>
                </a:prst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none" lIns="0" tIns="0" rIns="0" bIns="0" rtlCol="0" anchor="ctr" anchorCtr="1">
              <a:noAutofit/>
            </a:bodyPr>
            <a:lstStyle/>
            <a:p>
              <a:pPr algn="ctr" defTabSz="495300"/>
              <a:r>
                <a:rPr lang="en-US" sz="800">
                  <a:solidFill>
                    <a:srgbClr val="10384F"/>
                  </a:solidFill>
                  <a:latin typeface="Arial" panose="020B0604020202020204" pitchFamily="34" charset="0"/>
                </a:rPr>
                <a:t>Hypercare</a:t>
              </a:r>
            </a:p>
          </p:txBody>
        </p:sp>
        <p:sp>
          <p:nvSpPr>
            <p:cNvPr id="291" name="TextBox 290">
              <a:extLst>
                <a:ext uri="{FF2B5EF4-FFF2-40B4-BE49-F238E27FC236}">
                  <a16:creationId xmlns:a16="http://schemas.microsoft.com/office/drawing/2014/main" id="{1F9E1F00-0B0A-5F91-BF2B-6D9FC390C843}"/>
                </a:ext>
              </a:extLst>
            </p:cNvPr>
            <p:cNvSpPr txBox="1"/>
            <p:nvPr>
              <p:custDataLst>
                <p:tags r:id="rId70"/>
              </p:custDataLst>
            </p:nvPr>
          </p:nvSpPr>
          <p:spPr>
            <a:xfrm>
              <a:off x="8745605" y="3716006"/>
              <a:ext cx="706670" cy="122934"/>
            </a:xfrm>
            <a:prstGeom prst="rect">
              <a:avLst/>
            </a:prstGeom>
            <a:noFill/>
            <a:ln w="0" cap="flat" cmpd="sng" algn="ctr">
              <a:solidFill>
                <a:prstClr val="black">
                  <a:alpha val="0"/>
                </a:prst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none" lIns="0" tIns="0" rIns="0" bIns="0" rtlCol="0" anchor="ctr" anchorCtr="1">
              <a:noAutofit/>
            </a:bodyPr>
            <a:lstStyle/>
            <a:p>
              <a:pPr algn="ctr" defTabSz="495300"/>
              <a:r>
                <a:rPr lang="en-US" sz="800">
                  <a:solidFill>
                    <a:srgbClr val="10384F"/>
                  </a:solidFill>
                  <a:latin typeface="Arial" panose="020B0604020202020204" pitchFamily="34" charset="0"/>
                </a:rPr>
                <a:t>Data Ananlytics</a:t>
              </a:r>
            </a:p>
          </p:txBody>
        </p:sp>
        <p:sp>
          <p:nvSpPr>
            <p:cNvPr id="292" name="TextBox 291">
              <a:extLst>
                <a:ext uri="{FF2B5EF4-FFF2-40B4-BE49-F238E27FC236}">
                  <a16:creationId xmlns:a16="http://schemas.microsoft.com/office/drawing/2014/main" id="{B24B711C-A2EA-CAAB-88D2-C17DD40F0A09}"/>
                </a:ext>
              </a:extLst>
            </p:cNvPr>
            <p:cNvSpPr txBox="1"/>
            <p:nvPr>
              <p:custDataLst>
                <p:tags r:id="rId71"/>
              </p:custDataLst>
            </p:nvPr>
          </p:nvSpPr>
          <p:spPr>
            <a:xfrm>
              <a:off x="7615816" y="3398249"/>
              <a:ext cx="593767" cy="122934"/>
            </a:xfrm>
            <a:prstGeom prst="rect">
              <a:avLst/>
            </a:prstGeom>
            <a:noFill/>
            <a:ln w="0" cap="flat" cmpd="sng" algn="ctr">
              <a:solidFill>
                <a:prstClr val="black">
                  <a:alpha val="0"/>
                </a:prst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none" lIns="0" tIns="0" rIns="0" bIns="0" rtlCol="0" anchor="ctr" anchorCtr="1">
              <a:noAutofit/>
            </a:bodyPr>
            <a:lstStyle/>
            <a:p>
              <a:pPr algn="ctr" defTabSz="495300"/>
              <a:r>
                <a:rPr lang="en-US" sz="800">
                  <a:solidFill>
                    <a:srgbClr val="10384F"/>
                  </a:solidFill>
                  <a:latin typeface="Arial" panose="020B0604020202020204" pitchFamily="34" charset="0"/>
                </a:rPr>
                <a:t>Conectividad</a:t>
              </a:r>
            </a:p>
          </p:txBody>
        </p:sp>
        <p:sp>
          <p:nvSpPr>
            <p:cNvPr id="367" name="TextBox 366">
              <a:extLst>
                <a:ext uri="{FF2B5EF4-FFF2-40B4-BE49-F238E27FC236}">
                  <a16:creationId xmlns:a16="http://schemas.microsoft.com/office/drawing/2014/main" id="{16C772DF-74DE-BF9B-B3BB-3D1F29C65EDC}"/>
                </a:ext>
              </a:extLst>
            </p:cNvPr>
            <p:cNvSpPr txBox="1"/>
            <p:nvPr>
              <p:custDataLst>
                <p:tags r:id="rId72"/>
              </p:custDataLst>
            </p:nvPr>
          </p:nvSpPr>
          <p:spPr bwMode="gray">
            <a:xfrm>
              <a:off x="1872313" y="4431879"/>
              <a:ext cx="667216" cy="122934"/>
            </a:xfrm>
            <a:prstGeom prst="rect">
              <a:avLst/>
            </a:prstGeom>
            <a:noFill/>
            <a:ln w="0" cap="flat" cmpd="sng" algn="ctr">
              <a:solidFill>
                <a:prstClr val="black">
                  <a:alpha val="0"/>
                </a:prst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none" lIns="0" tIns="0" rIns="0" bIns="0" rtlCol="0" anchor="ctr" anchorCtr="1">
              <a:noAutofit/>
            </a:bodyPr>
            <a:lstStyle/>
            <a:p>
              <a:pPr algn="ctr" defTabSz="495300"/>
              <a:r>
                <a:rPr lang="en-US" sz="800">
                  <a:solidFill>
                    <a:srgbClr val="10384F"/>
                  </a:solidFill>
                  <a:latin typeface="Arial" panose="020B0604020202020204" pitchFamily="34" charset="0"/>
                </a:rPr>
                <a:t>Inmation Done</a:t>
              </a:r>
              <a:endParaRPr lang="en-US" sz="800" dirty="0" err="1">
                <a:solidFill>
                  <a:srgbClr val="10384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450" name="TextBox 449">
              <a:extLst>
                <a:ext uri="{FF2B5EF4-FFF2-40B4-BE49-F238E27FC236}">
                  <a16:creationId xmlns:a16="http://schemas.microsoft.com/office/drawing/2014/main" id="{B05AA518-E183-011F-C5B6-774D0C5C85BD}"/>
                </a:ext>
              </a:extLst>
            </p:cNvPr>
            <p:cNvSpPr txBox="1"/>
            <p:nvPr>
              <p:custDataLst>
                <p:tags r:id="rId73"/>
              </p:custDataLst>
            </p:nvPr>
          </p:nvSpPr>
          <p:spPr bwMode="gray">
            <a:xfrm>
              <a:off x="8915920" y="6338420"/>
              <a:ext cx="593767" cy="122934"/>
            </a:xfrm>
            <a:prstGeom prst="rect">
              <a:avLst/>
            </a:prstGeom>
            <a:noFill/>
            <a:ln w="0" cap="flat" cmpd="sng" algn="ctr">
              <a:solidFill>
                <a:prstClr val="black">
                  <a:alpha val="0"/>
                </a:prst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none" lIns="0" tIns="0" rIns="0" bIns="0" rtlCol="0" anchor="ctr" anchorCtr="1">
              <a:noAutofit/>
            </a:bodyPr>
            <a:lstStyle/>
            <a:p>
              <a:pPr algn="ctr" defTabSz="495300"/>
              <a:r>
                <a:rPr lang="en-US" sz="800">
                  <a:solidFill>
                    <a:srgbClr val="10384F"/>
                  </a:solidFill>
                  <a:latin typeface="Arial" panose="020B0604020202020204" pitchFamily="34" charset="0"/>
                </a:rPr>
                <a:t>Conectividad</a:t>
              </a:r>
              <a:endParaRPr lang="en-US" sz="800" dirty="0" err="1">
                <a:solidFill>
                  <a:srgbClr val="10384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06" name="TextBox 505">
              <a:extLst>
                <a:ext uri="{FF2B5EF4-FFF2-40B4-BE49-F238E27FC236}">
                  <a16:creationId xmlns:a16="http://schemas.microsoft.com/office/drawing/2014/main" id="{75797FF2-6932-E757-A97C-CBEE2585B748}"/>
                </a:ext>
              </a:extLst>
            </p:cNvPr>
            <p:cNvSpPr txBox="1"/>
            <p:nvPr>
              <p:custDataLst>
                <p:tags r:id="rId74"/>
              </p:custDataLst>
            </p:nvPr>
          </p:nvSpPr>
          <p:spPr bwMode="gray">
            <a:xfrm>
              <a:off x="10184526" y="6656177"/>
              <a:ext cx="650155" cy="122934"/>
            </a:xfrm>
            <a:prstGeom prst="rect">
              <a:avLst/>
            </a:prstGeom>
            <a:noFill/>
            <a:ln w="0" cap="flat" cmpd="sng" algn="ctr">
              <a:solidFill>
                <a:prstClr val="black">
                  <a:alpha val="0"/>
                </a:prst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none" lIns="0" tIns="0" rIns="0" bIns="0" rtlCol="0" anchor="ctr" anchorCtr="1">
              <a:noAutofit/>
            </a:bodyPr>
            <a:lstStyle/>
            <a:p>
              <a:pPr algn="ctr" defTabSz="495300"/>
              <a:r>
                <a:rPr lang="en-US" sz="800">
                  <a:solidFill>
                    <a:srgbClr val="10384F"/>
                  </a:solidFill>
                  <a:latin typeface="Arial" panose="020B0604020202020204" pitchFamily="34" charset="0"/>
                </a:rPr>
                <a:t>Data Analytics</a:t>
              </a:r>
              <a:endParaRPr lang="en-US" sz="800" dirty="0" err="1">
                <a:solidFill>
                  <a:srgbClr val="10384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id="{2CD4BCFD-CFC7-EA3B-9980-412AD6AF7880}"/>
                </a:ext>
              </a:extLst>
            </p:cNvPr>
            <p:cNvSpPr txBox="1"/>
            <p:nvPr>
              <p:custDataLst>
                <p:tags r:id="rId75"/>
              </p:custDataLst>
            </p:nvPr>
          </p:nvSpPr>
          <p:spPr>
            <a:xfrm>
              <a:off x="1725012" y="667503"/>
              <a:ext cx="2019503" cy="135228"/>
            </a:xfrm>
            <a:prstGeom prst="rect">
              <a:avLst/>
            </a:prstGeom>
            <a:noFill/>
            <a:ln w="0" cap="flat" cmpd="sng" algn="ctr">
              <a:solidFill>
                <a:prstClr val="black">
                  <a:alpha val="0"/>
                </a:prst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none" lIns="0" tIns="0" rIns="0" bIns="0" rtlCol="0" anchor="ctr">
              <a:noAutofit/>
            </a:bodyPr>
            <a:lstStyle/>
            <a:p>
              <a:pPr defTabSz="495300"/>
              <a:r>
                <a:rPr lang="es-ES" sz="800">
                  <a:solidFill>
                    <a:srgbClr val="10384F"/>
                  </a:solidFill>
                  <a:latin typeface="Arial" panose="020B0604020202020204" pitchFamily="34" charset="0"/>
                </a:rPr>
                <a:t>4​/17/202​4 Activación en todas las lineas </a:t>
              </a:r>
              <a:endParaRPr lang="en-US" sz="800">
                <a:solidFill>
                  <a:srgbClr val="10384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12" name="TextBox 111">
              <a:extLst>
                <a:ext uri="{FF2B5EF4-FFF2-40B4-BE49-F238E27FC236}">
                  <a16:creationId xmlns:a16="http://schemas.microsoft.com/office/drawing/2014/main" id="{DBC9550B-266A-994D-F1F9-D84A284A7211}"/>
                </a:ext>
              </a:extLst>
            </p:cNvPr>
            <p:cNvSpPr txBox="1"/>
            <p:nvPr>
              <p:custDataLst>
                <p:tags r:id="rId76"/>
              </p:custDataLst>
            </p:nvPr>
          </p:nvSpPr>
          <p:spPr>
            <a:xfrm>
              <a:off x="2288791" y="850048"/>
              <a:ext cx="1230198" cy="135228"/>
            </a:xfrm>
            <a:prstGeom prst="rect">
              <a:avLst/>
            </a:prstGeom>
            <a:noFill/>
            <a:ln w="0" cap="flat" cmpd="sng" algn="ctr">
              <a:solidFill>
                <a:prstClr val="black">
                  <a:alpha val="0"/>
                </a:prst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none" lIns="0" tIns="0" rIns="0" bIns="0" rtlCol="0" anchor="ctr">
              <a:noAutofit/>
            </a:bodyPr>
            <a:lstStyle/>
            <a:p>
              <a:pPr defTabSz="495300"/>
              <a:r>
                <a:rPr lang="it-IT" sz="800">
                  <a:solidFill>
                    <a:srgbClr val="10384F"/>
                  </a:solidFill>
                  <a:latin typeface="Arial" panose="020B0604020202020204" pitchFamily="34" charset="0"/>
                </a:rPr>
                <a:t>Fin Hypercare 4​/24/202​4</a:t>
              </a:r>
              <a:endParaRPr lang="en-US" sz="800">
                <a:solidFill>
                  <a:srgbClr val="10384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28" name="TextBox 127">
              <a:extLst>
                <a:ext uri="{FF2B5EF4-FFF2-40B4-BE49-F238E27FC236}">
                  <a16:creationId xmlns:a16="http://schemas.microsoft.com/office/drawing/2014/main" id="{B794290E-6CB7-6120-F60C-77B50A45FC44}"/>
                </a:ext>
              </a:extLst>
            </p:cNvPr>
            <p:cNvSpPr txBox="1"/>
            <p:nvPr>
              <p:custDataLst>
                <p:tags r:id="rId77"/>
              </p:custDataLst>
            </p:nvPr>
          </p:nvSpPr>
          <p:spPr>
            <a:xfrm>
              <a:off x="2237981" y="1350349"/>
              <a:ext cx="2081437" cy="135228"/>
            </a:xfrm>
            <a:prstGeom prst="rect">
              <a:avLst/>
            </a:prstGeom>
            <a:noFill/>
            <a:ln w="0" cap="flat" cmpd="sng" algn="ctr">
              <a:solidFill>
                <a:prstClr val="black">
                  <a:alpha val="0"/>
                </a:prst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none" lIns="0" tIns="0" rIns="0" bIns="0" rtlCol="0" anchor="ctr">
              <a:noAutofit/>
            </a:bodyPr>
            <a:lstStyle/>
            <a:p>
              <a:pPr defTabSz="495300"/>
              <a:r>
                <a:rPr lang="es-ES" sz="800">
                  <a:solidFill>
                    <a:srgbClr val="10384F"/>
                  </a:solidFill>
                  <a:latin typeface="Arial" panose="020B0604020202020204" pitchFamily="34" charset="0"/>
                </a:rPr>
                <a:t>4​/25/202​4 Revisión estructura de reportes</a:t>
              </a:r>
              <a:endParaRPr lang="en-US" sz="800">
                <a:solidFill>
                  <a:srgbClr val="10384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41" name="TextBox 140">
              <a:extLst>
                <a:ext uri="{FF2B5EF4-FFF2-40B4-BE49-F238E27FC236}">
                  <a16:creationId xmlns:a16="http://schemas.microsoft.com/office/drawing/2014/main" id="{DA6D3D44-C5B8-CFB3-A7B1-3CFD3CA71BC6}"/>
                </a:ext>
              </a:extLst>
            </p:cNvPr>
            <p:cNvSpPr txBox="1"/>
            <p:nvPr>
              <p:custDataLst>
                <p:tags r:id="rId78"/>
              </p:custDataLst>
            </p:nvPr>
          </p:nvSpPr>
          <p:spPr>
            <a:xfrm>
              <a:off x="2302102" y="985260"/>
              <a:ext cx="1130732" cy="135228"/>
            </a:xfrm>
            <a:prstGeom prst="rect">
              <a:avLst/>
            </a:prstGeom>
            <a:noFill/>
            <a:ln w="0" cap="flat" cmpd="sng" algn="ctr">
              <a:solidFill>
                <a:prstClr val="black">
                  <a:alpha val="0"/>
                </a:prst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none" lIns="0" tIns="0" rIns="0" bIns="0" rtlCol="0" anchor="ctr">
              <a:noAutofit/>
            </a:bodyPr>
            <a:lstStyle/>
            <a:p>
              <a:pPr defTabSz="495300"/>
              <a:r>
                <a:rPr lang="en-US" sz="800">
                  <a:solidFill>
                    <a:srgbClr val="10384F"/>
                  </a:solidFill>
                  <a:latin typeface="Arial" panose="020B0604020202020204" pitchFamily="34" charset="0"/>
                </a:rPr>
                <a:t>Definición de Reportes</a:t>
              </a:r>
            </a:p>
          </p:txBody>
        </p:sp>
        <p:sp>
          <p:nvSpPr>
            <p:cNvPr id="158" name="TextBox 157">
              <a:extLst>
                <a:ext uri="{FF2B5EF4-FFF2-40B4-BE49-F238E27FC236}">
                  <a16:creationId xmlns:a16="http://schemas.microsoft.com/office/drawing/2014/main" id="{297BD74F-0910-C192-7922-214B47C1BAEC}"/>
                </a:ext>
              </a:extLst>
            </p:cNvPr>
            <p:cNvSpPr txBox="1"/>
            <p:nvPr>
              <p:custDataLst>
                <p:tags r:id="rId79"/>
              </p:custDataLst>
            </p:nvPr>
          </p:nvSpPr>
          <p:spPr>
            <a:xfrm>
              <a:off x="3648646" y="985260"/>
              <a:ext cx="677079" cy="135228"/>
            </a:xfrm>
            <a:prstGeom prst="rect">
              <a:avLst/>
            </a:prstGeom>
            <a:noFill/>
            <a:ln w="0" cap="flat" cmpd="sng" algn="ctr">
              <a:solidFill>
                <a:prstClr val="black">
                  <a:alpha val="0"/>
                </a:prst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none" lIns="0" tIns="0" rIns="0" bIns="0" rtlCol="0" anchor="ctr">
              <a:noAutofit/>
            </a:bodyPr>
            <a:lstStyle/>
            <a:p>
              <a:pPr defTabSz="495300"/>
              <a:r>
                <a:rPr lang="en-US" sz="800">
                  <a:solidFill>
                    <a:srgbClr val="10384F"/>
                  </a:solidFill>
                  <a:latin typeface="Arial" panose="020B0604020202020204" pitchFamily="34" charset="0"/>
                </a:rPr>
                <a:t>Fin desarrollo</a:t>
              </a:r>
            </a:p>
          </p:txBody>
        </p:sp>
        <p:sp>
          <p:nvSpPr>
            <p:cNvPr id="376" name="TextBox 375">
              <a:extLst>
                <a:ext uri="{FF2B5EF4-FFF2-40B4-BE49-F238E27FC236}">
                  <a16:creationId xmlns:a16="http://schemas.microsoft.com/office/drawing/2014/main" id="{385099D1-1AAB-9FA5-7B61-1B579F48C51C}"/>
                </a:ext>
              </a:extLst>
            </p:cNvPr>
            <p:cNvSpPr txBox="1"/>
            <p:nvPr>
              <p:custDataLst>
                <p:tags r:id="rId80"/>
              </p:custDataLst>
            </p:nvPr>
          </p:nvSpPr>
          <p:spPr>
            <a:xfrm>
              <a:off x="7239427" y="2102240"/>
              <a:ext cx="820039" cy="289275"/>
            </a:xfrm>
            <a:prstGeom prst="rect">
              <a:avLst/>
            </a:prstGeom>
            <a:noFill/>
            <a:ln w="0" cap="flat" cmpd="sng" algn="ctr">
              <a:solidFill>
                <a:prstClr val="black">
                  <a:alpha val="0"/>
                </a:prst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none" lIns="0" tIns="0" rIns="0" bIns="0" rtlCol="0" anchor="ctr">
              <a:noAutofit/>
            </a:bodyPr>
            <a:lstStyle/>
            <a:p>
              <a:pPr defTabSz="495300"/>
              <a:r>
                <a:rPr lang="en-US" sz="800">
                  <a:solidFill>
                    <a:srgbClr val="10384F"/>
                  </a:solidFill>
                  <a:latin typeface="Arial" panose="020B0604020202020204" pitchFamily="34" charset="0"/>
                </a:rPr>
                <a:t>Implementación </a:t>
              </a:r>
            </a:p>
            <a:p>
              <a:pPr defTabSz="495300"/>
              <a:r>
                <a:rPr lang="en-US" sz="800">
                  <a:solidFill>
                    <a:srgbClr val="10384F"/>
                  </a:solidFill>
                  <a:latin typeface="Arial" panose="020B0604020202020204" pitchFamily="34" charset="0"/>
                </a:rPr>
                <a:t>7​/12/202​4</a:t>
              </a:r>
            </a:p>
          </p:txBody>
        </p: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019EDC1D-5D94-79E2-1622-E8ACB5B13544}"/>
                </a:ext>
              </a:extLst>
            </p:cNvPr>
            <p:cNvSpPr txBox="1"/>
            <p:nvPr>
              <p:custDataLst>
                <p:tags r:id="rId81"/>
              </p:custDataLst>
            </p:nvPr>
          </p:nvSpPr>
          <p:spPr>
            <a:xfrm>
              <a:off x="4674583" y="4560944"/>
              <a:ext cx="2249449" cy="135228"/>
            </a:xfrm>
            <a:prstGeom prst="rect">
              <a:avLst/>
            </a:prstGeom>
            <a:noFill/>
            <a:ln w="0" cap="flat" cmpd="sng" algn="ctr">
              <a:solidFill>
                <a:prstClr val="black">
                  <a:alpha val="0"/>
                </a:prst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none" lIns="0" tIns="0" rIns="0" bIns="0" rtlCol="0" anchor="ctr">
              <a:noAutofit/>
            </a:bodyPr>
            <a:lstStyle/>
            <a:p>
              <a:pPr defTabSz="495300"/>
              <a:r>
                <a:rPr lang="es-ES" sz="800">
                  <a:solidFill>
                    <a:srgbClr val="10384F"/>
                  </a:solidFill>
                  <a:latin typeface="Arial" panose="020B0604020202020204" pitchFamily="34" charset="0"/>
                </a:rPr>
                <a:t>6​/2/202​4 Habilitación de Señales en Inmation</a:t>
              </a:r>
              <a:endParaRPr lang="en-US" sz="800">
                <a:solidFill>
                  <a:srgbClr val="10384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0" name="TextBox 79">
              <a:extLst>
                <a:ext uri="{FF2B5EF4-FFF2-40B4-BE49-F238E27FC236}">
                  <a16:creationId xmlns:a16="http://schemas.microsoft.com/office/drawing/2014/main" id="{2DC393AA-8E71-7CA1-D8B8-73CC0D7DF318}"/>
                </a:ext>
              </a:extLst>
            </p:cNvPr>
            <p:cNvSpPr txBox="1"/>
            <p:nvPr>
              <p:custDataLst>
                <p:tags r:id="rId82"/>
              </p:custDataLst>
            </p:nvPr>
          </p:nvSpPr>
          <p:spPr>
            <a:xfrm>
              <a:off x="3328040" y="4243188"/>
              <a:ext cx="1597050" cy="135228"/>
            </a:xfrm>
            <a:prstGeom prst="rect">
              <a:avLst/>
            </a:prstGeom>
            <a:noFill/>
            <a:ln w="0" cap="flat" cmpd="sng" algn="ctr">
              <a:solidFill>
                <a:prstClr val="black">
                  <a:alpha val="0"/>
                </a:prst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none" lIns="0" tIns="0" rIns="0" bIns="0" rtlCol="0" anchor="ctr">
              <a:noAutofit/>
            </a:bodyPr>
            <a:lstStyle/>
            <a:p>
              <a:pPr defTabSz="495300"/>
              <a:r>
                <a:rPr lang="en-US" sz="800">
                  <a:solidFill>
                    <a:srgbClr val="10384F"/>
                  </a:solidFill>
                  <a:latin typeface="Arial" panose="020B0604020202020204" pitchFamily="34" charset="0"/>
                </a:rPr>
                <a:t>5​/12/202​4 Caso de Uso definido</a:t>
              </a:r>
            </a:p>
          </p:txBody>
        </p:sp>
        <p:sp>
          <p:nvSpPr>
            <p:cNvPr id="105" name="TextBox 104">
              <a:extLst>
                <a:ext uri="{FF2B5EF4-FFF2-40B4-BE49-F238E27FC236}">
                  <a16:creationId xmlns:a16="http://schemas.microsoft.com/office/drawing/2014/main" id="{26E46578-1425-5942-E1E8-B93248374C1D}"/>
                </a:ext>
              </a:extLst>
            </p:cNvPr>
            <p:cNvSpPr txBox="1"/>
            <p:nvPr>
              <p:custDataLst>
                <p:tags r:id="rId83"/>
              </p:custDataLst>
            </p:nvPr>
          </p:nvSpPr>
          <p:spPr>
            <a:xfrm>
              <a:off x="6021127" y="4878701"/>
              <a:ext cx="1646504" cy="135228"/>
            </a:xfrm>
            <a:prstGeom prst="rect">
              <a:avLst/>
            </a:prstGeom>
            <a:noFill/>
            <a:ln w="0" cap="flat" cmpd="sng" algn="ctr">
              <a:solidFill>
                <a:prstClr val="black">
                  <a:alpha val="0"/>
                </a:prst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none" lIns="0" tIns="0" rIns="0" bIns="0" rtlCol="0" anchor="ctr">
              <a:noAutofit/>
            </a:bodyPr>
            <a:lstStyle/>
            <a:p>
              <a:pPr defTabSz="495300"/>
              <a:r>
                <a:rPr lang="es-ES" sz="800">
                  <a:solidFill>
                    <a:srgbClr val="10384F"/>
                  </a:solidFill>
                  <a:latin typeface="Arial" panose="020B0604020202020204" pitchFamily="34" charset="0"/>
                </a:rPr>
                <a:t>6​/23/202​4 Historización de Datos</a:t>
              </a:r>
              <a:endParaRPr lang="en-US" sz="800">
                <a:solidFill>
                  <a:srgbClr val="10384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94" name="TextBox 293">
              <a:extLst>
                <a:ext uri="{FF2B5EF4-FFF2-40B4-BE49-F238E27FC236}">
                  <a16:creationId xmlns:a16="http://schemas.microsoft.com/office/drawing/2014/main" id="{CABCB4D8-EA4E-EC78-81D6-5858B6546DEA}"/>
                </a:ext>
              </a:extLst>
            </p:cNvPr>
            <p:cNvSpPr txBox="1"/>
            <p:nvPr>
              <p:custDataLst>
                <p:tags r:id="rId84"/>
              </p:custDataLst>
            </p:nvPr>
          </p:nvSpPr>
          <p:spPr>
            <a:xfrm>
              <a:off x="9611909" y="3527314"/>
              <a:ext cx="1224238" cy="135228"/>
            </a:xfrm>
            <a:prstGeom prst="rect">
              <a:avLst/>
            </a:prstGeom>
            <a:noFill/>
            <a:ln w="0" cap="flat" cmpd="sng" algn="ctr">
              <a:solidFill>
                <a:prstClr val="black">
                  <a:alpha val="0"/>
                </a:prst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none" lIns="0" tIns="0" rIns="0" bIns="0" rtlCol="0" anchor="ctr">
              <a:noAutofit/>
            </a:bodyPr>
            <a:lstStyle/>
            <a:p>
              <a:pPr defTabSz="495300"/>
              <a:r>
                <a:rPr lang="en-US" sz="800">
                  <a:solidFill>
                    <a:srgbClr val="10384F"/>
                  </a:solidFill>
                  <a:latin typeface="Arial" panose="020B0604020202020204" pitchFamily="34" charset="0"/>
                </a:rPr>
                <a:t>8​/18/202​4 Dashboard v1</a:t>
              </a:r>
            </a:p>
          </p:txBody>
        </p:sp>
        <p:sp>
          <p:nvSpPr>
            <p:cNvPr id="295" name="TextBox 294">
              <a:extLst>
                <a:ext uri="{FF2B5EF4-FFF2-40B4-BE49-F238E27FC236}">
                  <a16:creationId xmlns:a16="http://schemas.microsoft.com/office/drawing/2014/main" id="{BB673D04-F76F-286B-57C9-83C37D7846A2}"/>
                </a:ext>
              </a:extLst>
            </p:cNvPr>
            <p:cNvSpPr txBox="1"/>
            <p:nvPr>
              <p:custDataLst>
                <p:tags r:id="rId85"/>
              </p:custDataLst>
            </p:nvPr>
          </p:nvSpPr>
          <p:spPr>
            <a:xfrm>
              <a:off x="8585970" y="3209557"/>
              <a:ext cx="1335905" cy="135228"/>
            </a:xfrm>
            <a:prstGeom prst="rect">
              <a:avLst/>
            </a:prstGeom>
            <a:noFill/>
            <a:ln w="0" cap="flat" cmpd="sng" algn="ctr">
              <a:solidFill>
                <a:prstClr val="black">
                  <a:alpha val="0"/>
                </a:prst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none" lIns="0" tIns="0" rIns="0" bIns="0" rtlCol="0" anchor="ctr">
              <a:noAutofit/>
            </a:bodyPr>
            <a:lstStyle/>
            <a:p>
              <a:pPr defTabSz="495300"/>
              <a:r>
                <a:rPr lang="pt-BR" sz="800">
                  <a:solidFill>
                    <a:srgbClr val="10384F"/>
                  </a:solidFill>
                  <a:latin typeface="Arial" panose="020B0604020202020204" pitchFamily="34" charset="0"/>
                </a:rPr>
                <a:t>8​/2/202​4 Interfaz A3 - OEE</a:t>
              </a:r>
              <a:endParaRPr lang="en-US" sz="800">
                <a:solidFill>
                  <a:srgbClr val="10384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469" name="TextBox 468">
              <a:extLst>
                <a:ext uri="{FF2B5EF4-FFF2-40B4-BE49-F238E27FC236}">
                  <a16:creationId xmlns:a16="http://schemas.microsoft.com/office/drawing/2014/main" id="{D6FC8D30-EB53-9E57-E9E4-FA33074E4FFC}"/>
                </a:ext>
              </a:extLst>
            </p:cNvPr>
            <p:cNvSpPr txBox="1"/>
            <p:nvPr>
              <p:custDataLst>
                <p:tags r:id="rId86"/>
              </p:custDataLst>
            </p:nvPr>
          </p:nvSpPr>
          <p:spPr bwMode="gray">
            <a:xfrm>
              <a:off x="8296485" y="6149729"/>
              <a:ext cx="1764271" cy="135228"/>
            </a:xfrm>
            <a:prstGeom prst="rect">
              <a:avLst/>
            </a:prstGeom>
            <a:noFill/>
            <a:ln w="0" cap="flat" cmpd="sng" algn="ctr">
              <a:solidFill>
                <a:prstClr val="black">
                  <a:alpha val="0"/>
                </a:prst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none" lIns="0" tIns="0" rIns="0" bIns="0" rtlCol="0" anchor="ctr">
              <a:noAutofit/>
            </a:bodyPr>
            <a:lstStyle/>
            <a:p>
              <a:pPr defTabSz="495300"/>
              <a:r>
                <a:rPr lang="pt-BR" sz="800">
                  <a:solidFill>
                    <a:srgbClr val="10384F"/>
                  </a:solidFill>
                  <a:latin typeface="Arial" panose="020B0604020202020204" pitchFamily="34" charset="0"/>
                </a:rPr>
                <a:t>8​/25/202​4 Interfaz FMDA - OEE DA</a:t>
              </a:r>
              <a:endParaRPr lang="en-US" sz="800" dirty="0" err="1">
                <a:solidFill>
                  <a:srgbClr val="10384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26" name="TextBox 525">
              <a:extLst>
                <a:ext uri="{FF2B5EF4-FFF2-40B4-BE49-F238E27FC236}">
                  <a16:creationId xmlns:a16="http://schemas.microsoft.com/office/drawing/2014/main" id="{1B1BA4E4-B7A8-C0B6-D3FD-6D5B31217C25}"/>
                </a:ext>
              </a:extLst>
            </p:cNvPr>
            <p:cNvSpPr txBox="1"/>
            <p:nvPr>
              <p:custDataLst>
                <p:tags r:id="rId87"/>
              </p:custDataLst>
            </p:nvPr>
          </p:nvSpPr>
          <p:spPr bwMode="gray">
            <a:xfrm>
              <a:off x="10887682" y="6467485"/>
              <a:ext cx="1162071" cy="135228"/>
            </a:xfrm>
            <a:prstGeom prst="rect">
              <a:avLst/>
            </a:prstGeom>
            <a:noFill/>
            <a:ln w="0" cap="flat" cmpd="sng" algn="ctr">
              <a:solidFill>
                <a:prstClr val="black">
                  <a:alpha val="0"/>
                </a:prst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none" lIns="0" tIns="0" rIns="0" bIns="0" rtlCol="0" anchor="ctr">
              <a:noAutofit/>
            </a:bodyPr>
            <a:lstStyle/>
            <a:p>
              <a:pPr defTabSz="495300"/>
              <a:r>
                <a:rPr lang="en-US" sz="800">
                  <a:solidFill>
                    <a:srgbClr val="10384F"/>
                  </a:solidFill>
                  <a:latin typeface="Arial" panose="020B0604020202020204" pitchFamily="34" charset="0"/>
                </a:rPr>
                <a:t>9​/8/202​4 Dashboard v2</a:t>
              </a:r>
              <a:endParaRPr lang="en-US" sz="800" dirty="0" err="1">
                <a:solidFill>
                  <a:srgbClr val="10384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5DDFC5FF-AF06-B1EF-4203-F25AB3EEBBAA}"/>
                </a:ext>
              </a:extLst>
            </p:cNvPr>
            <p:cNvSpPr/>
            <p:nvPr>
              <p:custDataLst>
                <p:tags r:id="rId88"/>
              </p:custDataLst>
            </p:nvPr>
          </p:nvSpPr>
          <p:spPr>
            <a:xfrm>
              <a:off x="42677" y="54865"/>
              <a:ext cx="12134075" cy="6821656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 w="0" cap="flat" cmpd="sng" algn="ctr">
              <a:solidFill>
                <a:schemeClr val="accent1">
                  <a:shade val="15000"/>
                  <a:alpha val="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t"/>
            <a:lstStyle/>
            <a:p>
              <a:pPr defTabSz="495300"/>
              <a:r>
                <a:rPr lang="en-US">
                  <a:solidFill>
                    <a:srgbClr val="000000">
                      <a:alpha val="0"/>
                    </a:srgbClr>
                  </a:solidFill>
                </a:rPr>
                <a:t>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285126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UBAQEBAQEBAQEBAQEBAQMAAAAAAAAAAwAAAAMAAAAA/////wUACgwAAAAAAAAAAAAAIAD///////////////8AAAD///////////////8DAAAAAg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+woWQzxlLFEqMJBdmocCuUEAAAAAAADAAAAAAADAAAAAwADAAIA////////BQAAAAMAEAALksiTc2+FoEmql6dK9miCUwQAAAABAAMAAAACAAMAAAAEAAMAAAAAAP///////wQAAQD///////8FAAAABAAQAAtxAge1WturTKbmGU+IrpxV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AMOAAAAAAAAAAAAAP////+DAIMAAAAFX2lkABAAAAAE7ChZDPGUsUSowkF2ahwK5QNEYXRhABsAAAAETGlua2VkU2hhcGVEYXRhAAUAAAAAAAJOYW1lABkAAABMaW5rZWRTaGFwZXNEYXRhUHJvcGVydHkAEFZlcnNpb24AAAAAAAlMYXN0V3JpdGUAs6cX8o4BAAAAAQD/////gwCDAAAABV9pZAAQAAAABJLIk3NvhaBJqpenSvZoglMDRGF0YQAbAAAABExpbmtlZFNoYXBlRGF0YQAFAAAAAAACTmFtZQAZAAAATGlua2VkU2hhcGVzRGF0YVByb3BlcnR5ABBWZXJzaW9uAAEAAAAJTGFzdFdyaXRlAMWnF/KOAQAAAAIA/////8YAxgAAAAVfaWQAEAAAAARxAge1WturTKbmGU+IrpxVA0RhdGEAUwAAAAhQcmVzZW50YXRpb25TY2FubmVkRm9yTGlua2VkU2hhcGVzAAACTnVtYmVyRm9ybWF0U2VwYXJhdG9yTW9kZQAKAAAAQXV0b21hdGljAAACTmFtZQAkAAAATGlua2VkU2hhcGVQcmVzZW50YXRpb25TZXR0aW5nc0RhdGEAEFZlcnNpb24AAAAAAAlMYXN0V3JpdGUAx6cX8o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CBCwAAAAAAAAAAAAAgAf///////////////wAAAP///////////////wUAAAAEAP///////wUAAAAEAP///////wUAAAAEAP///////wUAAAAEAP///////wUAAAAD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MBAwAAAAIA////////GgAGTGlua2VkU2hhcGVzRGF0YVByb3BlcnR5XzAEAAAAAAAFAAAABAAFAAAAAwAFAAAABAAFAAAAAwAFAAAABAAFAAAAAwADAAUBAwAAAAMA////////GgAGTGlua2VkU2hhcGVzRGF0YVByb3BlcnR5XzEEAAAAAQAFAAAAAgAFAAAAAQAFAAAAAgD///////8FAAAAAgD///////8FAAAABAD///////8FAAAAAAD///////8EAAQBAwAAAAQA////////JQAGTGlua2VkU2hhcGVQcmVzZW50YXRpb25TZXR0aW5nc0RhdGFfMAQAAAACAAUAAAAAAAUAAAACAAUAAAAAAAUAAAACAAUAAAAAAAUAAAACAAUAAAAAAAUAAAAD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90554204457404"/>
  <p:tag name="EMPOWERCHARTSPROPERTIES_A_LENGTH" val="24576"/>
  <p:tag name="COAUTHORING_SESSION_ID" val="ffa1c2f2-72b3-4038-9dec-35c92fdafc8b"/>
  <p:tag name="UNDO_REDO_REVISION" val="2617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ec712d51-fafa-433b-9448-09fdc0203fe7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10601386-3879-464e-9d2a-a5f60f6b83b2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08474e47-6eb7-497b-8b33-17bedd755a76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58d4d689-ad34-4bc1-82d8-a3137e5a7277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32f5256a-9c30-4e46-a042-19866f61b4c4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0a27272b-d397-4bdc-a078-d97712b2b4b6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EMPOWER_OVERLAY_IGNORE" val="Yes please."/>
  <p:tag name="MIO_SELECTION_PROXY" val="00000101-021d-0000-c0df-c27a00000000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EMPOWER_OVERLAY_IGNORE" val="Yes please."/>
  <p:tag name="GANTT_GROUP_SHAPE" val="Yes."/>
  <p:tag name="EMPOWER DO NOT TRANSLATE" val="true"/>
  <p:tag name="GROUPSHAPEHOST_RUNTIMEID" val="f4269819-ae32-4c39-8e56-98e632cd1d08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SKIPVERSION" val="01.01.0001 00:00:00"/>
  <p:tag name="MIO_EKGUID" val="106612b7-7cda-4c66-a943-3c88b56a92d2"/>
  <p:tag name="MIO_UPDATE" val="True"/>
  <p:tag name="MIO_DBID" val="8E7267AE-489F-4B02-8040-8A98451BF141"/>
  <p:tag name="MIO_OBJECTNAME" val="Master Bayer AG 16:9"/>
  <p:tag name="MIO_FALLBACK_LAYOUT" val="11"/>
  <p:tag name="MIO_SHOW_DATE" val="False"/>
  <p:tag name="MIO_SHOW_FOOTER" val="True"/>
  <p:tag name="MIO_SHOW_PAGENUMBER" val="True"/>
  <p:tag name="MIO_AVOID_BLANK_LAYOUT" val="True"/>
  <p:tag name="MIO_CD_LAYOUT_VALID_AREA" val="False"/>
  <p:tag name="MIO_EMBED_FONT" val="False"/>
  <p:tag name="MIO_MATCH_COLOR_SCHEME" val="False"/>
  <p:tag name="MIO_NUMBER_OF_VALID_LAYOUTS" val="18"/>
  <p:tag name="MIO_VERSION" val="01.03.2023 14:18:55"/>
  <p:tag name="MIO_LASTDOWNLOADED" val="13.11.2023 11:55:22.826"/>
  <p:tag name="MIO_CDID" val="cd9a71c7-8ed9-41a1-8303-1a6d1985851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6f987292-bbc0-44c9-91b0-3742b47a5cce"/>
  <p:tag name="GANTT_DATA" val="Yes."/>
  <p:tag name="RUNTIME_ID" val="370f9f51-f47e-4b8c-ad67-f88704cacf19"/>
  <p:tag name="MIN_VERSION_NEEDED" val="8.10.200.0"/>
  <p:tag name="LAST_TOUCHED_CHARTS_VERSION" val="9.2"/>
  <p:tag name="LAST_RENDER_ID" val="58b93d0d-b45e-435e-910d-5e4234a8fe27"/>
  <p:tag name="EMPOWERCHARTSPROPERTIES_B_0" val="AAAAAAH//////////wEAAAAAAAAAAAAAACoqIFRoaXMgaXMgYSBMaXRlREIgZmlsZSAqKgcvBf////9sAQ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GQAAAAAAAAAY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QcBAQEBAQEBAQEBAQEBARkAAAAAAAAAAwAAAAMAAAAA/////xsARAYAAAAAAAAAAAAAIAD///////////////8AAAD///////////////8DAAAADgD///////8DAAAAFQD///////8DAAAAFQD///////8DAAAAEAD///////8DAAAAEAD///////8DAAAAEAD///////8DAAAAEAD///////8DAAAAEAD///////8DAAAAE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BY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9zknrIoOEtJklyWwRnqFNQFAAAAAAADAAAADwADAAAACQADAAMA////////BAAAAAMAEAALG8rT18YlPkmsFziXE9MhYAUAAAABAAMAAAAJAAMAAAAYAAMAAAAKAAMAAAATAAMAAAAFAP///////wQAAgD///////8EAAAABAAQAAuRJtAjTBW9RKbDi/J11reiBQAAAAIAAwAAABQAAwAAAAcAAwAAABQAAwAAAAcABQAEAP///////wQAAAAFABAAC2byDIX3pahEo7uEJ/KPJ7wFAAAAAwADAAAAGQADAAAAEQADAAAABgADAAAAEQADAAAADAADAAAAAwADAAAAEAD///////8GAAIA////////BAAAAAYAEAAL4v3JU9PRg0aOv2xdB+4SiAUAAAAEAAMAAAAMAAMAAAANAAMAAAAMAAMAAAAFAAcAAwD///////8EAAAABwAQAAssqtItpFL1QqXPvrRoNT3TBQAAAAUAAwAAAAQAAwAAAAwAAwAAAAQAAwAAAAwAAwAAABQAAwAAAAwACAABAP///////wQAAAAIABAAC4HLW34cl8VKkLkN4+jP+40FAAAABgADAAAADQADAAAAGQAJAAEA////////BAAAAAkAEAALkDJ/whXWiEK7uhapXal8UAUAAAAHAAMAAAACAAMAAAADAAoAAgD///////8EAAAACgAQAAtSxSGbTO+mRapKg5EAaUroBQAAAAgAAwAAAAsAAwAAAA8AAwAAAAsAAwAAAAMACwACAP///////wQAAAALABAAC3qoPI/7XWxLuyusf6FkUx4FAAAACQADAAAAEQADAAAACgADAAAAEQADAAAACgAMAAMA////////BAAAAAwAEAALku2zNaKXv0S6bHbzbZI0yxUAAAAAAAMAAAAHAAMAAAAGAAMAAAAHAAMAAAAGAAMAAAAHAAMAAAAFAA0AAQD///////8EAAAADQAQAAuu5zJY1dSqRZdqMzMXsyTGFQAAAAEAAwAAAAYAAwAAAAgADgABAP///////wQAAAAOABAAC7g3dQU80WJHm0BfyQ7iUbUWAAAAAAADAAAAAAADAAAAFQAPAAEA////////BAAAAA8AEAALIQJQrwEGDUmJvcEYNuej2xUAAAACAAMAAAAKAAMAAAACABAACQD///////8EAAAAEAAQAAvBoiQeypf2QrkvT/uLbgSHFQAAAAMAAwAAABUAAwAAABIAAwAAABUAAwAAABQAAwAAABUAAwAAABQAAwAAAAAAAwAAAAUAAwAAAAAA////////AwAAAAAA////////AwAAAAAA////////AwAAAAAA////////AwAAAAAA////////EQACAP///////wQAAAARABAAC6DP9Ivc5yZEv9scTGgGlVEVAAAABAADAAAABQADAAAACwADAAAABQADAAAACwASAAEA////////BAAAABIAEAAL2vCgITJR+UK8iiNQka5SiBcAAAAAAAMAAAAQAAMAAAAUABMAAgD///////8EAAAAEwAQAAuLsNfiDgTjQJ8LFHS8MzqYFQAAAAUAAwAAABgAAwAAABoAAwAAAAMA////////FAADAP///////wQAAAAUABAAC2wZjSMDsLFNigbLLsqI5TQVAAAABgADAAAAEgADAAAABAADAAAAEAADAAAABAADAAAAEAADAAAABwAVAAMA////////BAAAABUAEAAL9IvWE/8NTkGbR2RNjJjgcxgAAAAAAAMAAAAOAAMAAAAQAAMAAAAAAAMAAAAQAAMAAAAAAAMAAAAQABYAAQD///////8EAAAAFgAQAAud+jL08sPUSaDBUxNGBVUkGAAAAAEAAwAAABcAAwAAAAEAFwABAP///////wQAAAAXABAAC8XeburALs5MrawnozM5FiMYAAAAAgADAAAAGgADAAAAFgAYAAEA////////BAAAABgAEAALzx9Y3Y3y4keH7RSB+u2trBgAAAADAAMAAAADAAMAAAATABkAAQD///////8EAAAAGQAQAAudMZV+ASonT7BIuAsUuulXGAAAAAQAAwAAAAgAAwAAAAUAGgABAP///////wQAAAAaABAAC/Cfq+X6zLJNtKsITXVKSd8YAAAABQADAAAAEwADAAAAF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bACkGAAAAAAAAAAAAACAB////////////////AAAA////////////////BAAAAAkA////////BAAAAAkA////////BAAAAAMA////////BAAAAAgA////////BAAAAA4A////////BAAAABYA////////BAAAABY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U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LAAZFeGNlbERhdGFfMAUAAAAAAAQAAAALAAQAAAAPAAMAAwEDAAAAAwD///////8QAAZDb21tb25TZXR0aW5nc18wBQAAAAEABAAAABcABAAAABkABAAAAAkABAAAABkABAAAAAAABAAAABEABAABAQMAAAAEAP///////yAABkF6dXJlSW5mb3JtYXRpb25Qcm90ZWN0aW9uRGF0YV8wBQAAAAIABAAAAAkABAAAABcABQACAQMAAAAFAP///////wwABlBlcnNvbmFsSWRfMAUAAAADAAQAAAAOAAQAAAAaAAQAAAAOAAQAAAAaAAYAAQEDAAAABgD///////8LAAZFcnJvckRhdGFfMAUAAAAEAAQAAAAQAAQAAAALAAcAAQEDAAAABwD///////8LAAZEYXRlTGluZXNfMAUAAAAFAAQAAAARAAQAAAATAAgABAEDAAAACAD///////8TAAZHbG9iYWxSZW5kZXJJbmZvc18xBQAAAAYABAAAAA8ABAAAABIABAAAABAABAAAABUABAAAABAABAAAAA4ABAAAAAAABAAAAA4ACQACAQMAAAAJAP///////wsABkFsaWdubWVudF8wBQAAAAcABAAAAAAABAAAAAQABAAAAAAABAAAAAMACgABAQMAAAAKAP///////w0ABkhlYWRlclN0eWxlXzAFAAAACAAEAAAAEgAEAAAADAALAAEBAwAAAAsA////////HAAGRXhjZWxDb2xvck1vZGVEYXRhUHJvcGVydHlfMQUAAAAJAAQAAAAGAAQAAAACAAwAAQEDAAAADAD///////8MAAZIaWdobGlnaHRzXzEVAAAAAAAEAAAACgAEAAAAFQANAAEBAwAAAA0A////////EgAGU2VjdGlvbnNIZWFkTGluZV8wFQAAAAEABAAAABYABAAAABgADgAFAQMAAAAOAP///////wsABk5vdGVzQXJlYV8xFgAAAAAABAAAABUABAAAAAUABAAAABUABAAAAAUABAAAAAgABAAAABoABAAAAAgABAAAABYABAAAAAAABAAAABYADwABAQMAAAAPAP///////xYABkdlbmVyYWxFeGNlbFNldHRpbmdzXzAVAAAAAgAEAAAAAgAEAAAACAAQAAMBAwAAABAA////////EQAGRGlzcGxheVNldHRpbmdzXzIVAAAAAwAEAAAAEwAEAAAABgAEAAAAEwAEAAAACAAEAAAAEQAEAAAACAARAAMBAwAAABEA////////CgAGRGF0YUxpbmtfMRUAAAAEAAQAAAAZAAQAAAAHAAQAAAAZAAQAAAATAAQAAAADAAQAAAAQABIAAQEDAAAAEgD///////8VAAZHbG9iYWxTdHlsZVNldHRpbmdzXzIXAAAAAAAEAAAACAAEAAAACgATAAIBAwAAABMA////////CAAGRGVsYXlzXzAVAAAABQAEAAAABwAEAAAAEAAEAAAAEQAEAAAAEAAUAAEBAwAAABQA////////DQAGVXBkYXRlU3RhdGVfMBUAAAAGAAQAAAAYAAQAAAABABUAAgEDAAAAFQD///////8OAAZMaW5rRGF0YUxpc3RfMBgAAAAAAAQAAAAMAAQAAAAOAAQAAAAIAAQAAAAOABYABwEDAAAAFgD///////8KAAZTZWN0aW9uc182GAAAAAEABAAAABoABAAAAA0ABAAAABoABAAAABgABAAAABoABAAAABgABAAAAA4ABAAAABgABAAAAA4ABAAAABgABAAAAAAABAAAABgABAAAAAAABAAAABgAFwABAQMAAAAXAP///////w4ABkNvbG9yVmVyc2lvbl8wGAAAAAIABAAAAAQABAAAAAMAGAAHAQMAAAAYAP///////wsABlRpbWVSYW5nZV8wGAAAAAMABAAAAA0ABAAAABQABAAAABYA////////BAAAABYA////////BAAAABYA////////BAAAABYA////////BAAAABYA////////BAAAABYA////////GQACAQMAAAAZAP///////wwABkNvbm5lY3RvcnNfMBgAAAAEAAQAAAADAAQAAAARAAQAAAADAAQAAAARABoAAwEDAAAAGgD///////8KAAZTZWN0aW9uc181GAAAAAUABAAAAAUABAAAABYABAAAAAUABAAAABYABAAAAA4ABAAAABY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P//////////CgB0BwAAAAAAAAAAAAAGAAAAAAABAP////97AHsAAAAFX2lkABAAAAAEG8rT18YlPkmsFziXE9MhYANEYXRhAB0AAAAIRG9Ob3RTaG93RnVsbEVtZkFnYWluAAAAAk5hbWUADwAAAENvbW1vblNldHRpbmdzABBWZXJzaW9uAAAAAAAJTGFzdFdyaXRlALSD1/KOAQAAAAIA/////3MAcwAAAAVfaWQAEAAAAASRJtAjTBW9RKbDi/J11reiA0RhdGEABQAAAAACTmFtZQAfAAAAQXp1cmVJbmZvcm1hdGlvblByb3RlY3Rpb25EYXRhABBWZXJzaW9uAAAAAAAJTGFzdFdyaXRlALiD1/KOAQAAAAMA/////3AAcAAAAAVfaWQAEAAAAARm8gyF96WoRKO7hCfyjye8A0RhdGEAFgAAAAJQZXJzb25hbElkAAEAAAAAAAJOYW1lAAsAAABQZXJzb25hbElkABBWZXJzaW9uAAAAAAAJTGFzdFdyaXRlALuD1/KOAQAAAAQA/////14AXgAAAAVfaWQAEAAAAATi/clT09GDRo6/bF0H7hKIBERhdGEABQAAAAACTmFtZQAKAAAARXJyb3JEYXRhABBWZXJzaW9uAAAAAAAJTGFzdFdyaXRlAL6D1/KOAQAAAAUA/////14AXgAAAAVfaWQAEAAAAAQsqtItpFL1QqXPvrRoNT3TBERhdGEABQAAAAACTmFtZQAKAAAARGF0ZUxpbmVzABBWZXJzaW9uAAAAAAAJTGFzdFdyaXRlAMGD1/KOAQAAAAYACQAAAAAABwD/////mACYAAAABV9pZAAQAAAABJAyf8IV1ohCu7oWqV2pfFADRGF0YQA/AAAAAVdpZHRoAAAAAACD241AAUhlaWdodAAAAABAG8mAQAFUb3AAAAAAAM5HEUABTGVmdAAAAAAASuIKQAACTmFtZQAKAAAAQWxpZ25tZW50ABBWZXJzaW9uAAAAAAAJTGFzdFdyaXRlAF4V6/aOAQAAAAgA/////7YEtgQAAAVfaWQAEAAAAARSxSGbTO+mRapKg5EAaUroA0RhdGEAWwQAAAFEZWZhdWx0Rm9udFNpemUAAAAAAAAAJEABRm9udFNpemUAAAAAAAAAKEADRm9udENvbG9yAFUAAAAQQQD/AAAAEFIAEAAAABBHADgAAAAQQgBPAAAAAVNjQQAAAAAAAADwPwFTY1IAAAAA4DY5dT8BU2NHAAAAAIBnP6Q/AVNjQgAAAABgFwS0PwAQRm9udFRoZW1lQ29sb3IAAAAAABBGb250U2NoZW1lQ29sb3IAAAAAAAFGb250VGludEFuZFNoYWRlAAAAAAAAAAAAA1BhdHRlcm5Db2xvcgBVAAAAEEEAAAAAABBSAAAAAAAQRwAAAAAAEEIAAAAAAAFTY0EAAAAAAAAAAAABU2NSAAAAAAAAAAAAAVNjRwAAAAAAAAAAAAFTY0IAAAAAAAAAAAAAEFBhdHRlcm5UaGVtZUNvbG9yAAAAAAABUGF0dGVyblRpbnRBbmRTaGFkZQAAAAAAAAAAAANEYXRhU3R5bGVGb250Q29sb3JWYWx1ZQBVAAAAEEEAAAAAABBSAAAAAAAQRwAAAAAAEEIAAAAAAAFTY0EAAAAAAAAAAAABU2NSAAAAAAAAAAAAAVNjRwAAAAAAAAAAAAFTY0IAAAAAAAAAAAAACERhdGFTdHlsZUZvbnRDb2xvckhhc1ZhbHVlAAABSGVpZ2h0AAAAAAAAAAAAAkRhc2hTdHlsZQANAAAAbXNvTGluZVNvbGlkAAhIYXNXaXNoRmlsbENvbG9yAAADRmlsbENvbG9yAFUAAAAQQQD/AAAAEFIAAAAAABBHAAAAAAAQQgAAAAAAAVNjQQAAAAAAAADwPwFTY1IAAAAAAAAAAAABU2NHAAAAAAAAAAAAAVNjQgAAAAAAAAAAAAAQRmlsbFNjaGVtZUNvbG9yAAAAAAAQRmlsbFRoZW1lQ29sb3IAAAAAAAFGaWxsVGludEFuZFNoYWRlAAAAAAAAAAAAA0JvcmRlckNvbG9yAFUAAAAQQQAAAAAAEFIAAAAAABBHAAAAAAAQQgAAAAAAAVNjQQAAAAAAAAAAAAFTY1IAAAAAAAAAAAABU2NHAAAAAAAAAAAAAVNjQgAAAAAAAAAAAAAQQm9yZGVyVGhlbWVDb2xvcgAAAAAAAUJvcmRlclRpbnRBbmRTaGFkZQAAAAAAAAAAAAhJc0ZpbGxlZAABAlBhdHRlcm4AEAAAAG1zb1BhdHRlcm5NaXhlZAACU2hhcGVUeXBlAA4AAABtc29TaGFwZU1peGVkAANMYWJlbE9mZnNldABCAAAAAVgAAAAAAAAAAAABWQAAAAAAAAAAAAFMZW5ndGgAAAAAAAAAAAABTGVuZ3RoU3F1YXJlZAAAAAAAAAAAAAAISXNGb250Qm9sZAAACElzRm9udEl0YWxpYwAACElzRm9udFVuZGVybGluZWQAAAhMYWJlbEhhc0JhY2tncm91bmQAAAJUZXh0QWxpZ25tZW50AAUAAABMZWZ0AAACTmFtZQAMAAAASGVhZGVyU3R5bGUAEFZlcnNpb24AAAAAAAlMYXN0V3JpdGUA2oPX8o4BAAAACQD/////uwC7AAAABV9pZAAQAAAABHqoPI/7XWxLuyusf6FkUx4DRGF0YQBRAAAACEV4Y2VsQ29sb3JNb2RlQWN0aXZlAAAIQ29sb3JDYWNoZVJlcGFpcmVkRm9yTGlua2VkQ2hhcnRzAAAEQ29sb3JDYWNoZQAFAAAAAAACTmFtZQAbAAAARXhjZWxDb2xvck1vZGVEYXRhUHJvcGVydHkAEFZlcnNpb24AAQAAAAlMYXN0V3JpdGUA7IPX8o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AAAAX/////BwAAAOcPAAAAAAAAAAAAAN4xAAAFX2lkABAAAAAE3OSesig4S0mSXJbBGeoU1ANEYXRhAIUxAAAFRGF0YQB1MQAAAFBLAwQUAAAACAAAACEAENF+WmwBAADVAgAAEAAkAGRvY1Byb3BzL2FwcC54bWwKACAAAAAAAAEAGAAA8G8s0ueoAQDwbyzS56gBAPBvLNLnqAGdkkFv2zAMhf+KoXsjpxuKIpBVDO2GDWjRAHXTMyfTiVBZEkTGSPbrJ9tI67Q77fbI90R9IqRuDp0rekxkg6/EclGKAr0JjfXbSjzXPy6uRUEMvgEXPFbiiCRutFqnEDGxRSryAE+V2DHHlZRkdtgBLbLts9OG1AHnMm1laFtr8C6YfYee5WVZXkk8MPoGm4v4NlBME1c9/+/QJpiBjzb1MWZcrb7F6KwBzm/UD9akQKHl4vvBoFNybg7JzbQMvbxalF/KcgyceirTP6HZJ8tHna15qZ4MOLzNF+sWHKGS7w31E2FY6RpsIq16XvVoOKSC7J+81EtR/AbCAbcSPSQLnjP2EJuKUbtInPRLSK+0Q2RS8q05ynl2ru1XvRwDWZwHx1MjSDbOEWvLDumxXUPifxAv58Qj2MQ7Mf7ycc+f8E4XfRhdYxcdMBZSqwfwsMU0yNvQRfDHQd5b/0rPsQ53OXZa7nlTyfcfqf8CUEsDBBQAAAAIABhlk1hhruZHmAEAAAAoAAAnACQAeGwvcHJpbnRlclNldHRpbmdzL3ByaW50ZXJTZXR0aW5nczEuYmluCgAgAAAAAAABABgA3opOGYmS2gHeik4ZiZLaAd6KThmJktoB7Zo7TsNAEIb/wYY4ShEOgRSaIIiMhOgioAMahEThJsIUSLwEEaI0vQvq3Imahp4LcABmncQkshfJbMBrayaPjWdf/3xe27urBAjwiBDn2MIGrnGJ2zQNcIRD9LCDbc49xj6yRi7cd6x12m/PDqGJUcv3QhAaOFsCp4DD33342arGHtU6d6K1k4O9PMna8uYZSpGYEJgl0BQcQkBDYFXjN3U7pg38S/0ndLmfPu75qTPAlWGf43tvFEXczovciA1p1qR6kXFwihsMeSgOeShe8JSobNvELuY/PymaRprVXYRBfg9qKtfLvPLL6ryuLsMSv+kU1ZyyJSDKltGeCqCQL0JSF2L6zp3vJ+RT/KRWIRP7zTkhbsACa7AGjmM+Uce+p5ZYo9aMxuUVN3FTshpSvz47rx/fSCwIRyQIASEgBISAEBACQkAI1IuAFXPmeiGtWjTZjYeqRSB6yydA4w3chQkx310mD3EcL0yQNFR5AvKwq/wplACEQBUIOHbsRhdFRXjAHW/bD/h/Q6mtF21FygsBIfC3BL4AUEsDBBQAAAAIAAAAIQDXJ5GwXwIAAK8FAAAUACQAeGwvdGFibGVzL3RhYmxlMS54bWwKACAAAAAAAAEAGAAA8G8s0ueoAQDwbyzS56gBAPBvLNLnqAF1lNtO3DAQhl8lyn3Z2B6fEAuqqJCQUC+APoBjj3cj5bBKTIG37+xmFbKtezljf3Py77m5++ja4jeOUzP025JdVWWBvR9C0++25a/Xh2+mLKbk+uDaocdt+YlTeXd7k1zdYkFsP23LfUqH681m8nvs3HQ1HLCnkziMnUtkjrvNdBjRhWmPmLp2w6tKbTrX9GXRBEpaFr3rKParq7FtkZdFaKZD6z5//uUeMW7L7+z6mROzp4g4Pg/v98Nbn7YlVZ6G5NqJXC/74Z3aIddy68dHfJyTBZfc2arKcyv3Q/vW9VPh51jMXB5c1vlycG1CKmEViVGuzUWwE0O9zL3NzLG1r+w2i4hLhMwVQq+RyQKXCJkrRGcReYmQuUJUFiHvuhcyVwgFyBRGudcImSuEyswg1OEaIXOF0DAyCM1xjZC5QmjkGeT4XDMTmdYiqGBQerAAVlvwwRsJXnkr86Ngi2ZNjIEzR1I0HpQGJ7jmIARqaQUTdC+XfZGFQ2Z4lEbrwMFW4CKG2nsmoKZ66vzbsUUiylrJVcXrOmgIglnQhmzvQQqMIf8obJGLRS6UxVgxDMAdt7xizBonXKw1MJcvfpGO9Ly2gAZqwUFJZiVjqK0gZzQM/tP7IiMeALEyqFjwwEMwijtVxQDB1cL6/O9gi6S4d1HFWnkWFegKjQWDWnHDoeYi5tVFH/v87gyjdBjrIH2EGKPVJjhjKwbShqBmpW1Oe+68HM6/+yV9tvjYx+Fra7V4cj41u32isifaPg/NOKUZPO2ho+/J/eM67qo0NgekNUrzOt6aocU775W5kNs/UEsDBBQAAAAIAAAAIQDZFtPHUQcAAGAhAAATACQAeGwvdGhlbWUvdGhlbWUxLnhtbAoAIAAAAAAAAQAYAADwbyzS56gBAPBvLNLnqAEA8G8s0ueoAe1aS4/bNhD+K4Lujl+SH4s4gZ/ZJLubIHZS5Mi1aYu7lGiI9G6MIECRnHopUCAteinQWw9F0QAN0KCX/pgACdr0R3RIyRZpU8lukgYtumtgIVHz+DgznBmRunz1QUidExxzwqKWW75Uch0cjdmERLOWe3c0KDRchwsUTRBlEW65S8zdq1cuox0R4BA7wB3xHdRyAyHmO8UiH8Mw4pfYHEfwbMriEAm4jWfFSYxOQWpIi5VSqVYMEYlcJ0IhCL01nZIxdtdi+xRkR4LLgTGNh1Io3qadHJclBV/yLo2dE0RbLmiYsNMRfiBchyIu4EHLLak/1yleuVxEOykXFTnMGuNA/a0YU47JcUVpjWeHa7We53u1dqZBUVCxTdiv92v9WiZRUaDxGGabwDGl1itdb0WsUSWXFum9eq9aNhk0DdUt3G1f/kwGRZVo8LYYBoOuZkqNKrn0txj8TrPT29CgqBKG2hZDvdTueXUTkqIKKImOt8hLfq3aXU95TTNldNdK3/S9Qb2yEp+RQWCsI00qmbJI5MVdiI5YPAACSUiRIJEjlnM8RWOI5S6i5DAmzh6ZBRCEcxQxDsOlSmlQqsJ/+fPUVeJZtIORxq6QARa+PSYhOXwck7louTdAsKvRvHrx4uXj5y8f//ryyZOXj39eqVfCDMZdFM10xjc/fPXXd587f/7y/ZunX6faNxm4zvD6py9e//b7WxXAvDODvPrm2evnz159++UfPz61yW/H6FCnH5EQc+cAnzp3WCgnaZkDPozPyTIKEDFYUADSbcL7IjAoD5aIWgk72LTkvRiSj5Xy2uLIwDsM4oUAJdszuxmEBuU+Y7TDYrsZbip1maVHi2iWoz9e6IR3EDqxqu+iyPB1fzGH1EusQrsBNqDepigSaIYjLBz5jB1jbJvifUIM++6Tccw4mwrnPnE6iNgNMyKHRlRlXLskBActrRjB64aF9u85HUatU+/hE5MU1gmitgmMMDWseQ0tBAqtQkcoBBGZh/aQCKxAh8t4rBP2uQCnzzBlTn+CObcy3YrlrDPpNyH15ETAPl2GJmksyLFV6h5iTCftseNugMK5lXhIokAnvs6PIWKRc5sJK/0+M9eMvAeHoCjf8/cINjx/hvxwF3KvjioLFvlkAWG7vfKuYWau0SWdImxNP+04NHJvOyb2SOksZkao72FM0SmaYOzcvW4D0WFzw/YZ8BsBZJtdbI2yG8gMXXkfYY6dpA/anuse4UYED/GM5UHaX25kpCWKQhTnyj6AADAiGYqhPdHeouNjnfKAQLMIsWM3zS0upWTB3s+VeztARoWT9zwnfJex4ckzLTtYq0cGkrOsVWCCbKjBPxMTZP6zW2iEqKEiC54Rgn7EmoyBx4iEjEcWYMW3sDNOzYWsuQNaKaNDCkn0znZpo1HyP1mjZFuFH6lFyhH9Qc1RbqrZ3WiJcgn/o41QDy2i21gWm+10dtEHye7pog9avYL9P/qg3BV+0f1cdD9Zo3HR/Xz67idreKAXynaS1F5MmLutNCWUDsWS4j2udpY4vBhNBjCobtQe6HrDcR7ApaqFoMEgnMVIMTkxE58REQwDNIf9p7LaXZ3xVPaMO3PGYVtKDVuFq82tRbjPJsnWarm83kUFDiSyByV/tScI28IENqnUVmytru0UrjUowDO1s7vCILnPg0NXZ+Ko2nDU16PSVCszWnCo+X0cIE0bkIZUsPbZFhBll9Q98B7vwOt/y/W9BBTs+0F3P5EOS52+8rOy5Mf0ea5JjWCABj2djO7zpoSbP8Vz+dzAoceeiUP5LGkKeQCv1mmwpmZLF8iWsTMk5/V6U/OtAVEaxIKk3nirSd7b6zKzbCQMGunpg0bOKazCqg+gxmjecqewVQ2X4RzCiMu3N0RncOYzFnGSBN4r3cxjLnqIB4nZVSZKvRESgWOHkrDlShNkcUEjlVoUvHIFssS/GV8Tss2/EB943/Q2nk7xWOj+10akvZNbyC9p/rA+VvwfQC1Z2QL8Pgwmp84hXcR3EESbXy9LK04Ih5OLcmLSCYGTuXV6y0Jxo26l+Vg/FlPBlIwjOg9QWm6MNJ/QqyS/xqPu1mbQ7tJZr5/qVjycyWL64WX53cVc2i6rnk2tphppRlbVnBT7z/UBGi6txhq4kiq+lYib6/S30U1kBeQdZfkM7YEGT1NnwJOwLdlZJvPVsFlXPmbXoBWmWp79svJhtceH1InNGJalY9WGqmWgzvL1Q3d2eATZpAdHmgsqeOJUOFOPEXSdyalomkhgQT0QadMCV84iJi33Yclve92K3y2UGn6/4FW9UqHht6uFtu9Xy32/XOp1Ko+g6IggLPuJ9gGcoNBl+j2BGt/6piBcHRRdGrOwyNQ3A0UFXX1TUK5YvilwRvK56xDIQg9rlUGz2uzUCs1qe1Dwep1GodmtdQq9WrfeG/S6fqM5eOQ6J4rYa1e7Xq3fKNTK3W7Bq5Uk/EazUPcqlbZXbzf6XhuIkwYDpp7kk9QYK5te+RtQSwMEFAAAAAgAAAAhABpI2RVkAQAAsQIAABEAJABkb2NQcm9wcy9jb3JlLnhtbAoAIAAAAAAAAQAYAADwbyzS56gBAPBvLNLnqAEA8G8s0ueoAY2SX0/CMBTFv8rS99ENCGIDI1HDi2JMxGh8q+0FKlvbtBfnvr3dHyaKD761vef+es5tZ4vPIo8+wHll9Jykg4REoIWRSm/n5Gm9jKck8si15LnRMCcVeLLIZsIyYRw8OGPBoQIfBY72TNg52SFaRqkXOyi4HwSFDsWNcQXHsHVbarnY8y3QYZJMaAHIJUdOa2BseyLpkFL0SHtweQOQgkIOBWj0NB2k9FuL4Ar/Z0NTOVEWCisbEnV2T9lStMVe/elVLyzLclCOGhvBf0pfVnePTdRY6XpSAkg2k4Khwhwi2qz94e0dBHY74YCjcdm9EibnPro1u3wWMrFjoR7vHqrSOOm7HgleOGUxPFN9EgShE1fhoTYK5FX1C3ZeDzaaCbSXgIxCJtZO4Fh5Hl3frJckGybDNE6mcXK5TsdsdMGSyWvt70d/nQcAAAAFBgAAAAgAAADnDwAAAAAAAAAAAACrPSg6E/8mjicsnZ4Qj4D2W3GErXFVnZKefbPsC1BLAwQUAAAACAAAACEAHNMeplAJAADOLwAAGAAkAHhsL3dvcmtzaGVldHMvc2hlZXQxLnhtbAoAIAAAAAAAAQAYAADwbyzS56gBAPBvLNLnqAEA8G8s0ueoAZ2aa3PiOhKG/wrl7wkYbEJSSU4NAXPzffby2QEnoQYwa5zL7Nb+95Us2Vj9KjBs1Tkp5tGrVlvdkiVZ9399bTetjzQ/rLPdg2Fed4xWultmq/Xu9cH4+9+cq4HROhTJbpVssl36YPxOD8Zfj/efWf7r8JamRYvV3x0ejLei2N+124flW7pNDtfZPt2xkpcs3yYF+2f+2j7s8zRZlZW2m3a30+m3t8l6ZwgLd/mf2MheXtbLdJQt37fprhBG8nSTFMz7w9t6f6isfa3+yN4qTz7Zk1b+NFwciZLanmmBf9v1Ms8O2Utxvcy2beEaPuVt+1Z5zu0SDGk6a5vkv973V8zwnj3c83qzLn6Xj2u0tsu72esuy5PnDYvHl2kly9ZXzv7rsv97DYcTbOnPXU6WtaUtOKw1k34tU01cvzAQ2uo0PUyrnacfa56XtSd5989cAVt2bat7NNb7P431a2O8t/O79/XqwfjP8McPe2j+cK5ub8e9K8sZm1cDc2hdDa2nJ3vcGfecW/O/xuP9as1Slz9VK09fHowf5l3cNY1W+/G+HBr/WKefh8bvVpE8/0w36bJIWStMyEfec5b94sIZQ2zAFtneTV+Kp3Sz4QZZI4eyBm9kn/BRKxVGK2H0IxXKCR/a/yq94D+ZB+3ahebvyh2nHMxh3lqlL8n7pnjKNv9cr4o35pZ53R1Y3YF9Y5Z/jUoSZ5/TdP36VjBN/9o2Wsv3Q5Fta1a2usw2rAn2t7Vd8zmIpXjyxSv0BhZ73kYTlX3TYj1/KH7zAcACyj0XRkr/R0mRPN7n2WeLpR6zdmB9wGYo887kD1wi4YZ4oBJwD3kYqH/ML26FdaqsyXQH1sEfj5379gdvVyqGqDBVxRMquqpihIqeqhijwlIVDipsVTFBRV9VTFFxoypmqBioirlQsPmq7jGTSBYaya1qxUVJl3S8p5GQnvc1EtL1gUZC+j7USEjXRhoJ6dtYIzl2bptlbZ26LLOV1P1+FFVZyms8GL0yP0kfDKuyYzxIXz+hwiR9PRISMeTKgTEG4mjMEF8mUGkKZAZkDmQBxAXiAfGBBEBCIBGQuEmUwPHJqTnnnA8cr1EFjmTmsCprDCQiedJIyIAdCYldpoZlWx0S2TEtJ2nrYBNdkj8T1UTvls4qopxN6XzO58kzQ6MmSZX5GaOL2kRl1D1v1KNGyZP4YDRAo10y8YaqUatDHj8S5SxpKk9jNNo7hkXJKNZpF2YUr1FlFJnIhlXZiYxCSZfM3iMhOWYUed4xKafp4mATPeLohDZBknoqytnfOqM0RmlGUaP0rQRGXY1RMgI9YpQ+rC/KG8EPNEZpRoEnEZC4SZSUYYutC1OG16hShrzYhlXZ928PVJgkI0ZCwjyuwjUG4mjM0LcHVJoCmQGZA1kAcYF4QHwgAZAQSAQkbhIlcGzJdGHgeI0qcKTPh1XZibGukZCBOBKSeqw3pimxCiDlFhlTDjbRoytKjYQk4VxIGvmzAOIC8YD4QAIgIZAISNwkSgjZBujCEPIaVQhJzwyrshMh1EjIZDISkjqEFnnnjUl5n+4rsIkeifJESBrxmQKZAZkDWQBxgXhAfCABkBBIBCRuEiWqfPd42bJO7DfFepx01rAqOxFVjYQMiZGQ1FHtk/IxKR+Qcgeb6NFl3RkTU1HeiPoMjVpkuTmHSgsgLhAPiA8kABICiYDETaIE/fbioPMa1VAmg2hYlZ0IOkp69D0qJHXQB3TlpZbbdCXqYBN0vTIRkuZQBjIDMgeyAOIC8YD4QAIgIZAISNwkSlRNdmp24Vguq9Sba/qarUu/XyBpJDYcAIlG2NqgXiLJag3kaCzRfdNEapoRRDRDNEe0QOQi8hD5iAJEIaIIUawgNZj8SOWyidkUpzDypIS+cOvSE8NUp6GrJqn5fqASAY5UTSsW3SSdMzKVguYMrbFrE7tzrLZA5CLyEPmIAkQhoghRrCA1EfiJzIWJIA5xZCLQd7RZlZ5KBI2Grr2knSoR7A7JuDEVdMnE4Gg8sUkrk3NGplKgJAJ6b9NlN1ZbIHIReYh8RAGiEFGEKFaQmgj8ZOXCRKgOY8qzU3p4auJRDT091UgsYmYkNWyFeZzeheUGcjSWqEMTtDRFNEM0l6i5iULkIvIQ+YgCRCGiCFGsIDWYzNdLg8mrVO9qEqihWRWeGtQaDczuQlPP7vTzxlg2VAvoiaGj8cQiA39yzshUCtgCtj4E09i16QKc2O3dkm5a0IZNMi24ulbIssiTmka2+YgCRCGiCFGsIDVp+PHKhTOAOJGRrwL4vFeVnsoajQZeBUJzTAq6YzOJwKJbNilg80b9ZQ3XBGeMTKURJWvQe3pIMJfVlNlDVGsgF1UeIh9RgChEFCGKFaQmAj+kuTARxLmOTAT6OcasSk8lgkZDd+7SzvFAhu7iqKBPBI7GEwvWBMKT4wEBMTKVRpREQO9teoguqymJAAdkLqo8RD6iAFGIKEIUK0hNBH6uc2EiiKMgmQj0K4pZlZ5KBNTAbl7aOZEIwsi3MXQ0ntBZYyI1jThPEc0QzSVSIt08IisPgF1UeYh8RAGiEFGEKFaQGml+mHNhpMX5j4w0PbWR90aaM65JP8FqNBY9t5GaYyBhGyDcqAUDInB0rRDNRGqUSAu7yiAHNJcVlUgLlTK5A/Kwoo8oQBQiihDFClIjzQ94Loy0OBOSkSaT8tCsSk+NadTQ7x0jaecYSLKzHBOB3aFfTDSewCGd1CiRFs4pkQY0lxWVSMPpmYsqD5GPKEAUIooQxQpSIt29/MCurFIf2NFdQF16ItIajU1G20hqqkjbdOc+BgHxxNG0Auu5c0amUsCCWO8CNHZtkmVzYte6IdPaggropQ5X00qfLBY8qWnuAhAFiEJEEaJYQWrWXH4yyC8B1llD75oN69JTWVNZ+F4zknbqrIEPqlRAM8LReGLTLzfnjEylQMka9L5P946yWnP6QOQi8hD5iAJEIaIIUXmPlsVO+CUSQdxoFTdC98lr6iX563p3aG3YfVl2d/aarWRycT+1/M3uyZZ0cGN1TPuGbW2es4JdWCXwjV1kT9myp3PN1gQvWVbU/2CjjzfzMy3e960sX7Nb6uXl9Adjn+VFnqwLg13J3af5z/W/2eVV1vP5Hb8+nM9W4nIIu+67ScMkL9iV2Pr3UcSekDXRbqra9V38x/8BUEsDBBQAAAAIAAAAIQCVDjfNfgIAAPYFAAAPACQAeGwvd29ya2Jvb2sueG1sCgAgAAAAAAABABgAAPBvLNLnqAEA8G8s0ueoAQDwbyzS56gBrVTfb9owEP5XLL+n+UECJSJULTANaaqmirYvvBjnQiwSO7OdQjXtf9/FGbQdL6iblNixnfvuu7vPN7k51BV5AW2EkhkNrwJKQHKVC7nN6OPqi3dNibFM5qxSEjL6CobeTCd7pXcbpXYEzaXJaGltk/q+4SXUzFypBiSeFErXzOJSb33TaGC5KQFsXflREAz9mglJe4RUX4KhikJwmCve1iBtD6KhYhbJm1I0hpKap8utVJptKmR7CBNy0PgM8Q0DHKKjw5pf4rFmetc2Hld1g142ohL21fk9wqCHM5xacK2MKuwV2vk96bP4w8APww8pOJzn4DKk2NfwIroKnlhhsJ+kNTyBhagFV94U0/ZJtOSEdko8FuOTYG/UhnQ6KUQFT71wCWuae1Z3Ba8oqZixi1xYyDM6wqXaw4cN3TZ3rajwNIqjCPXtv+n5uyY5FKyt7AqVfMTHizEcjqPE/YoKu60saMkszJS0qMQ/afpXSTnsWalQ4+QBfrRCA14tVBhGiyPjKduY78yWpNVVRmfp+tFgAtb3gisMej0Hs7OqWb/TJjtX+WWacupk3EXsn2j133+HP510reBJwN68ZbJbksOzkLnaZ9SLBmGMqX49bYQBLvfu+FnktsRqDKIE71W/9xXEtrSY+CgZ4SbjVrzAim0yiqrsOL1z6ZoKunYzkU4IS9m0FltXt7XEUoeU6FTgh17mgx7haIYFFxLyTkCmg+as4qiDbnKW4zCIxs4EDvabsW7GEoiM/gzj4HYUjGMvWAwSL74eR951PIi8WTyPFsloMV/cJb/+Z69wSkiP7bejWTJtV5rxHbbsByjumMHwQ9rlCHn2o2PtH62mvwFQSwMEFAAAAAgAAAAhAB2cDfbfBQAAuioAAA0AJAB4bC9zdHlsZXMueG1sCgAgAAAAAAABABgAAPBvLNLnqAEA8G8s0ueoAQDwbyzS56gB7Rprb9s28K8I+u5IsmzVCmwXsVIBBbouWDJgwLAPtEw5RCTRoOjMbrH/vjvq6Qcdx2u7FJD8wSJP9+Idj8cjx+83aWI8U5Eznk1M58o2DZpFfMGy5cT8/SHsjUwjlyRbkIRndGJuaW6+n45zuU3o/SOl0gACWT4xH6VcXVtWHj3SlORXfEUzgMRcpERCUyytfCUoWeSIlCZW37Y9KyUsMwsK12l0DpGUiKf1qhfxdEUkm7OEya2iZRppdP1xmXFB5gkIunEGJDI2jif6xkZUTFTvAZ+URYLnPJZXQNficcwieiiub/kWiRpKQPkySs7Qsvs7um/EhZQGlqDPDI1nTscxz2RuRHydyYnplR1gqy/GM0nAuI5pWNNxxBMuDAlmglEqujKS0uKbgCRsLpj6MCYpS7ZFf1/1KOOWX6YMhlr1Wsi34N5iBo70ErMbwUiiYbVDdK6Yv0KNsyn/OKJiOZ+YYWirRyndjPrZ4uoH4j+SV8OdgxFZktQu5KILQcd0DHNNUpGF0DDK94ftCvwng6BQOoH68IXPl4Jsnf7wFRg5T9gC5VgGym9LPW88/Ck68xLCsgXd0AV4/qCg3xIanVTJp/5AzzkXCwh61WRxgEPRNR0nNJZIV7Dlo3qRfKX4cCl5im8LRpY8Iwm+WxVa+QK0I5ok9xgf/4hrBn0bOGxiI1unYSo/gpTgAzjm1SuIVb4WBIvGdAzzcZmlNFOSrASXNJIw2xXrTaynCRMbVT1C0yCrVbL9vE7nVIQqPCthVC8auGnN1CA17ZtKlqbrrpZI9YFUOiU7gboRAg/rfKibZWVQ6uKQiv5dYOwC40WB0W8yiJd8KIRM4/ut8gNIuKpc5n+WBPYpb0QS981IgiYpM80fbh2rnQwXqXErK3Yuy4qNTVwuISfyTfSEMgGG13ZS3aAXOa+aGzAyrQy4arWyFdwiNMk4VEwki3BXHUFuTsuN8KmEHP1Bk5DX6hyR5w1L8MgF+wKDh6OAmyYT60g/x6g4rYh1tmF2t0y1w+y4j9YIAAAABQcAAAAIAQAA5w8AAAAAAAAAAAAAXN9isL6vS38LCc8ey2JB6qZZE3i0nqOfVCq4QjhtlRx2yn917DWw1DQxP+NuHwpudbyZr1kiWdYE032MOyowvlUoDlRuWjhFHWcfJ1gLASXkbY0EZZoWUlGc0SEZf9p/1YjvdhChBeH+AJGnKakxoFjdYgXeqMPY4QOJVAurqCo1CxcM72LTVHKgiqo6qoLnuiiQ1oWwXAr2VNZIi4rIXo3xvLLfkSptWRJtFqH2jF3SjAo07qG7SLqRv3EJ5XIs8YNMfwuyeoBO1cgfBcueHnjIijbW6KH4/2td+sFKk9K3U1qV0TtLd+69fxjRzWntQU4XyCDLwRhanJJ10bveM3RL1u4Oslunu+TkdRkZ5mWQnkq88aBOHOv0HxK7BY3JOpEPNXBiNu+/0AVbp7ChLL+6Y89cKhITs3n/hEegTpEQqzgOzMpjVnUaC004j20dzBan2+X59j4oVI8Khoeg+lR8H2TbeGh+FAtxtAS1WAjQYCFAC9JK+FPrNWruIxyOPAK1Iz86DhrZWiwEaLAQoAEFNv6OioE4GiwfHo0pfd91vcKp91VGUwbBUV5BoPUNz4P7RzqCWgkRR8sLuR0VA82lUfmEY6PoWlNq9TphrxfcRiPhiQlr21qVT4w8gjRjiFr5sLM/Em18X8sLcTQEg0DrUSiEhhe6msaUrhvAo5VQYy/kpQX5vhaETnqUlwePRnjfw99RLNvWTiLX9X3NdEAsjRguPBoQTtgTIA0vJKjRC0FuUR2y9tYzq1rnoD7yKYdrbfBvrAWbmF8/zN75tx/Cfm9kz0a9gUuHPX84u+0NB8Hs9jb07b4d/NO6aHjZlT4brxmqe5Fwl8YZXOcJXEYU5epertb3Td/EbDWK9VrZywK528L7fc++GTp2L3RtpzfwyKg38txhLxw6/VtvMPswDIct4YeXCe/YluM00g+vJUtpwrIqO6lyknYvpCXQPKUF6qJsYTXXTqf/AlBLAwQUAAAACAAAACEACPuEgqwDAADrLgAAFAAkAHhsL3NoYXJlZFN0cmluZ3MueG1sCgAgAAAAAAABABgAAPBvLNLnqAEA8G8s0ueoAQDwbyzS56gB5VrdbtowFL7fU1i56F0boBvbOkgV8SOQ2rWi7XV1SAx4MnZmO6z0raY9Ql9sTgKlagBpQj6RGBIgDgmHz+fvO8duXT7NOVlQpZkUba9+VvMIFZGMmZi2vYf7/ukXj2gDIgYuBW17S6q9y6CltSH2TqHb3syY5ML3dTSjc9BnMqHCfjORag7GflRTXyeKQqxnlJo59xu1WtOfAxMeiWQqTNv72vRIKtjPlHYKQbPhWRUsaJlg2G35Jmj52adCcr9M6HvZd5iXZHcGlKm/v7In4pLsCsaUl6T5/Y0t95dk+f3vpCpoqVv7op/JArhd2bpH/KAVSS4VUdNx2+v3a/kjl6u+FKa4MlQMeC6cwJzxZSFt5BI//00T3BZ/K1OyT4+xJrE2K1T/o4oZ6NWSWhWvy79X3cGwbtzD6vVImCSvepCAnXDzzT22GAw9mb7RhIRu5B6a/IVtsjv3oBLFbNCvEg9elKEhW6XEI0R2ju2NoXtvPCcjyiXENMYG13EPjkVckj1WG2fV1U2tLofbbmWHFOyMrlSDsFeynxuEIq4G3xUSvoxGVoMQ00c/7k4vu93mYGqJ56PV4MP00T0I3aRQFPqc9bMXOoHIdky2YdVULagXrDk1CSPDFhCxlz/CdsjEyBg04dmTCWrfKvFqzLj9VAlCvLitBh9m3O5B6CZusYgdekIalBjB1gU8hM7ZKZeKQKHPYPruoTFBBmt4JMvtVQ0uUOrKpoSM6ILpooBoo9LIpApITImiiVSG6t0Jdqt3HcyJVqNVl1NEOmGCFUXTAh0dMVANSkluu8wKceLEbkzXWMsOa/Ip9XpY73ZaXCY/W8PkkCRcTOjQywuCHe10n9RJd48p3RoPCWLj+CHeqpSOAb14DN3zhHnC7f6VMKuu6/HJ7pbFjx+qZAwYbst4qii5lraQdMEACQXwpWERuolR+UG5lrhNQAi9id0wz4YGLAb0kTqC6TLX7EhuIUqFbTyE/e8iq5J+KiJ7NAJ4FVZEYzjokwGELWNqlLRme1NAliT8keoKGi00OzaxAxG5gx7AmHG2JgS2QN7Rl9/Aqc5GskNhTxzZWD3yNeiAzpvMh/wt669jeeSQB0zbIsOeV0SwIEYSnQ/hHE/qbvb6kRpp5CAeCkPVBJ5JeE5OyU1vM+JHwotEjixvF9UQd2SDdkHPxhJUTBboh5kQ2tBVWSFdy+exEy0ac/iMjQzZR1+TTv+6GxZph+BnWrzM878lni1nDTezaN8eVw/+AlBLAwQUAAAACAAAACEAZN7HKOkAAABNAgAACwAkAF9yZWxzLy5yZWxzCgAgAAAAAAABABgAAPBvLNLnqAEA8G8s0ueoAQDwbyzS56gBjZJNagMxDEavYrTPaJJCKSVONqGQXSnpAVRb88PMWMZW2+T2NV2EDqRJlpbkp+cPr7fHaTRfnHIvwcKyqsFwcOL70Fp4P7wsnsBkpeBplMAWTpxhu1m/8UharuSuj9kURsgWOtX4jJhdxxPlSiKH0mkkTaTlmFqM5AZqGVd1/YjpLwPmTLP3FtLeL8EcTrHsvc2Wpukd78R9Thz0wgqcTxQypZbVwnHEb0nDh8hQFWEweFlmdb/M/w/FiZU8KaGTxIuYSkxJ+xLr2ceLey3l/Dtx1ejhfqPb8fBROXj2150oxrMSzr7B5gdQSwMEFAAAAAgAAAAhAO/W6yTmAAAAvAIAABoAJAB4bC9fcmVscy93b3JrYm9vay54bWwucmVscwoAIAAAAAAAAQAYAADwbyzS56gBAPBvLNLnqAEA8G8s0ueoAa2SzWrDMBCEX0XsvZadllJKlFxCIdc2fQAhrX+ILQntJq3fvksCiQMhvfg4s2jmY1fL9e/QqyNm6mIwUBUlKAwu+i40Br53H09voIht8LaPAQ2MSLBeLT+xtyxPqO0SKckIZKBlTu9ak2txsFTEhEEmdcyDZZG50cm6vW1QL8ryVedpBtxmqq03kLe+ArUbk/T+nx3runO4ie4wYOA7FZqFCyXQ5gbZwEmezaoQUFD6PsRiTgjisZcdXijO+mH/y6z9rc3ovzjLhacYU/shzfOcND8x76lF5OtCLhbp0+R6G33z61Z/UEsDBBQAAAAIAAAAIQA/8LpIgQEAAI0FAAATACQAW0NvbnRlbnRfVHlwZXNdLnhtbAoAIAAAAAAAAQAYAADwbyzS56gBAPBvLNLnqAEA8G8s0ueoAa1Uy27CMBD8lcjXihh6qKqKwKGPY4sE/QATL4lFYlvehcLfd2MefSikRXCJlcQ7M97Z8XC8qatkDQGNs5kYpH2RgM2dNrbIxPvspXcvEiRltaqchUxsAcV4NJxtPWDCtRYzURL5BykxL6FWmDoPlv8sXKgV8WsopFf5UhUgb/v9O5k7S2CpRw2GGA2fYKFWFSXPG/680xGgQpE87jY2XJlQ3lcmV8Q65drqXyy9PUPKlXEPlsbjDcsQiWyliL9OMhwK37g1wWhIJirQq6pZiNxU8sOF5dy5ZdqN0qLTLRYmB+3yVc09SNEHUBpLAKqrNK5prYw9Kj8hgLjVIONzcLGICNPJyHonwXmU7MLFdND4rEH3PENCIANfRrUd90ieuwDnsx8mo6n+LyVbjLStAM+n6zY4gna2mqlJzXnXbrnc3Z8jFrG7cjE3tiMX5060D4bDHqZAxDcKZ5rD2ObxPlMxACjjcu2TN5mNwH+1H0sVQE+JpRdXH4Dv2EchMl6no09QSwMEFAAAAAgAAAAhAAOauvrOAAAAygEAACMAJAB4bC93b3Jrc2hlZXRzL19yZWxzL3NoZWV0MS54bWwucmVscwoAIAAAAAAAAQAYAADwbyzS56gBAPBvLNLnqAEA8G8s0ueoAa2RwWrDMAxAf8XoPjvpYYxRt5dR6LVrP0B1lMQskY2ljfXva9bLUgq77CQkoaeHtN5+z5P5oiIxsYfWNmCIQ+oiDx5Ox93TCxhR5A6nxOThQgLbzfpAE2odkTFmMZXB4mFUza/OSRhpRrEpE9dOn8qMWtMyuIzhAwdyq6Z5duU3A5ZMs+88lH3Xgjlect37Nzv1fQz0lsLnTKwPVjjF80QViGUg9WDtrSK30NoqC8Y9Fln9p0gukZXKO6nWO8tC6a7n7vLWniP/WLrFDzZXUEsBAi0AFAAAAAgAAAAhABDRflpsAQAA1QIAABAAJAAAAAAAAAAAAAAAAAAAAGRvY1Byb3BzL2FwcC54bWwKACAAAAAAAAEAGAAA8G8s0ueoAQDwbyzS56gBAPBvLNLnqAFQSwECLQAUAAAACAAYZZNYYa7mR5gBAAAAKAAAJwAkAAAAAAAAAAAAAAC+AQAAeGwvcHJpbnRlclNldHRpbmdzL3ByaW50ZXJTZXR0aW5nczEuYmluCgAgAAAAAAABABgA3opOGYmS2gHeik4ZiZLaAd6KThmJktoBUEsBAi0AFAAAAAgAAAAhANcnkbBfAgAArwUAABQAJAAAAAAAAAAAAAAAvwMAAHhsL3RhYmxlcy90YWJsZTEueG1sCgAgAAAAAAABABgAAPBvLNLnqAEA8G8s0ueoAQDwbyzS56gBUEsBAi0AFAAAAAgAAAAhANkW08dRBwAAYCEAABMAJAAAAAAAAAAAAAAAdAYAAHhsL3RoZW1lL3RoZW1lMS54bWwKACAAAAAAAAEAGAAA8G8s0ueoAQDwbyzS56gBAPBvLNLnqAFQSwECLQAUAAAACAAAACEAGkjZFWQBAACxAgAAEQAkAAAAAAAAAAAAAAAaDgAAZG9jUHJvcHMvY29yZS54bWwKACAAAAAAAAEAGAAA8G8s0ueoAQDwbyzS56gBAPBvLNLnqAFQSwECLQAUAAAACAAAACEAHNMeplAJAADOLwAAGAAkAAAAAAAAAAAAAADRDwAAeGwvd29ya3NoZWV0cy9zaGVldDEueG1sCgAgAAAAAAABABgAAPBvLNLnqAEA8G8s0ueoAQDwbyzS56gBUEsBAi0AFAAAAAgAAAAhAJUON81+AgAA9gUAAA8AJAAAAAAAAAAAAAAAexkAAHhsL3dvcmtib29rLnhtbAoAIAAAAAAAAQAYAADwbyzS56gBAPBvLNLnqAEA8G8s0ueoAVBLAQItABQAAAAIAAAAIQAdnA323wUAALoqAAANACQAAAAAAAAAAAAAAEocAAB4bC9zdHlsZXMueG1sCgAgAAAAAAABABgAAPBvLNLnqAEA8G8s0ueoAQDwbyzS56gBUEsBAi0AFAAAAAgAAAAhAAj7hIKsAwAA6y4AABQAJAAAAAAAAAAAAAAAeCIAAHhsL3NoYXJlZFN0cmluZ3MueG1sCgAgAAAAAAABABgAAPBvLNLnCQAAAAX/////CgAAAOcPAAAAAAAAAAAAAGtLAQAFX2lkABAAAAAEgctbfhyXxUqQuQ3j6M/7jQNEYXRhAApLAQACQ29sb3JTY2hlbWVPbkxhc3RSZW5kZXIABwAAAEJyaWdodAADQmFja2dyb3VuZACFBgAAA0JhY2tncm91bmQAdAYAAAJBdXRvU2hhcGVUeXBlAAoAAABSZWN0YW5nbGUABU1hbmFnZWRJZAAQAAAABPGeYyu3H1lIli32upKIil4ISGFzQ2hhbmdlcwAACFVzZU5hbWVJbnN0ZWFkT2ZUYWdBc0lkAAAIU2hhcGVQcmV2aW91c2x5Q3JlYXRlZAAAA0ZpbGxDb2xvcgBVAAAAEEEA/wAAABBSAP8AAAAQRwD/AAAAEEIA/wAAAAFTY0EAAAAAAAAA8D8BU2NSAAAAAAAAAPA/AVNjRwAAAAAAAADwPwFTY0IAAAAAAAAA8D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BAG8mAQAFXaWR0aAAAAAAAg9uNQAFUb3AAAAAAAM5HEUABTGVmdAAAAAAASuIKQAhGbGlwSG9yaXpvbnRhbGx5AAAIRmxpcEhvcml6b250YWxseUFwcGxpZWQAAAhGbGlwVmVydGljYWxseQAACEZsaXBWZXJ0aWNhbGx5QXBwbGllZAAAAVJvdGF0aW9uAAAAAAAAAAAAAVpPcmRlcgAAAAAAAADwPw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AA0RhdGEAhAYAAANSZWN0YW5nbGUAdAYAAAJBdXRvU2hhcGVUeXBlAAoAAABSZWN0YW5nbGUABU1hbmFnZWRJZAAQAAAABJJymG/Au8lEkbA3QrR6XM4ISGFzQ2hhbmdlcwAACFVzZU5hbWVJbnN0ZWFkT2ZUYWdBc0lkAAAIU2hhcGVQcmV2aW91c2x5Q3JlYXRlZAAB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A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DwPwFXaWR0aAAAAAAAAADwPwFUb3AAAAAA4HcUcUABTGVmdAAAAAAAhRd+QAhGbGlwSG9yaXpvbnRhbGx5AAAIRmxpcEhvcml6b250YWxseUFwcGxpZWQAAAhGbGlwVmVydGljYWxseQAACEZsaXBWZXJ0aWNhbGx5QXBwbGllZAAAAVJvdGF0aW9uAAAAAAAAAAAAAVpPcmRlcgAAAAAAAAAAA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AA0dyaWRMZWZ0U2lkZQCZDQAAA1ZlcnRpY2FsTGluZQDhBgAAA1N0YXJ0ABsAAAABWAACSW6XlRteQAFZAAAAAAD9PEFAAANFbmQAGwAAAAFYAAJJbpeVG15AAVkAAAAA3KrjgEAAAlN0YXJ0QXJyb3dIZWFkABEAAABtc29BcnJvd2hlYWROb25lAAJFbmRBcnJvd0hlYWQAEQAAAG1zb0Fycm93aGVhZE5vbmUABU1hbmFnZWRJZAAQAAAABJkk+/tRRV9GjE3wdJOtB0QISGFzQ2hhbmdlcwAACFVzZU5hbWVJbnN0ZWFkT2ZUYWdBc0lkAAAIU2hhcGVQcmV2aW91c2x5Q3JlYXRlZAAA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oAAAAFCQAAAAsAAADnDwAAAAAAAAAAAAA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ILaff0ABV2lkdGgAAAAAAAAAAAABVG9wAAAAAAD9PEFAAUxlZnQAAAAAoJUbXkAIRmxpcEhvcml6b250YWxseQAACEZsaXBIb3Jpem9udGFsbHlBcHBsaWVkAAAIRmxpcFZlcnRpY2FsbHkAAAhGbGlwVmVydGljYWxseUFwcGxpZWQAAAFSb3RhdGlvbgAAAAAAAAAAAAFaT3JkZXIAAAAAAABAVUADQm9yZGVyQ29sb3IAVQAAABBBAP8AAAAQUgAQAAAAEEcAOAAAABBCAE8AAAABU2NBAAAAAAAAAPA/AVNjUgAAAADgNjl1PwFTY0cAAAAAgGc/pD8BU2NCAAAAAGAXBLQ/ABBCb3JkZXJUaGVtZUNvbG9yAAAAAAABQm9yZGVyVGludEFuZFNoYWRlAAAAAAAAAAAAEEJvcmRlclNjaGVtZUNvbG9yAAAAAAABQm9yZGVyVGhpY2tuZXNzAAAAAAAAAOA/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NlY3Rpb25zSGVhZGxpbmUAkwYAAAVNYW5hZ2VkSWQAEAAAAASvX29F5HGyQYfTG/xop4lVCEhhc0NoYW5nZXMAAAhVc2VOYW1lSW5zdGVhZE9mVGFnQXNJZAAACFNoYXBlUHJldmlvdXNseUNyZWF0ZWQAAA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QAAQAAAAACVGV4dEhvcml6b250YWxBbGlnbm1lbnQADgAAAG1zb0FuY2hvck5vbmUAAlBhcmFncmFwaEFsaWdubWVudAANAAAAbXNvQWxpZ25MZWZ0AAJUZXh0VmVydGljYWxBbGlnbm1lbnQADQAAAG1zb0FuY2hvclRvcAADRm9udFN0eWxlAEABAAAQRm9udEJhY2tncm91bmQAAAAAAAhGb250Qm9sZAAAA0ZvbnRDb2xvcgBVAAAAEEEA/wAAABBSABAAAAAQRwA4AAAAEEIATwAAAAFTY0EAAAAAAAAA8D8BU2NSAAAAAOA2OXU/AVNjRwAAAACAZz+kPwFTY0IAAAAAYBcEtD8AEEZvbnRUaGVtZUNvbG9yAAAAAAABRm9udFRpbnRBbmRTaGFkZQAAAAAAAAAAABBGb250U2NoZW1lQ29sb3IAAAAAAAhGb250SXRhbGljAAACRm9udE5hbWUABgAAAEFyaWFsAAFGb250U2l6ZQAAAAAAAAAoQAhGb250U3RyaWtldGhyb3VnaAAACEZvbnRTdWJzY3JpcHQAAAhGb250U3VwZXJzY3JpcHQAAAhGb250VW5kZXJsaW5lAAAACFNpemVUb1RleHRXaWR0aAAACFNpemVUb1RleHRIZWlnaHQAAANUZXh0TWFyZ2luAD8AAAABTGVmdAAAAAAAAAAAAAFUb3AAAAAAAAAAAAABUmlnaHQAAAAAAAAAAAABQm90dG9tAAAAAAAAAAAAAAJEaXNwbGF5VGV4dAABAAAAAAFIZWlnaHQAAAAAQOH6LEABV2lkdGgAAAAAAAAAKUABVG9wAAAAAGCJPDRAAUxlZnQAAAAAQElcN0AIRmxpcEhvcml6b250YWxseQAACEZsaXBIb3Jpem9udGFsbHlBcHBsaWVkAAAIRmxpcFZlcnRpY2FsbHkAAAhGbGlwVmVydGljYWxseUFwcGxpZWQAAAFSb3RhdGlvbgAAAAAAAAAAAAFaT3JkZXIAAAAAAAAAPk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ANHcmlkUmlnaHRTaWRlAPQGAAADVmVydGljYWxMaW5lAOEGAAADU3RhcnQAGwAAAAFYAAAAAEpl6o1AAVkAAAAAAP08QUAAA0VuZAAbAAAAAVgAAAAASmXqjUABWQAAAADcquOAQAACU3RhcnRBcnJvd0hlYWQAEQAAAG1zb0Fycm93aGVhZE5vbmUAAkVuZEFycm93SGVhZAARAAAAbXNvQXJyb3doZWFkTm9uZQAFTWFuYWdlZElkABAAAAAEmXc53BU/+0OpL71R/aFb9whIYXNDaGFuZ2VzAAAIVXNlTmFtZUluc3RlYWRPZlRhZ0FzSWQAAAhTaGFwZVByZXZpb3VzbHlDcmVhdGVkAAA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CC2n39AAVdpZHRoAAAAAAAAAAAAAVRvcAAAAAAA/TwLAAAABQoAAAAMAAAA5w8AAAAAAAAAAAAAQUABTGVmdAAAAABAZeqNQAhGbGlwSG9yaXpvbnRhbGx5AAAIRmxpcEhvcml6b250YWxseUFwcGxpZWQAAAhGbGlwVmVydGljYWxseQAACEZsaXBWZXJ0aWNhbGx5QXBwbGllZAAAAVJvdGF0aW9uAAAAAAAAAAAAAVpPcmRlcgAAAAAAAEBVQANCb3JkZXJDb2xvcgBVAAAAEEEA/wAAABBSABAAAAAQRwA4AAAAEEIATwAAAAFTY0EAAAAAAAAA8D8BU2NSAAAAAOA2OXU/AVNjRwAAAACAZz+kPwFTY0IAAAAAYBcEtD8AEEJvcmRlclRoZW1lQ29sb3IAAAAAAAFCb3JkZXJUaW50QW5kU2hhZGUAAAAAAAAAAAAQQm9yZGVyU2NoZW1lQ29sb3IAAAAAAAFCb3JkZXJUaGlja25lc3MAAAAAAAAA4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AA0dyaWQACxUBAARZZWFySGVhZGVycwAFAAAAAARRdWFydGVySGVhZGVycwAFAAAAAARNb250aEhlYWRlcnMA5ScAAAMwAKIGAAAFTWFuYWdlZElkABAAAAAE8iDeuRez3ESEYd89vZqbEAhIYXNDaGFuZ2VzAAAIVXNlTmFtZUluc3RlYWRPZlRhZ0FzSWQAAAhTaGFwZVByZXZpb3VzbHlDcmVhdGVkAAEDRmlsbENvbG9yAFUAAAAQQQD/AAAAEFIAAAAAABBHAGEAAAAQQgB/AAAAAVNjQQAAAAAAAADwPwFTY1IAAAAAAAAAAAABU2NHAAAAACASmr4/AVNjQgAAAACgYCrLP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QJGaWxsUGF0dGVybgAQAAAAbXNvUGF0dGVybk1peGVkAAJUZXh0AAYAAABBcHJpbAACVGV4dEhvcml6b250YWxBbGlnbm1lbnQADgAAAG1zb0FuY2hvck5vbmUAAlBhcmFncmFwaEFsaWdubWVudAAPAAAAbXNvQWxpZ25DZW50ZXIAAlRleHRWZXJ0aWNhbEFsaWdubWVudAAQAAAAbXNvQW5jaG9yTWlkZGxlAANGb250U3R5bGUAQAEAABBGb250QmFja2dyb3VuZAAAAAAACEZvbnRCb2xkAAADRm9udENvbG9yAFUAAAAQQQD/AAAAEFIA/wAAABBHAP8AAAAQQgD/AAAAAVNjQQAAAAAAAADwPwFTY1IAAAAAAAAA8D8BU2NHAAAAAAAAAPA/AVNjQgAAAAAAAADwPwAQRm9udFRoZW1lQ29sb3IAAAAAAAFGb250VGludEFuZFNoYWRlAAAAAAAAAAAAEEZvbnRTY2hlbWVDb2xvcgAAAAAACEZvbnRJdGFsaWMAAAJGb250TmFtZQAGAAAAQXJpYWwAAUZvbnRTaXplAAAAAAAAAChACEZvbnRTdHJpa2V0aHJvdWdoAAAIRm9udFN1YnNjcmlwdAAACEZvbnRTdXBlcnNjcmlwdAAACEZvbnRVbmRlcmxpbmUAAAAIU2l6ZVRvVGV4dFdpZHRoAAAIU2l6ZVRvVGV4dEhlaWdodAAAA1RleHRNYXJnaW4APwAAAAFMZWZ0AAAAAAAAAAAAAVRvcAAAAAAAAAAAAAFSaWdodAAAAAAAAAAAAAFCb3R0b20AAAAAAAAAAAAAAkRpc3BsYXlUZXh0AAYAAABBcHJpbAABSGVpZ2h0AAAAAIAGaC5AAVdpZHRoAAAAAIAUMlRAAVRvcAAAAAAAzkcRQAFMZWZ0AAAAAKCVK15ACEZsaXBIb3Jpem9udGFsbHkAAAhGbGlwSG9yaXpvbnRhbGx5QXBwbGllZAAACEZsaXBWZXJ0aWNhbGx5AAAIRmxpcFZlcnRpY2FsbHlBcHBsaWVkAAABUm90YXRpb24AAAAAAAAAAAABWk9yZGVyAAAAAAAAACZAA0JvcmRlckNvbG9yAFUAAAAQQQD/AAAAEFIA/wAAABBHAP8AAAAQQgD/AAAAAVNjQQAAAAAAAADwPwFTY1IAAAAAAAAA8D8BU2NHAAAAAAAAAPA/AVNjQgAAAAAAAADwPwAQQm9yZGVyVGhlbWVDb2xvcgAAAAAAAUJvcmRlclRpbnRBbmRTaGFkZQAAAAAAAAAAABBCb3JkZXJTY2hlbWVDb2xvcgAAAAAAAUJvcmRlclRoaWNrbmVzcwAAAAAAAADQ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MxAJ4GAAAFTWFuYWdlZElkABAAAAAEex5LFmwtCEuqmBW3m+XXJghIYXNDaGFuZ2VzAAAIVXNlTmFtZUluc3RlYWRPZlRhZ0FzSWQAAAhTaGFwZVByZXZpb3VzbHlDcmVhdGVkAAEDRmlsbENvbG9yAFUAAAAQQQD/AAAAEFIAAAAAABBHAGEAAAAQQgB/AAAAAVNjQQAAAAAAAADwPwFTY1IAAAAAAAAAAAABU2NHAAAAACASmr4/AVNjQgAAAACgYCrLP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QJGaWxsUGF0dGVybgAQAAAAbXNvUGF0dGVybk1peGVkAAJUZXh0AAQAAABNYXkAAlRleHRIb3Jpem9udGFsQWxpZ25tZW50AA4AAABtc29BbmNob3JOb25lAAJQYXJhZ3JhcGhBbGlnbm1lbnQADwAAAG1zb0FsaWduQ2VudGVyAAJUZXh0VmVydGljYWxBbGlnbm1lbnQAEAAAAG1zb0FuY2hvck1pZGRsZQADRm9udFN0eWxlAEABAAAQRm9udEJhY2tncm91bmQAAAAAAAhGb250Qm9sZAAAA0ZvbnRDb2xvcgBVAAAAEEEA/wAAABBSAP8AAAAQRwD/AAAAEEIA/wAAAAFTY0EAAAAAAAAA8D8BU2NSAAAAAAAAAPA/AVNjRwAAAAAAAADwPwFTY0IAAAAAAAAA8D8AEEZvbnRUaGVtZUNvbG9yAAAAAAABRm9udFRpbnRBbmRTaGFkZQAAAAAAAAAAABBGb250U2NoZW1lQ29sb3IAAAAAAAhGb250SXRhbGljAAACRm9udE5hbWUABgAAAEFyaWFsAAFGb250U2l6ZQAAAAAAAAAoQAhGb250U3RyaWtldGhyb3VnaAAACEZvbnRTdWJzY3JpcHQAAAhGb250U3VwZXJzY3JpcHQAAAhGb250VW5kZXJsaW5lAAAACFNpemVUb1RleHRXaWR0aAAACFNpemVUb1RleHRIZWlnaHQAAANUZXh0TWFyZ2luAD8AAAABTGVmdAAAAAAAAAAAAAFUb3AAAAAAAAAAAAABUmlnaHQAAAAAAAAAAAABQm90dG9tAAAAAAAAAAAAAAJEaXNwbGF5VGV4dAAEAAAATWF5AAFIZWlnaHQAAAAAgAZoLkABV2lkdGgAAAAA4IOQY0ABVG9wAAAAAADORxFAAUxlZnQAAAAAANUuaUAIRmxpcEhvcml6b250YWxseQAACEZsaXBIb3Jpem9udGFsbHlBcHBsaWVkAAAIRmxpcFZlcnRpY2FsbHkAAAhGbGlwVmVydGljYWxseUFwcGxpZWQAAAFSb3RhdGlvbgAAAAAAAAAAAAFaT3JkZXIAAAAAAAAAJkADQm9yZGVyQ29sb3IAVQAAABBBAP8AAAAQUgD/AAAAEEcA/wAAABBCAP8AAAABU2NBAAAAAAAAAPA/AVNjUgAAAAAAAADwPwFTY0cAAAAAAAAA8D8BU2NCAAAAAAAAAPA/ABBCb3JkZXJUaGVtZUNvbG9yAAAAAAABQm9yZGVyVGludEFuZFNoYWRlAAAAAAAAAAAAEEJvcmRlclNjaGVtZUNvbG9yAAAAAAABQm9yZGVyVGhpY2tuZXNzAAAAAAAAANA/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zIAoAYAAAVNYW5hZ2VkSWQAEAAAAAR8LKsUDAAAAAULAAAADQAAAOcPAAAAAAAAAAAAAHHn6UiKTDLOhrWwMwhIYXNDaGFuZ2VzAAAIVXNlTmFtZUluc3RlYWRPZlRhZ0FzSWQAAAhTaGFwZVByZXZpb3VzbHlDcmVhdGVkAAEDRmlsbENvbG9yAFUAAAAQQQD/AAAAEFIAAAAAABBHAGEAAAAQQgB/AAAAAVNjQQAAAAAAAADwPwFTY1IAAAAAAAAAAAABU2NHAAAAACASmr4/AVNjQgAAAACgYCrLP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QJGaWxsUGF0dGVybgAQAAAAbXNvUGF0dGVybk1peGVkAAJUZXh0AAUAAABKdW5lAAJUZXh0SG9yaXpvbnRhbEFsaWdubWVudAAOAAAAbXNvQW5jaG9yTm9uZQACUGFyYWdyYXBoQWxpZ25tZW50AA8AAABtc29BbGlnbkNlbnRlcgACVGV4dFZlcnRpY2FsQWxpZ25tZW50ABAAAABtc29BbmNob3JNaWRkbGUAA0ZvbnRTdHlsZQBAAQAAEEZvbnRCYWNrZ3JvdW5kAAAAAAAIRm9udEJvbGQAAANGb250Q29sb3IAVQAAABBBAP8AAAAQUgD/AAAAEEcA/wAAABBCAP8AAAABU2NBAAAAAAAAAPA/AVNjUgAAAAAAAADwPwFTY0cAAAAAAAAA8D8BU2NCAAAAAAAAAPA/ABBGb250VGhlbWVDb2xvcgAAAAAAAUZvbnRUaW50QW5kU2hhZGUAAAAAAAAAAAAQRm9udFNjaGVtZUNvbG9yAAAAAAAIRm9udEl0YWxpYwAAAkZvbnROYW1lAAYAAABBcmlhbAABRm9udFNpemUAAAAAAAAAKEAIRm9udFN0cmlrZXRocm91Z2gAAAhGb250U3Vic2NyaXB0AAAIRm9udFN1cGVyc2NyaXB0AAAIRm9udFVuZGVybGluZQAAAAhTaXplVG9UZXh0V2lkdGgAAAhTaXplVG9UZXh0SGVpZ2h0AAADVGV4dE1hcmdpbgA/AAAAAUxlZnQAAAAAAAAAAAABVG9wAAAAAAAAAAAAAVJpZ2h0AAAAAAAAAAAAAUJvdHRvbQAAAAAAAAAAAAACRGlzcGxheVRleHQABQAAAEp1bmUAAUhlaWdodAAAAACABmguQAFXaWR0aAAAAABA8+5iQAFUb3AAAAAAAM5HEUABTGVmdAAAAACArF92QAhGbGlwSG9yaXpvbnRhbGx5AAAIRmxpcEhvcml6b250YWxseUFwcGxpZWQAAAhGbGlwVmVydGljYWxseQAACEZsaXBWZXJ0aWNhbGx5QXBwbGllZAAAAVJvdGF0aW9uAAAAAAAAAAAAAVpPcmRlcgAAAAAAAAAmQANCb3JkZXJDb2xvcgBVAAAAEEEA/wAAABBSAP8AAAAQRwD/AAAAEEIA/wAAAAFTY0EAAAAAAAAA8D8BU2NSAAAAAAAAAPA/AVNjRwAAAAAAAADwPwFTY0IAAAAAAAAA8D8AEEJvcmRlclRoZW1lQ29sb3IAAAAAAAFCb3JkZXJUaW50QW5kU2hhZGUAAAAAAAAAAAAQQm9yZGVyU2NoZW1lQ29sb3IAAAAAAAFCb3JkZXJUaGlja25lc3MAAAAAAAAA0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MwCgBgAABU1hbmFnZWRJZAAQAAAABPer062JhOZBsiyTQa4IIR0ISGFzQ2hhbmdlcwAACFVzZU5hbWVJbnN0ZWFkT2ZUYWdBc0lkAAAIU2hhcGVQcmV2aW91c2x5Q3JlYXRlZAABA0ZpbGxDb2xvcgBVAAAAEEEA/wAAABBSAAAAAAAQRwBhAAAAEEIAfwAAAAFTY0EAAAAAAAAA8D8BU2NSAAAAAAAAAAAAAVNjRwAAAAAgEpq+PwFTY0IAAAAAoGAqyz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ECRmlsbFBhdHRlcm4AEAAAAG1zb1BhdHRlcm5NaXhlZAACVGV4dAAFAAAASnVseQACVGV4dEhvcml6b250YWxBbGlnbm1lbnQADgAAAG1zb0FuY2hvck5vbmUAAlBhcmFncmFwaEFsaWdubWVudAAPAAAAbXNvQWxpZ25DZW50ZXIAAlRleHRWZXJ0aWNhbEFsaWdubWVudAAQAAAAbXNvQW5jaG9yTWlkZGxlAANGb250U3R5bGUAQAEAABBGb250QmFja2dyb3VuZAAAAAAACEZvbnRCb2xkAAADRm9udENvbG9yAFUAAAAQQQD/AAAAEFIA/wAAABBHAP8AAAAQQgD/AAAAAVNjQQAAAAAAAADwPwFTY1IAAAAAAAAA8D8BU2NHAAAAAAAAAPA/AVNjQgAAAAAAAADwPwAQRm9udFRoZW1lQ29sb3IAAAAAAAFGb250VGludEFuZFNoYWRlAAAAAAAAAAAAEEZvbnRTY2hlbWVDb2xvcgAAAAAACEZvbnRJdGFsaWMAAAJGb250TmFtZQAGAAAAQXJpYWwAAUZvbnRTaXplAAAAAAAAAChACEZvbnRTdHJpa2V0aHJvdWdoAAAIRm9udFN1YnNjcmlwdAAACEZvbnRTdXBlcnNjcmlwdAAACEZvbnRVbmRlcmxpbmUAAAAIU2l6ZVRvVGV4dFdpZHRoAAAIU2l6ZVRvVGV4dEhlaWdodAAAA1RleHRNYXJnaW4APwAAAAFMZWZ0AAAAAAAAAAAAAVRvcAAAAAAAAAAAAAFSaWdodAAAAAAAAAAAAAFCb3R0b20AAAAAAAAAAAAAAkRpc3BsYXlUZXh0AAUAAABKdWx5AAFIZWlnaHQAAAAAgAZoLkABV2lkdGgAAAAA4IOQY0ABVG9wAAAAAADORxFAAUxlZnQAAAAAICbXf0AIRmxpcEhvcml6b250YWxseQAACEZsaXBIb3Jpem9udGFsbHlBcHBsaWVkAAAIRmxpcFZlcnRpY2FsbHkAAAhGbGlwVmVydGljYWxseUFwcGxpZWQAAAFSb3RhdGlvbgAAAAAAAAAAAAFaT3JkZXIAAAAAAAAAJkADQm9yZGVyQ29sb3IAVQAAABBBAP8AAAAQUgD/AAAAEEcA/wAAABBCAP8AAAABU2NBAAAAAAAAAPA/AVNjUgAAAAAAAADwPwFTY0cAAAAAAAAA8D8BU2NCAAAAAAAAAPA/ABBCb3JkZXJUaGVtZUNvbG9yAAAAAAABQm9yZGVyVGludEFuZFNoYWRlAAAAAAAAAAAAEEJvcmRlclNjaGVtZUNvbG9yAAAAAAABQm9yZGVyVGhpY2tuZXNzAAAAAAAAANA/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zQApAYAAAVNYW5hZ2VkSWQAEAAAAASwEdhFn5HYT7c8nMXDwGTjCEhhc0NoYW5nZXMAAAhVc2VOYW1lSW5zdGVhZE9mVGFnQXNJZAAACFNoYXBlUHJldmlvdXNseUNyZWF0ZWQAAQNGaWxsQ29sb3IAVQAAABBBAP8AAAAQUgAAAAAAEEcAYQAAABBCAH8AAAABU2NBAAAAAAAAAPA/AVNjUgAAAAAAAAAAAAFTY0cAAAAAIBKavj8BU2NCAAAAAKBgKss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BAkZpbGxQYXR0ZXJuABAAAABtc29QYXR0ZXJuTWl4ZWQAAlRleHQABwAAAEF1Z3VzdAACVGV4dEhvcml6b250YWxBbGlnbm1lbnQADgAAAG1zb0FuY2hvck5vbmUAAlBhcmFncmFwaEFsaWdubWVudAAPAAAAbXNvQWxpZ25DZW50ZXIAAlRleHRWZXJ0aWNhbEFsaWdubWVudAAQAAAAbXNvQW5jaG9yTWlkZGxlAANGb250U3R5bGUAQAEAABBGb250QmFja2dyb3VuZAAAAAAACEZvbnRCb2xkAAADRm9udENvbG9yAFUAAAAQQQD/AAAAEFIA/wAAABBHAP8AAAAQQg0AAAAFDAAAAA4AAADnDwAAAAAAAAAAAAAA/wAAAAFTY0EAAAAAAAAA8D8BU2NSAAAAAAAAAPA/AVNjRwAAAAAAAADwPwFTY0IAAAAAAAAA8D8AEEZvbnRUaGVtZUNvbG9yAAAAAAABRm9udFRpbnRBbmRTaGFkZQAAAAAAAAAAABBGb250U2NoZW1lQ29sb3IAAAAAAAhGb250SXRhbGljAAACRm9udE5hbWUABgAAAEFyaWFsAAFGb250U2l6ZQAAAAAAAAAoQAhGb250U3RyaWtldGhyb3VnaAAACEZvbnRTdWJzY3JpcHQAAAhGb250U3VwZXJzY3JpcHQAAAhGb250VW5kZXJsaW5lAAAACFNpemVUb1RleHRXaWR0aAAACFNpemVUb1RleHRIZWlnaHQAAANUZXh0TWFyZ2luAD8AAAABTGVmdAAAAAAAAAAAAAFUb3AAAAAAAAAAAAABUmlnaHQAAAAAAAAAAAABQm90dG9tAAAAAAAAAAAAAAJEaXNwbGF5VGV4dAAHAAAAQXVndXN0AAFIZWlnaHQAAAAAgAZoLkABV2lkdGgAAAAA4IOQY0ABVG9wAAAAAADORxFAAUxlZnQAAAAAALTPhEAIRmxpcEhvcml6b250YWxseQAACEZsaXBIb3Jpem9udGFsbHlBcHBsaWVkAAAIRmxpcFZlcnRpY2FsbHkAAAhGbGlwVmVydGljYWxseUFwcGxpZWQAAAFSb3RhdGlvbgAAAAAAAAAAAAFaT3JkZXIAAAAAAAAAJkADQm9yZGVyQ29sb3IAVQAAABBBAP8AAAAQUgD/AAAAEEcA/wAAABBCAP8AAAABU2NBAAAAAAAAAPA/AVNjUgAAAAAAAADwPwFTY0cAAAAAAAAA8D8BU2NCAAAAAAAAAPA/ABBCb3JkZXJUaGVtZUNvbG9yAAAAAAABQm9yZGVyVGludEFuZFNoYWRlAAAAAAAAAAAAEEJvcmRlclNjaGVtZUNvbG9yAAAAAAABQm9yZGVyVGhpY2tuZXNzAAAAAAAAANA/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zUAqgYAAAVNYW5hZ2VkSWQAEAAAAATU7RW8aUMXTaeKgtSi5na0CEhhc0NoYW5nZXMAAAhVc2VOYW1lSW5zdGVhZE9mVGFnQXNJZAAACFNoYXBlUHJldmlvdXNseUNyZWF0ZWQAAQNGaWxsQ29sb3IAVQAAABBBAP8AAAAQUgAAAAAAEEcAYQAAABBCAH8AAAABU2NBAAAAAAAAAPA/AVNjUgAAAAAAAAAAAAFTY0cAAAAAIBKavj8BU2NCAAAAAKBgKss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BAkZpbGxQYXR0ZXJuABAAAABtc29QYXR0ZXJuTWl4ZWQAAlRleHQACgAAAFNlcHRlbWJlcgACVGV4dEhvcml6b250YWxBbGlnbm1lbnQADgAAAG1zb0FuY2hvck5vbmUAAlBhcmFncmFwaEFsaWdubWVudAAPAAAAbXNvQWxpZ25DZW50ZXIAAlRleHRWZXJ0aWNhbEFsaWdubWVudAAQAAAAbXNvQW5jaG9yTWlkZGxlAANGb250U3R5bGUAQAEAABBGb250QmFja2dyb3VuZAAAAAAACEZvbnRCb2xkAAADRm9udENvbG9yAFUAAAAQQQD/AAAAEFIA/wAAABBHAP8AAAAQQgD/AAAAAVNjQQAAAAAAAADwPwFTY1IAAAAAAAAA8D8BU2NHAAAAAAAAAPA/AVNjQgAAAAAAAADwPwAQRm9udFRoZW1lQ29sb3IAAAAAAAFGb250VGludEFuZFNoYWRlAAAAAAAAAAAAEEZvbnRTY2hlbWVDb2xvcgAAAAAACEZvbnRJdGFsaWMAAAJGb250TmFtZQAGAAAAQXJpYWwAAUZvbnRTaXplAAAAAAAAAChACEZvbnRTdHJpa2V0aHJvdWdoAAAIRm9udFN1YnNjcmlwdAAACEZvbnRTdXBlcnNjcmlwdAAACEZvbnRVbmRlcmxpbmUAAAAIU2l6ZVRvVGV4dFdpZHRoAAAIU2l6ZVRvVGV4dEhlaWdodAAAA1RleHRNYXJnaW4APwAAAAFMZWZ0AAAAAAAAAAAAAVRvcAAAAAAAAAAAAAFSaWdodAAAAAAAAAAAAAFCb3R0b20AAAAAAAAAAAAAAkRpc3BsYXlUZXh0AAoAAABTZXB0ZW1iZXIAAUhlaWdodAAAAACABmguQAFXaWR0aAAAAABAQQphQAFUb3AAAAAAAM5HEUABTGVmdAAAAAAA1bOJQAhGbGlwSG9yaXpvbnRhbGx5AAAIRmxpcEhvcml6b250YWxseUFwcGxpZWQAAAhGbGlwVmVydGljYWxseQAACEZsaXBWZXJ0aWNhbGx5QXBwbGllZAAAAVJvdGF0aW9uAAAAAAAAAAAAAVpPcmRlcgAAAAAAAAAmQANCb3JkZXJDb2xvcgBVAAAAEEEA/wAAABBSAP8AAAAQRwD/AAAAEEIA/wAAAAFTY0EAAAAAAAAA8D8BU2NSAAAAAAAAAPA/AVNjRwAAAAAAAADwPwFTY0IAAAAAAAAA8D8AEEJvcmRlclRoZW1lQ29sb3IAAAAAAAFCb3JkZXJUaW50QW5kU2hhZGUAAAAAAAAAAAAQQm9yZGVyU2NoZW1lQ29sb3IAAAAAAAFCb3JkZXJUaGlja25lc3MAAAAAAAAA0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ABFdlZWtIZWFkZXJzAPueAAADMACcBgAABU1hbmFnZWRJZAAQAAAABOD+vs/flFRKkVkgNNj2KF4ISGFzQ2hhbmdlcwAACFVzZU5hbWVJbnN0ZWFkT2ZUYWdBc0lkAAAIU2hhcGVQcmV2aW91c2x5Q3JlYXRlZAABA0ZpbGxDb2xvcgBVAAAAEEEA/wAAABBSADMAAAAQRwCnAAAAEEIA5QAAAAFTY0EAAAAAAAAA8D8BU2NSAAAAAKAb86A/AVNjRwAAAACgQrvYPwFTY0IAAAAA4L0S6T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ECRmlsbFBhdHRlcm4AEAAAAG1zb1BhdHRlcm5NaXhlZAACVGV4dAADAAAAMTYAAlRleHRIb3Jpem9udGFsQWxpZ25tZW50AA4AAABtc29BbmNob3JOb25lAAJQYXJhZ3JhcGhBbGlnbm1lbnQADwAAAG1zb0FsaWduQ2VudGVyAAJUZXh0VmVydGljYWxBbGlnbm1lbnQAEAAAAG1zb0FuY2hvck1pZGRsZQADRm9udFN0eWxlAEABAAAQRm9udEJhY2tncm91bmQAAAAAAAhGb250Qm9sZAAAA0ZvbnRDb2xvcgBVAAAAEEEA/wAAABBSAP8AAAAQRwD/AAAAEEIA/wAAAAFTY0EAAAAAAAAA8D8BU2NSAAAAAAAAAPA/AVNjRwAAAAAAAADwPwFTY0IAAAAAAAAA8D8AEEZvbnRUaGVtZUNvbG9yAAAAAAABRm9udFRpbnRBbmRTaGFkZQAAAAAAAAAAABBGb250U2NoZW1lQ29sb3IAAAAAAAhGb250SXRhbGljAAACRm9udE5hbWUABgAAAEFyaWFsAAFGb250U2l6ZQAAAAAAAAAoQAhGb250U3RyaWtldGhyb3VnaAAACEZvbnRTdWJzY3JpcHQAAAhGb250U3VwZXJzY3JpcHQAAAhGb250VW5kZXJsaW5lAAAACFNpemVUb1RleHRXaWR0aAAACFNpemVUb1RleHRIZWlnaHQAAANUZXh0TWFyZ2luAD8AAAABTGVmdAAAAAAAAAAAAAFUb3AAAAAAAAAAAAABUmlnaHQAAAAAAAAAAAABQm90dG9tAAAAAAAAAAAAAAJEaXNwbGF5VGV4dAADAAAAMTYAAUhlaWdodAAAAACABmguQAFXaWR0aAAAAAAA0qtBQAFUb3AAAAAAwPaFM0ABTGVmdAAAAACglSteQAhGbGlwSG9yaXpvbnRhbGx5AAAIRmxpcEhvcml6b250YWxseUFwcGxpZWQAAAhGbGlwVmVydGljYWxseQAACEZsaXBWZXJ0aWNhbGx5QXBwbGllZAAAAVJvdGF0aW9uAAAAAAAAAAAAAVpPcmRlcgAAAAAAAAAmQANCb3JkZXJDb2xvcgBVAAAAEEEA/wAAABBSAP8AAAAQRwD/AAAAEEIA/wAAAAFTY0EAAAAAAAAA8D8BU2NSAAAAAAAAAPA/AVNjRwAAAAAAAADwPwFTY0IOAAAABQ0AAAAPAAAA5w8AAAAAAAAAAAAAAAAAAAAAAPA/ABBCb3JkZXJUaGVtZUNvbG9yAAAAAAABQm9yZGVyVGludEFuZFNoYWRlAAAAAAAAAAAAEEJvcmRlclNjaGVtZUNvbG9yAAAAAAABQm9yZGVyVGhpY2tuZXNzAAAAAAAAANA/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zEAnAYAAAVNYW5hZ2VkSWQAEAAAAAQPmxGe9Y6WQLHTOb44cX97CEhhc0NoYW5nZXMAAAhVc2VOYW1lSW5zdGVhZE9mVGFnQXNJZAAACFNoYXBlUHJldmlvdXNseUNyZWF0ZWQAAQNGaWxsQ29sb3IAVQAAABBBAP8AAAAQUgAzAAAAEEcApwAAABBCAOUAAAABU2NBAAAAAAAAAPA/AVNjUgAAAACgG/OgPwFTY0cAAAAAoEK72D8BU2NCAAAAAOC9Euk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BAkZpbGxQYXR0ZXJuABAAAABtc29QYXR0ZXJuTWl4ZWQAAlRleHQAAwAAADE3AAJUZXh0SG9yaXpvbnRhbEFsaWdubWVudAAOAAAAbXNvQW5jaG9yTm9uZQACUGFyYWdyYXBoQWxpZ25tZW50AA8AAABtc29BbGlnbkNlbnRlcgACVGV4dFZlcnRpY2FsQWxpZ25tZW50ABAAAABtc29BbmNob3JNaWRkbGUAA0ZvbnRTdHlsZQBAAQAAEEZvbnRCYWNrZ3JvdW5kAAAAAAAIRm9udEJvbGQAAANGb250Q29sb3IAVQAAABBBAP8AAAAQUgD/AAAAEEcA/wAAABBCAP8AAAABU2NBAAAAAAAAAPA/AVNjUgAAAAAAAADwPwFTY0cAAAAAAAAA8D8BU2NCAAAAAAAAAPA/ABBGb250VGhlbWVDb2xvcgAAAAAAAUZvbnRUaW50QW5kU2hhZGUAAAAAAAAAAAAQRm9udFNjaGVtZUNvbG9yAAAAAAAIRm9udEl0YWxpYwAAAkZvbnROYW1lAAYAAABBcmlhbAABRm9udFNpemUAAAAAAAAAKEAIRm9udFN0cmlrZXRocm91Z2gAAAhGb250U3Vic2NyaXB0AAAIRm9udFN1cGVyc2NyaXB0AAAIRm9udFVuZGVybGluZQAAAAhTaXplVG9UZXh0V2lkdGgAAAhTaXplVG9UZXh0SGVpZ2h0AAADVGV4dE1hcmdpbgA/AAAAAUxlZnQAAAAAAAAAAAABVG9wAAAAAAAAAAAAAVJpZ2h0AAAAAAAAAAAAAUJvdHRvbQAAAAAAAAAAAAACRGlzcGxheVRleHQAAwAAADE3AAFIZWlnaHQAAAAAgAZoLkABV2lkdGgAAAAAANKrQUABVG9wAAAAAMD2hTNAAUxlZnQAAAAAQL+AY0AIRmxpcEhvcml6b250YWxseQAACEZsaXBIb3Jpem9udGFsbHlBcHBsaWVkAAAIRmxpcFZlcnRpY2FsbHkAAAhGbGlwVmVydGljYWxseUFwcGxpZWQAAAFSb3RhdGlvbgAAAAAAAAAAAAFaT3JkZXIAAAAAAAAAJkADQm9yZGVyQ29sb3IAVQAAABBBAP8AAAAQUgD/AAAAEEcA/wAAABBCAP8AAAABU2NBAAAAAAAAAPA/AVNjUgAAAAAAAADwPwFTY0cAAAAAAAAA8D8BU2NCAAAAAAAAAPA/ABBCb3JkZXJUaGVtZUNvbG9yAAAAAAABQm9yZGVyVGludEFuZFNoYWRlAAAAAAAAAAAAEEJvcmRlclNjaGVtZUNvbG9yAAAAAAABQm9yZGVyVGhpY2tuZXNzAAAAAAAAANA/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zIAnAYAAAVNYW5hZ2VkSWQAEAAAAATFbmE2/l1jRo2ZbTeER1uqCEhhc0NoYW5nZXMAAAhVc2VOYW1lSW5zdGVhZE9mVGFnQXNJZAAACFNoYXBlUHJldmlvdXNseUNyZWF0ZWQAAQNGaWxsQ29sb3IAVQAAABBBAP8AAAAQUgAzAAAAEEcApwAAABBCAOUAAAABU2NBAAAAAAAAAPA/AVNjUgAAAACgG/OgPwFTY0cAAAAAoEK72D8BU2NCAAAAAOC9Euk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BAkZpbGxQYXR0ZXJuABAAAABtc29QYXR0ZXJuTWl4ZWQAAlRleHQAAwAAADE4AAJUZXh0SG9yaXpvbnRhbEFsaWdubWVudAAOAAAAbXNvQW5jaG9yTm9uZQACUGFyYWdyYXBoQWxpZ25tZW50AA8AAABtc29BbGlnbkNlbnRlcgACVGV4dFZlcnRpY2FsQWxpZ25tZW50ABAAAABtc29BbmNob3JNaWRkbGUAA0ZvbnRTdHlsZQBAAQAAEEZvbnRCYWNrZ3JvdW5kAAAAAAAIRm9udEJvbGQAAANGb250Q29sb3IAVQAAABBBAP8AAAAQUgD/AAAAEEcA/wAAABBCAP8AAAABU2NBAAAAAAAAAPA/AVNjUgAAAAAAAADwPwFTY0cAAAAAAAAA8D8BU2NCAAAAAAAAAPA/ABBGb250VGhlbWVDb2xvcgAAAAAAAUZvbnRUaW50QW5kU2hhZGUAAAAAAAAAAAAQRm9udFNjaGVtZUNvbG9yAAAAAAAIRm9udEl0YWxpYwAAAkZvbnROYW1lAAYAAABBcmlhbAABRm9udFNpemUAAAAAAAAAKEAIRm9udFN0cmlrZXRocm91Z2gAAAhGb250U3Vic2NyaXB0AAAIRm9udFN1cGVyc2NyaXB0AAAIRm9udFVuZGVybGluZQAAAAhTaXplVG9UZXh0V2lkdGgAAAhTaXplVG9UZXh0SGVpZ2h0AAADVGV4dE1hcmdpbgA/AAAAAUxlZnQAAAAAAAAAAAABVG9wAAAAAAAAAAAAAVJpZ2h0AAAAAAAAAAAAAUJvdHRvbQAAAAAAAAAAAAACRGlzcGxheVRleHQAAwAAADE4AAFIZWlnaHQAAAAAgAZoLkABV2lkdGgAAAAAANKrQUABVG9wAAAAAMD2hTNAAUxlZnQAAAAAwLPrZ0AIRmxpcEhvcml6b250YWxseQAACEZsaXBIb3Jpem9udGFsbHlBcHBsaWVkAAAIRmxpcFZlcnRpY2FsbHkAAAhGbGlwVmVydGljYWxseUFwcGxpZWQAAAFSb3RhdGlvbgAAAAAAAAAAAAFaT3JkZXIAAAAAAAAAJkADQm9yZGVyQ29sb3IAVQAAABBBAP8AAAAQUgD/AAAAEEcA/wAAABBCAP8AAAABU2NBAAAAAAAAAPA/AVNjUgAAAAAAAADwPwFTY0cAAAAAAAAA8D8BU2NCAAAAAAAAAPA/ABBCb3JkZXJUaGVtZUNvbG9yAAAAAAABQm9yZGVyVGludEFuZFNoYWRlAAAAAAAAAAAAEEJvcmRlclNjaGVtZUNvbG9yAAAAAAABQm9yZGVyVGhpY2tuZXNzAAAAAAAAANA/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zMAnAYAAAVNYW5hZ2VkSWQAEAAAAASLwu4IOy4BQ6uv/WIBZ/JQCEhhc0NoYW5nZXMAAAhVc2VOYW1lSW5zdGVhZE9mVGFnQXNJZAAACFNoYXBlUHJldmlvdXNseUNyZWF0ZWQAAQNGaWxsQ29sb3IAVQAAABBBAP8AAAAQUgAzAAAAEEcApwAAABBCAOUAAAABU2NBAAAAAAAAAPA/AVNjUgAAAACgG/OgPwFTY0cAAAAAoEK72D8BU2NCAAAAAOC9Euk/ABBGaWxsVGhlbWVDb2xvcgAAAAAAAUZpbGxUaW50QW5kU2hhZGUAAAAAAAAAAAAQRmlsbFNjaGVtZUNvbG9yAAAAAAADUGF0dGVybkNvbG9yAFUAAAAQQQAAAAAAEFIAAAAAABBHAAAAAAAQQgAAAAAAAVNjQQAAAAAAAAAAAAFTDwAAAAUOAAAAEAAAAOcPAAAAAAAAAAAAAGNSAAAAAAAAAAAAAVNjRwAAAAAAAAAAAAFTY0IAAAAAAAAAAAAAEFBhdHRlcm5UaGVtZUNvbG9yAAAAAAABUGF0dGVyblRpbnRBbmRTaGFkZQAAAAAAAAAAAAhGaWxsVmlzaWJsZQABCFZpc2libGUAAQJGaWxsUGF0dGVybgAQAAAAbXNvUGF0dGVybk1peGVkAAJUZXh0AAMAAAAxOQACVGV4dEhvcml6b250YWxBbGlnbm1lbnQADgAAAG1zb0FuY2hvck5vbmUAAlBhcmFncmFwaEFsaWdubWVudAAPAAAAbXNvQWxpZ25DZW50ZXIAAlRleHRWZXJ0aWNhbEFsaWdubWVudAAQAAAAbXNvQW5jaG9yTWlkZGxlAANGb250U3R5bGUAQAEAABBGb250QmFja2dyb3VuZAAAAAAACEZvbnRCb2xkAAADRm9udENvbG9yAFUAAAAQQQD/AAAAEFIA/wAAABBHAP8AAAAQQgD/AAAAAVNjQQAAAAAAAADwPwFTY1IAAAAAAAAA8D8BU2NHAAAAAAAAAPA/AVNjQgAAAAAAAADwPwAQRm9udFRoZW1lQ29sb3IAAAAAAAFGb250VGludEFuZFNoYWRlAAAAAAAAAAAAEEZvbnRTY2hlbWVDb2xvcgAAAAAACEZvbnRJdGFsaWMAAAJGb250TmFtZQAGAAAAQXJpYWwAAUZvbnRTaXplAAAAAAAAAChACEZvbnRTdHJpa2V0aHJvdWdoAAAIRm9udFN1YnNjcmlwdAAACEZvbnRTdXBlcnNjcmlwdAAACEZvbnRVbmRlcmxpbmUAAAAIU2l6ZVRvVGV4dFdpZHRoAAAIU2l6ZVRvVGV4dEhlaWdodAAAA1RleHRNYXJnaW4APwAAAAFMZWZ0AAAAAAAAAAAAAVRvcAAAAAAAAAAAAAFSaWdodAAAAAAAAAAAAAFCb3R0b20AAAAAAAAAAAAAAkRpc3BsYXlUZXh0AAMAAAAxOQABSGVpZ2h0AAAAAIAGaC5AAVdpZHRoAAAAAADSq0FAAVRvcAAAAADA9oUzQAFMZWZ0AAAAAECoVmxACEZsaXBIb3Jpem9udGFsbHkAAAhGbGlwSG9yaXpvbnRhbGx5QXBwbGllZAAACEZsaXBWZXJ0aWNhbGx5AAAIRmxpcFZlcnRpY2FsbHlBcHBsaWVkAAABUm90YXRpb24AAAAAAAAAAAABWk9yZGVyAAAAAAAAACZAA0JvcmRlckNvbG9yAFUAAAAQQQD/AAAAEFIA/wAAABBHAP8AAAAQQgD/AAAAAVNjQQAAAAAAAADwPwFTY1IAAAAAAAAA8D8BU2NHAAAAAAAAAPA/AVNjQgAAAAAAAADwPwAQQm9yZGVyVGhlbWVDb2xvcgAAAAAAAUJvcmRlclRpbnRBbmRTaGFkZQAAAAAAAAAAABBCb3JkZXJTY2hlbWVDb2xvcgAAAAAAAUJvcmRlclRoaWNrbmVzcwAAAAAAAADQ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M0AJwGAAAFTWFuYWdlZElkABAAAAAEDG4uDn8qeE2PUfISsp+NAQhIYXNDaGFuZ2VzAAAIVXNlTmFtZUluc3RlYWRPZlRhZ0FzSWQAAAhTaGFwZVByZXZpb3VzbHlDcmVhdGVkAAEDRmlsbENvbG9yAFUAAAAQQQD/AAAAEFIAMwAAABBHAKcAAAAQQgDlAAAAAVNjQQAAAAAAAADwPwFTY1IAAAAAoBvzoD8BU2NHAAAAAKBCu9g/AVNjQgAAAADgvRLpP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QJGaWxsUGF0dGVybgAQAAAAbXNvUGF0dGVybk1peGVkAAJUZXh0AAMAAAAyMAACVGV4dEhvcml6b250YWxBbGlnbm1lbnQADgAAAG1zb0FuY2hvck5vbmUAAlBhcmFncmFwaEFsaWdubWVudAAPAAAAbXNvQWxpZ25DZW50ZXIAAlRleHRWZXJ0aWNhbEFsaWdubWVudAAQAAAAbXNvQW5jaG9yTWlkZGxlAANGb250U3R5bGUAQAEAABBGb250QmFja2dyb3VuZAAAAAAACEZvbnRCb2xkAAADRm9udENvbG9yAFUAAAAQQQD/AAAAEFIA/wAAABBHAP8AAAAQQgD/AAAAAVNjQQAAAAAAAADwPwFTY1IAAAAAAAAA8D8BU2NHAAAAAAAAAPA/AVNjQgAAAAAAAADwPwAQRm9udFRoZW1lQ29sb3IAAAAAAAFGb250VGludEFuZFNoYWRlAAAAAAAAAAAAEEZvbnRTY2hlbWVDb2xvcgAAAAAACEZvbnRJdGFsaWMAAAJGb250TmFtZQAGAAAAQXJpYWwAAUZvbnRTaXplAAAAAAAAAChACEZvbnRTdHJpa2V0aHJvdWdoAAAIRm9udFN1YnNjcmlwdAAACEZvbnRTdXBlcnNjcmlwdAAACEZvbnRVbmRlcmxpbmUAAAAIU2l6ZVRvVGV4dFdpZHRoAAAIU2l6ZVRvVGV4dEhlaWdodAAAA1RleHRNYXJnaW4APwAAAAFMZWZ0AAAAAAAAAAAAAVRvcAAAAAAAAAAAAAFSaWdodAAAAAAAAAAAAAFCb3R0b20AAAAAAAAAAAAAAkRpc3BsYXlUZXh0AAMAAAAyMAABSGVpZ2h0AAAAAIAGaC5AAVdpZHRoAAAAAADSq0FAAVRvcAAAAADA9oUzQAFMZWZ0AAAAAGDOYHBACEZsaXBIb3Jpem9udGFsbHkAAAhGbGlwSG9yaXpvbnRhbGx5QXBwbGllZAAACEZsaXBWZXJ0aWNhbGx5AAAIRmxpcFZlcnRpY2FsbHlBcHBsaWVkAAABUm90YXRpb24AAAAAAAAAAAABWk9yZGVyAAAAAAAAACZAA0JvcmRlckNvbG9yAFUAAAAQQQD/AAAAEFIA/wAAABBHAP8AAAAQQgD/AAAAAVNjQQAAAAAAAADwPwFTY1IAAAAAAAAA8D8BU2NHAAAAAAAAAPA/AVNjQgAAAAAAAADwPwAQQm9yZGVyVGhlbWVDb2xvcgAAAAAAAUJvcmRlclRpbnRBbmRTaGFkZQAAAAAAAAAAABBCb3JkZXJTY2hlbWVDb2xvcgAAAAAAAUJvcmRlclRoaWNrbmVzcwAAAAAAAADQ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M1AJwGAAAFTWFuYWdlZElkABAAAAAEpvQHanFc8kKCF7ZFjQo+rQhIYXNDaGFuZ2VzAAAIVXNlTmFtZUluc3RlYWRPZlRhZ0FzSWQAAAhTaGFwZVByZXZpb3VzbHlDcmVhdGVkAAEDRmlsbENvbG9yAFUAAAAQQQD/AAAAEFIAMwAAABBHAKcAAAAQQgDlAAAAAVNjQQAAAAAAAADwPwFTY1IAAAAAoBvzoD8BU2NHAAAAAKBCu9g/AVNjQgAAAADgvRLpP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QJGaWxsUGF0dGVybgAQAAAAbXNvUGF0dGVybk1peGVkAAJUZXh0AAMAAAAyMQACVGV4dEhvcml6b250YWxBbGlnbm1lbnQADgAAAG1zb0FuY2hvck5vbmUAAlBhcmFncmFwaEFsaWdubWVudAAPAAAAbXNvQWxpZ25DZW50ZXIAAlRleHRWZXJ0aWNhbEFsaWdubWVudAAQAAAAbXNvQW5jaG9yTWlkZGxlAANGb250U3R5bGUAQAEAABBGb250QmFja2dyb3VuZAAAAAAACEZvbnRCb2xkAAADRm9udENvbG9yAFUAAAAQQQD/AAAAEFIA/wAAABBHAP8AAAAQQgD/AAAAAVNjQQAAAAAAAADwPwFTY1IAAAAAAAAA8D8BU2NHAAAAAAAAAPA/AVNjQgAAAAAAAADwPwAQRm9udFRoZW1lQ29sb3IAAAAAAAFGb250VGludEFuZFNoYWRlAAAAAAAAAAAAEEZvbnRTY2hlbWVDb2xvcgAAAAAACEZvbnRJdGFsaWMAAAJGb250TmFtZQAGAAAAQXJpYWwAAUZvbnRTaXplAAAAAAAAAChACEZvbnRTdHJpa2V0aHJvdWdoAAAIRm9udFN1YnNjcmlwdAAACEZvbnRTdXBlcnNjcmlwdAAACEZvbnRVbmRlcmxpbmUAAAAIU2l6ZVRvVGV4dFdpZHRoAAAIU2l6ZVRvVGV4dEhlaWdodAAAA1RleHRNYXJnaW4APwAAAAFMZWZ0AAAAAAAAABAAAAAFDwAAABEAAADnDwAAAAAAAAAAAAAAAAFUb3AAAAAAAAAAAAABUmlnaHQAAAAAAAAAAAABQm90dG9tAAAAAAAAAAAAAAJEaXNwbGF5VGV4dAADAAAAMjEAAUhlaWdodAAAAACABmguQAFXaWR0aAAAAAAA0qtBQAFUb3AAAAAAwPaFM0ABTGVmdAAAAACgSJZyQAhGbGlwSG9yaXpvbnRhbGx5AAAIRmxpcEhvcml6b250YWxseUFwcGxpZWQAAAhGbGlwVmVydGljYWxseQAACEZsaXBWZXJ0aWNhbGx5QXBwbGllZAAAAVJvdGF0aW9uAAAAAAAAAAAAAVpPcmRlcgAAAAAAAAAmQANCb3JkZXJDb2xvcgBVAAAAEEEA/wAAABBSAP8AAAAQRwD/AAAAEEIA/wAAAAFTY0EAAAAAAAAA8D8BU2NSAAAAAAAAAPA/AVNjRwAAAAAAAADwPwFTY0IAAAAAAAAA8D8AEEJvcmRlclRoZW1lQ29sb3IAAAAAAAFCb3JkZXJUaW50QW5kU2hhZGUAAAAAAAAAAAAQQm9yZGVyU2NoZW1lQ29sb3IAAAAAAAFCb3JkZXJUaGlja25lc3MAAAAAAAAA0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NgCcBgAABU1hbmFnZWRJZAAQAAAABE9dTHFULl1PgHQzVs+Fi60ISGFzQ2hhbmdlcwAACFVzZU5hbWVJbnN0ZWFkT2ZUYWdBc0lkAAAIU2hhcGVQcmV2aW91c2x5Q3JlYXRlZAABA0ZpbGxDb2xvcgBVAAAAEEEA/wAAABBSADMAAAAQRwCnAAAAEEIA5QAAAAFTY0EAAAAAAAAA8D8BU2NSAAAAAKAb86A/AVNjRwAAAACgQrvYPwFTY0IAAAAA4L0S6T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ECRmlsbFBhdHRlcm4AEAAAAG1zb1BhdHRlcm5NaXhlZAACVGV4dAADAAAAMjIAAlRleHRIb3Jpem9udGFsQWxpZ25tZW50AA4AAABtc29BbmNob3JOb25lAAJQYXJhZ3JhcGhBbGlnbm1lbnQADwAAAG1zb0FsaWduQ2VudGVyAAJUZXh0VmVydGljYWxBbGlnbm1lbnQAEAAAAG1zb0FuY2hvck1pZGRsZQADRm9udFN0eWxlAEABAAAQRm9udEJhY2tncm91bmQAAAAAAAhGb250Qm9sZAAAA0ZvbnRDb2xvcgBVAAAAEEEA/wAAABBSAP8AAAAQRwD/AAAAEEIA/wAAAAFTY0EAAAAAAAAA8D8BU2NSAAAAAAAAAPA/AVNjRwAAAAAAAADwPwFTY0IAAAAAAAAA8D8AEEZvbnRUaGVtZUNvbG9yAAAAAAABRm9udFRpbnRBbmRTaGFkZQAAAAAAAAAAABBGb250U2NoZW1lQ29sb3IAAAAAAAhGb250SXRhbGljAAACRm9udE5hbWUABgAAAEFyaWFsAAFGb250U2l6ZQAAAAAAAAAoQAhGb250U3RyaWtldGhyb3VnaAAACEZvbnRTdWJzY3JpcHQAAAhGb250U3VwZXJzY3JpcHQAAAhGb250VW5kZXJsaW5lAAAACFNpemVUb1RleHRXaWR0aAAACFNpemVUb1RleHRIZWlnaHQAAANUZXh0TWFyZ2luAD8AAAABTGVmdAAAAAAAAAAAAAFUb3AAAAAAAAAAAAABUmlnaHQAAAAAAAAAAAABQm90dG9tAAAAAAAAAAAAAAJEaXNwbGF5VGV4dAADAAAAMjIAAUhlaWdodAAAAACABmguQAFXaWR0aAAAAAAA0qtBQAFUb3AAAAAAwPaFM0ABTGVmdAAAAADgwst0QAhGbGlwSG9yaXpvbnRhbGx5AAAIRmxpcEhvcml6b250YWxseUFwcGxpZWQAAAhGbGlwVmVydGljYWxseQAACEZsaXBWZXJ0aWNhbGx5QXBwbGllZAAAAVJvdGF0aW9uAAAAAAAAAAAAAVpPcmRlcgAAAAAAAAAmQANCb3JkZXJDb2xvcgBVAAAAEEEA/wAAABBSAP8AAAAQRwD/AAAAEEIA/wAAAAFTY0EAAAAAAAAA8D8BU2NSAAAAAAAAAPA/AVNjRwAAAAAAAADwPwFTY0IAAAAAAAAA8D8AEEJvcmRlclRoZW1lQ29sb3IAAAAAAAFCb3JkZXJUaW50QW5kU2hhZGUAAAAAAAAAAAAQQm9yZGVyU2NoZW1lQ29sb3IAAAAAAAFCb3JkZXJUaGlja25lc3MAAAAAAAAA0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NwCcBgAABU1hbmFnZWRJZAAQAAAABNh0grS4BEpCmbJ5vPR3030ISGFzQ2hhbmdlcwAACFVzZU5hbWVJbnN0ZWFkT2ZUYWdBc0lkAAAIU2hhcGVQcmV2aW91c2x5Q3JlYXRlZAABA0ZpbGxDb2xvcgBVAAAAEEEA/wAAABBSADMAAAAQRwCnAAAAEEIA5QAAAAFTY0EAAAAAAAAA8D8BU2NSAAAAAKAb86A/AVNjRwAAAACgQrvYPwFTY0IAAAAA4L0S6T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ECRmlsbFBhdHRlcm4AEAAAAG1zb1BhdHRlcm5NaXhlZAACVGV4dAADAAAAMjMAAlRleHRIb3Jpem9udGFsQWxpZ25tZW50AA4AAABtc29BbmNob3JOb25lAAJQYXJhZ3JhcGhBbGlnbm1lbnQADwAAAG1zb0FsaWduQ2VudGVyAAJUZXh0VmVydGljYWxBbGlnbm1lbnQAEAAAAG1zb0FuY2hvck1pZGRsZQADRm9udFN0eWxlAEABAAAQRm9udEJhY2tncm91bmQAAAAAAAhGb250Qm9sZAAAA0ZvbnRDb2xvcgBVAAAAEEEA/wAAABBSAP8AAAAQRwD/AAAAEEIA/wAAAAFTY0EAAAAAAAAA8D8BU2NSAAAAAAAAAPA/AVNjRwAAAAAAAADwPwFTY0IAAAAAAAAA8D8AEEZvbnRUaGVtZUNvbG9yAAAAAAABRm9udFRpbnRBbmRTaGFkZQAAAAAAAAAAABBGb250U2NoZW1lQ29sb3IAAAAAAAhGb250SXRhbGljAAACRm9udE5hbWUABgAAAEFyaWFsAAFGb250U2l6ZQAAAAAAAAAoQAhGb250U3RyaWtldGhyb3VnaAAACEZvbnRTdWJzY3JpcHQAAAhGb250U3VwZXJzY3JpcHQAAAhGb250VW5kZXJsaW5lAAAACFNpemVUb1RleHRXaWR0aAAACFNpemVUb1RleHRIZWlnaHQAAANUZXh0TWFyZ2luAD8AAAABTGVmdAAAAAAAAAAAAAFUb3AAAAAAAAAAAAABUmlnaHQAAAAAAAAAAAABQm90dG9tAAAAAAAAAAAAAAJEaXNwbGF5VGV4dAADAAAAMjMAAUhlaWdodAAAAACABmguQAFXaWR0aAAAAAAA0qtBQAFUb3AAAAAAwPaFM0ABTGVmdAAAAAAgPQF3QAhGbGlwSG9yaXpvbnRhbGx5AAAIRmxpcEhvcml6b250YWxseUFwcGxpZWQAAAhGbGlwVmVydGljYWxseQAACEZsaXBWZXJ0aWNhbGx5QXBwbGllZAAAAVJvdGF0aW9uAAAAAAAAAAAAAVpPcmRlcgAAAAAAAAAmQANCb3JkZXJDb2xvcgBVAAAAEEEA/wAAABBSAP8AAAAQRwD/AAAAEEIA/wAAAAFTY0EAAAAAAAAA8D8BU2NSAAAAAAAAAPA/AVNjRwAAAAAAAADwPwFTY0IAAAAAAAAA8D8AEEJvcmRlclRoZW1lQ29sb3IAAAAAAAFCb3JkZXJUaW50QW5kU2hhZGUAAAAAAAAAAAAQQm9yZGVyU2NoZW1lQ29sb3IAAAAAAAFCb3JkZXJUaGlja25lc3MAAAAAAAAA0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RAAAABRAAAAASAAAA5w8AAAAAAAAAAAAAAAAAAAAAAzgAnAYAAAVNYW5hZ2VkSWQAEAAAAAScmDY050tNSZLCOYxys471CEhhc0NoYW5nZXMAAAhVc2VOYW1lSW5zdGVhZE9mVGFnQXNJZAAACFNoYXBlUHJldmlvdXNseUNyZWF0ZWQAAQNGaWxsQ29sb3IAVQAAABBBAP8AAAAQUgAzAAAAEEcApwAAABBCAOUAAAABU2NBAAAAAAAAAPA/AVNjUgAAAACgG/OgPwFTY0cAAAAAoEK72D8BU2NCAAAAAOC9Euk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BAkZpbGxQYXR0ZXJuABAAAABtc29QYXR0ZXJuTWl4ZWQAAlRleHQAAwAAADI0AAJUZXh0SG9yaXpvbnRhbEFsaWdubWVudAAOAAAAbXNvQW5jaG9yTm9uZQACUGFyYWdyYXBoQWxpZ25tZW50AA8AAABtc29BbGlnbkNlbnRlcgACVGV4dFZlcnRpY2FsQWxpZ25tZW50ABAAAABtc29BbmNob3JNaWRkbGUAA0ZvbnRTdHlsZQBAAQAAEEZvbnRCYWNrZ3JvdW5kAAAAAAAIRm9udEJvbGQAAANGb250Q29sb3IAVQAAABBBAP8AAAAQUgD/AAAAEEcA/wAAABBCAP8AAAABU2NBAAAAAAAAAPA/AVNjUgAAAAAAAADwPwFTY0cAAAAAAAAA8D8BU2NCAAAAAAAAAPA/ABBGb250VGhlbWVDb2xvcgAAAAAAAUZvbnRUaW50QW5kU2hhZGUAAAAAAAAAAAAQRm9udFNjaGVtZUNvbG9yAAAAAAAIRm9udEl0YWxpYwAAAkZvbnROYW1lAAYAAABBcmlhbAABRm9udFNpemUAAAAAAAAAKEAIRm9udFN0cmlrZXRocm91Z2gAAAhGb250U3Vic2NyaXB0AAAIRm9udFN1cGVyc2NyaXB0AAAIRm9udFVuZGVybGluZQAAAAhTaXplVG9UZXh0V2lkdGgAAAhTaXplVG9UZXh0SGVpZ2h0AAADVGV4dE1hcmdpbgA/AAAAAUxlZnQAAAAAAAAAAAABVG9wAAAAAAAAAAAAAVJpZ2h0AAAAAAAAAAAAAUJvdHRvbQAAAAAAAAAAAAACRGlzcGxheVRleHQAAwAAADI0AAFIZWlnaHQAAAAAgAZoLkABV2lkdGgAAAAAANKrQUABVG9wAAAAAMD2hTNAAUxlZnQAAAAAYLc2eUAIRmxpcEhvcml6b250YWxseQAACEZsaXBIb3Jpem9udGFsbHlBcHBsaWVkAAAIRmxpcFZlcnRpY2FsbHkAAAhGbGlwVmVydGljYWxseUFwcGxpZWQAAAFSb3RhdGlvbgAAAAAAAAAAAAFaT3JkZXIAAAAAAAAAJkADQm9yZGVyQ29sb3IAVQAAABBBAP8AAAAQUgD/AAAAEEcA/wAAABBCAP8AAAABU2NBAAAAAAAAAPA/AVNjUgAAAAAAAADwPwFTY0cAAAAAAAAA8D8BU2NCAAAAAAAAAPA/ABBCb3JkZXJUaGVtZUNvbG9yAAAAAAABQm9yZGVyVGludEFuZFNoYWRlAAAAAAAAAAAAEEJvcmRlclNjaGVtZUNvbG9yAAAAAAABQm9yZGVyVGhpY2tuZXNzAAAAAAAAANA/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zkAnAYAAAVNYW5hZ2VkSWQAEAAAAARmhcFWej3eRbGwhuZj1saXCEhhc0NoYW5nZXMAAAhVc2VOYW1lSW5zdGVhZE9mVGFnQXNJZAAACFNoYXBlUHJldmlvdXNseUNyZWF0ZWQAAQNGaWxsQ29sb3IAVQAAABBBAP8AAAAQUgAzAAAAEEcApwAAABBCAOUAAAABU2NBAAAAAAAAAPA/AVNjUgAAAACgG/OgPwFTY0cAAAAAoEK72D8BU2NCAAAAAOC9Euk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BAkZpbGxQYXR0ZXJuABAAAABtc29QYXR0ZXJuTWl4ZWQAAlRleHQAAwAAADI1AAJUZXh0SG9yaXpvbnRhbEFsaWdubWVudAAOAAAAbXNvQW5jaG9yTm9uZQACUGFyYWdyYXBoQWxpZ25tZW50AA8AAABtc29BbGlnbkNlbnRlcgACVGV4dFZlcnRpY2FsQWxpZ25tZW50ABAAAABtc29BbmNob3JNaWRkbGUAA0ZvbnRTdHlsZQBAAQAAEEZvbnRCYWNrZ3JvdW5kAAAAAAAIRm9udEJvbGQAAANGb250Q29sb3IAVQAAABBBAP8AAAAQUgD/AAAAEEcA/wAAABBCAP8AAAABU2NBAAAAAAAAAPA/AVNjUgAAAAAAAADwPwFTY0cAAAAAAAAA8D8BU2NCAAAAAAAAAPA/ABBGb250VGhlbWVDb2xvcgAAAAAAAUZvbnRUaW50QW5kU2hhZGUAAAAAAAAAAAAQRm9udFNjaGVtZUNvbG9yAAAAAAAIRm9udEl0YWxpYwAAAkZvbnROYW1lAAYAAABBcmlhbAABRm9udFNpemUAAAAAAAAAKEAIRm9udFN0cmlrZXRocm91Z2gAAAhGb250U3Vic2NyaXB0AAAIRm9udFN1cGVyc2NyaXB0AAAIRm9udFVuZGVybGluZQAAAAhTaXplVG9UZXh0V2lkdGgAAAhTaXplVG9UZXh0SGVpZ2h0AAADVGV4dE1hcmdpbgA/AAAAAUxlZnQAAAAAAAAAAAABVG9wAAAAAAAAAAAAAVJpZ2h0AAAAAAAAAAAAAUJvdHRvbQAAAAAAAAAAAAACRGlzcGxheVRleHQAAwAAADI1AAFIZWlnaHQAAAAAgAZoLkABV2lkdGgAAAAAANKrQUABVG9wAAAAAMD2hTNAAUxlZnQAAAAAoDFse0AIRmxpcEhvcml6b250YWxseQAACEZsaXBIb3Jpem9udGFsbHlBcHBsaWVkAAAIRmxpcFZlcnRpY2FsbHkAAAhGbGlwVmVydGljYWxseUFwcGxpZWQAAAFSb3RhdGlvbgAAAAAAAAAAAAFaT3JkZXIAAAAAAAAAJkADQm9yZGVyQ29sb3IAVQAAABBBAP8AAAAQUgD/AAAAEEcA/wAAABBCAP8AAAABU2NBAAAAAAAAAPA/AVNjUgAAAAAAAADwPwFTY0cAAAAAAAAA8D8BU2NCAAAAAAAAAPA/ABBCb3JkZXJUaGVtZUNvbG9yAAAAAAABQm9yZGVyVGludEFuZFNoYWRlAAAAAAAAAAAAEEJvcmRlclNjaGVtZUNvbG9yAAAAAAABQm9yZGVyVGhpY2tuZXNzAAAAAAAAANA/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zEwAJwGAAAFTWFuYWdlZElkABAAAAAE1T4CuMy5cEqmzhWbqxCW8AhIYXNDaGFuZ2VzAAAIVXNlTmFtZUluc3RlYWRPZlRhZ0FzSWQAAAhTaGFwZVByZXZpb3VzbHlDcmVhdGVkAAEDRmlsbENvbG9yAFUAAAAQQQD/AAAAEFIAMwAAABBHAKcAAAAQQgDlAAAAAVNjQQAAAAAAAADwPwFTY1IAAAAAoBvzoD8BU2NHAAAAAKBCu9g/AVNjQgAAAADgvRLpP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QJGaWxsUGF0dGVybgAQAAAAbXNvUGF0dGVybk1peGVkAAJUZXh0AAMAAAAyNgACVGV4dEhvcml6b250YWxBbGlnbm1lbnQADgAAAG1zb0FuY2hvck5vbmUAAlBhcmFncmFwaEFsaWdubWVudAAPAAAAbXNvQWxpZ25DZW50ZXIAAlRleHRWZXJ0aWNhbEFsaWdubWVudAAQAAAAbXNvQW5jaG9yTWlkZGxlAANGb250U3R5bGUAQAEAABBGb250QmFja2dyb3VuZAAAAAAACEZvbnRCb2xkAAADRm9udENvbG9yAFUAAAAQEgAAAAURAAAAEwAAAOcPAAAAAAAAAAAAAEEA/wAAABBSAP8AAAAQRwD/AAAAEEIA/wAAAAFTY0EAAAAAAAAA8D8BU2NSAAAAAAAAAPA/AVNjRwAAAAAAAADwPwFTY0IAAAAAAAAA8D8AEEZvbnRUaGVtZUNvbG9yAAAAAAABRm9udFRpbnRBbmRTaGFkZQAAAAAAAAAAABBGb250U2NoZW1lQ29sb3IAAAAAAAhGb250SXRhbGljAAACRm9udE5hbWUABgAAAEFyaWFsAAFGb250U2l6ZQAAAAAAAAAoQAhGb250U3RyaWtldGhyb3VnaAAACEZvbnRTdWJzY3JpcHQAAAhGb250U3VwZXJzY3JpcHQAAAhGb250VW5kZXJsaW5lAAAACFNpemVUb1RleHRXaWR0aAAACFNpemVUb1RleHRIZWlnaHQAAANUZXh0TWFyZ2luAD8AAAABTGVmdAAAAAAAAAAAAAFUb3AAAAAAAAAAAAABUmlnaHQAAAAAAAAAAAABQm90dG9tAAAAAAAAAAAAAAJEaXNwbGF5VGV4dAADAAAAMjYAAUhlaWdodAAAAACABmguQAFXaWR0aAAAAAAA0qtBQAFUb3AAAAAAwPaFM0ABTGVmdAAAAADgq6F9QAhGbGlwSG9yaXpvbnRhbGx5AAAIRmxpcEhvcml6b250YWxseUFwcGxpZWQAAAhGbGlwVmVydGljYWxseQAACEZsaXBWZXJ0aWNhbGx5QXBwbGllZAAAAVJvdGF0aW9uAAAAAAAAAAAAAVpPcmRlcgAAAAAAAAAmQANCb3JkZXJDb2xvcgBVAAAAEEEA/wAAABBSAP8AAAAQRwD/AAAAEEIA/wAAAAFTY0EAAAAAAAAA8D8BU2NSAAAAAAAAAPA/AVNjRwAAAAAAAADwPwFTY0IAAAAAAAAA8D8AEEJvcmRlclRoZW1lQ29sb3IAAAAAAAFCb3JkZXJUaW50QW5kU2hhZGUAAAAAAAAAAAAQQm9yZGVyU2NoZW1lQ29sb3IAAAAAAAFCb3JkZXJUaGlja25lc3MAAAAAAAAA0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MTEAnAYAAAVNYW5hZ2VkSWQAEAAAAAQe01FPYplkSZW+l33iKS6kCEhhc0NoYW5nZXMAAAhVc2VOYW1lSW5zdGVhZE9mVGFnQXNJZAAACFNoYXBlUHJldmlvdXNseUNyZWF0ZWQAAQNGaWxsQ29sb3IAVQAAABBBAP8AAAAQUgAzAAAAEEcApwAAABBCAOUAAAABU2NBAAAAAAAAAPA/AVNjUgAAAACgG/OgPwFTY0cAAAAAoEK72D8BU2NCAAAAAOC9Euk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BAkZpbGxQYXR0ZXJuABAAAABtc29QYXR0ZXJuTWl4ZWQAAlRleHQAAwAAADI3AAJUZXh0SG9yaXpvbnRhbEFsaWdubWVudAAOAAAAbXNvQW5jaG9yTm9uZQACUGFyYWdyYXBoQWxpZ25tZW50AA8AAABtc29BbGlnbkNlbnRlcgACVGV4dFZlcnRpY2FsQWxpZ25tZW50ABAAAABtc29BbmNob3JNaWRkbGUAA0ZvbnRTdHlsZQBAAQAAEEZvbnRCYWNrZ3JvdW5kAAAAAAAIRm9udEJvbGQAAANGb250Q29sb3IAVQAAABBBAP8AAAAQUgD/AAAAEEcA/wAAABBCAP8AAAABU2NBAAAAAAAAAPA/AVNjUgAAAAAAAADwPwFTY0cAAAAAAAAA8D8BU2NCAAAAAAAAAPA/ABBGb250VGhlbWVDb2xvcgAAAAAAAUZvbnRUaW50QW5kU2hhZGUAAAAAAAAAAAAQRm9udFNjaGVtZUNvbG9yAAAAAAAIRm9udEl0YWxpYwAAAkZvbnROYW1lAAYAAABBcmlhbAABRm9udFNpemUAAAAAAAAAKEAIRm9udFN0cmlrZXRocm91Z2gAAAhGb250U3Vic2NyaXB0AAAIRm9udFN1cGVyc2NyaXB0AAAIRm9udFVuZGVybGluZQAAAAhTaXplVG9UZXh0V2lkdGgAAAhTaXplVG9UZXh0SGVpZ2h0AAADVGV4dE1hcmdpbgA/AAAAAUxlZnQAAAAAAAAAAAABVG9wAAAAAAAAAAAAAVJpZ2h0AAAAAAAAAAAAAUJvdHRvbQAAAAAAAAAAAAACRGlzcGxheVRleHQAAwAAADI3AAFIZWlnaHQAAAAAgAZoLkABV2lkdGgAAAAAANKrQUABVG9wAAAAAMD2hTNAAUxlZnQAAAAAICbXf0AIRmxpcEhvcml6b250YWxseQAACEZsaXBIb3Jpem9udGFsbHlBcHBsaWVkAAAIRmxpcFZlcnRpY2FsbHkAAAhGbGlwVmVydGljYWxseUFwcGxpZWQAAAFSb3RhdGlvbgAAAAAAAAAAAAFaT3JkZXIAAAAAAAAAJkADQm9yZGVyQ29sb3IAVQAAABBBAP8AAAAQUgD/AAAAEEcA/wAAABBCAP8AAAABU2NBAAAAAAAAAPA/AVNjUgAAAAAAAADwPwFTY0cAAAAAAAAA8D8BU2NCAAAAAAAAAPA/ABBCb3JkZXJUaGVtZUNvbG9yAAAAAAABQm9yZGVyVGludEFuZFNoYWRlAAAAAAAAAAAAEEJvcmRlclNjaGVtZUNvbG9yAAAAAAABQm9yZGVyVGhpY2tuZXNzAAAAAAAAANA/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zEyAJwGAAAFTWFuYWdlZElkABAAAAAEvKOb64PtT0G3WHgMewmkawhIYXNDaGFuZ2VzAAAIVXNlTmFtZUluc3RlYWRPZlRhZ0FzSWQAAAhTaGFwZVByZXZpb3VzbHlDcmVhdGVkAAEDRmlsbENvbG9yAFUAAAAQQQD/AAAAEFIAMwAAABBHAKcAAAAQQgDlAAAAAVNjQQAAAAAAAADwPwFTY1IAAAAAoBvzoD8BU2NHAAAAAKBCu9g/AVNjQgAAAADgvRLpP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QJGaWxsUGF0dGVybgAQAAAAbXNvUGF0dGVybk1peGVkAAJUZXh0AAMAAAAyOAACVGV4dEhvcml6b250YWxBbGlnbm1lbnQADgAAAG1zb0FuY2hvck5vbmUAAlBhcmFncmFwaEFsaWdubWVudAAPAAAAbXNvQWxpZ25DZW50ZXIAAlRleHRWZXJ0aWNhbEFsaWdubWVudAAQAAAAbXNvQW5jaG9yTWlkZGxlAANGb250U3R5bGUAQAEAABBGb250QmFja2dyb3VuZAAAAAAACEZvbnRCb2xkAAADRm9udENvbG9yAFUAAAAQQQD/AAAAEFIA/wAAABBHAP8AAAAQQgD/AAAAAVNjQQAAAAAAAADwPwFTY1IAAAAAAAAA8D8BU2NHAAAAAAAAAPA/AVNjQgAAAAAAAADwPwAQRm9udFRoZW1lQ29sb3IAAAAAAAFGb250VGludEFuZFNoYWRlAAAAAAAAAAAAEEZvbnRTY2hlbWVDb2xvcgAAAAAACEZvbnRJdGFsaWMAAAJGb250TmFtZQAGAAAAQXJpYWwAAUZvbnRTaXplAAAAAAAAAChACEZvbnRTdHJpa2V0aHJvdWdoAAAIRm9udFN1YnNjcmlwdAAACEZvbnRTdXBlcnNjcmlwdAAACEZvbnRVbmRlcmxpbmUAAAAIU2l6ZVRvVGV4dFdpZHRoAAAIU2l6ZVRvVGV4dEhlaWdodAAAA1RleHRNYXJnaW4APwAAAAFMZWZ0AAAAAAAAAAAAAVRvcAAAAAAAAAAAAAFSaWdodAAAAAAAAAAAAAFCb3R0b20AAAAAAAAAAAAAAkRpc3BsYXlUZXh0AAMAAAAyOAABSGVpZ2h0AAAAAIAGaC5AAVdpZHRoAAAAAADSq0FAAVRvcAAAAADA9oUzQAFMZWZ0AAAAACBQBoFACEZsaXBIb3Jpem9udGFsbHkAAAhGbGlwSG9yaXpvbnRhbGx5QXBwbGllZAAACEZsaXBWZXJ0aWNhbGx5AAAIRmxpcFZlcnRpY2FsbHlBcHBsaWVkAAABUm90YXRpb24AAAAAAAAAAAABWk9yZGVyAAAAAAAAACZAA0JvcmRlckNvbG9yAFUAAAAQQQD/AAAAEFIA/wAAABBHAP8AAAAQQgD/AAAAAVNjQQAAAAAAAADwPwFTY1IAAAAAAAAA8D8BU2NHAAAAAAAAAPA/AVNjQgAAAAAAAADwPwAQQhMAAAAFEgAAABQAAADnDwAAAAAAAAAAAABvcmRlclRoZW1lQ29sb3IAAAAAAAFCb3JkZXJUaW50QW5kU2hhZGUAAAAAAAAAAAAQQm9yZGVyU2NoZW1lQ29sb3IAAAAAAAFCb3JkZXJUaGlja25lc3MAAAAAAAAA0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MTMAnAYAAAVNYW5hZ2VkSWQAEAAAAARYGnvsop44Sbmuqzc5DtCLCEhhc0NoYW5nZXMAAAhVc2VOYW1lSW5zdGVhZE9mVGFnQXNJZAAACFNoYXBlUHJldmlvdXNseUNyZWF0ZWQAAQNGaWxsQ29sb3IAVQAAABBBAP8AAAAQUgAzAAAAEEcApwAAABBCAOUAAAABU2NBAAAAAAAAAPA/AVNjUgAAAACgG/OgPwFTY0cAAAAAoEK72D8BU2NCAAAAAOC9Euk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BAkZpbGxQYXR0ZXJuABAAAABtc29QYXR0ZXJuTWl4ZWQAAlRleHQAAwAAADI5AAJUZXh0SG9yaXpvbnRhbEFsaWdubWVudAAOAAAAbXNvQW5jaG9yTm9uZQACUGFyYWdyYXBoQWxpZ25tZW50AA8AAABtc29BbGlnbkNlbnRlcgACVGV4dFZlcnRpY2FsQWxpZ25tZW50ABAAAABtc29BbmNob3JNaWRkbGUAA0ZvbnRTdHlsZQBAAQAAEEZvbnRCYWNrZ3JvdW5kAAAAAAAIRm9udEJvbGQAAANGb250Q29sb3IAVQAAABBBAP8AAAAQUgD/AAAAEEcA/wAAABBCAP8AAAABU2NBAAAAAAAAAPA/AVNjUgAAAAAAAADwPwFTY0cAAAAAAAAA8D8BU2NCAAAAAAAAAPA/ABBGb250VGhlbWVDb2xvcgAAAAAAAUZvbnRUaW50QW5kU2hhZGUAAAAAAAAAAAAQRm9udFNjaGVtZUNvbG9yAAAAAAAIRm9udEl0YWxpYwAAAkZvbnROYW1lAAYAAABBcmlhbAABRm9udFNpemUAAAAAAAAAKEAIRm9udFN0cmlrZXRocm91Z2gAAAhGb250U3Vic2NyaXB0AAAIRm9udFN1cGVyc2NyaXB0AAAIRm9udFVuZGVybGluZQAAAAhTaXplVG9UZXh0V2lkdGgAAAhTaXplVG9UZXh0SGVpZ2h0AAADVGV4dE1hcmdpbgA/AAAAAUxlZnQAAAAAAAAAAAABVG9wAAAAAAAAAAAAAVJpZ2h0AAAAAAAAAAAAAUJvdHRvbQAAAAAAAAAAAAACRGlzcGxheVRleHQAAwAAADI5AAFIZWlnaHQAAAAAgAZoLkABV2lkdGgAAAAAANKrQUABVG9wAAAAAMD2hTNAAUxlZnQAAAAAQA0hgkAIRmxpcEhvcml6b250YWxseQAACEZsaXBIb3Jpem9udGFsbHlBcHBsaWVkAAAIRmxpcFZlcnRpY2FsbHkAAAhGbGlwVmVydGljYWxseUFwcGxpZWQAAAFSb3RhdGlvbgAAAAAAAAAAAAFaT3JkZXIAAAAAAAAAJkADQm9yZGVyQ29sb3IAVQAAABBBAP8AAAAQUgD/AAAAEEcA/wAAABBCAP8AAAABU2NBAAAAAAAAAPA/AVNjUgAAAAAAAADwPwFTY0cAAAAAAAAA8D8BU2NCAAAAAAAAAPA/ABBCb3JkZXJUaGVtZUNvbG9yAAAAAAABQm9yZGVyVGludEFuZFNoYWRlAAAAAAAAAAAAEEJvcmRlclNjaGVtZUNvbG9yAAAAAAABQm9yZGVyVGhpY2tuZXNzAAAAAAAAANA/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zE0AJwGAAAFTWFuYWdlZElkABAAAAAEUW5GT4RAjUiPwPVKF3Rc2whIYXNDaGFuZ2VzAAAIVXNlTmFtZUluc3RlYWRPZlRhZ0FzSWQAAAhTaGFwZVByZXZpb3VzbHlDcmVhdGVkAAEDRmlsbENvbG9yAFUAAAAQQQD/AAAAEFIAMwAAABBHAKcAAAAQQgDlAAAAAVNjQQAAAAAAAADwPwFTY1IAAAAAoBvzoD8BU2NHAAAAAKBCu9g/AVNjQgAAAADgvRLpP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QJGaWxsUGF0dGVybgAQAAAAbXNvUGF0dGVybk1peGVkAAJUZXh0AAMAAAAzMAACVGV4dEhvcml6b250YWxBbGlnbm1lbnQADgAAAG1zb0FuY2hvck5vbmUAAlBhcmFncmFwaEFsaWdubWVudAAPAAAAbXNvQWxpZ25DZW50ZXIAAlRleHRWZXJ0aWNhbEFsaWdubWVudAAQAAAAbXNvQW5jaG9yTWlkZGxlAANGb250U3R5bGUAQAEAABBGb250QmFja2dyb3VuZAAAAAAACEZvbnRCb2xkAAADRm9udENvbG9yAFUAAAAQQQD/AAAAEFIA/wAAABBHAP8AAAAQQgD/AAAAAVNjQQAAAAAAAADwPwFTY1IAAAAAAAAA8D8BU2NHAAAAAAAAAPA/AVNjQgAAAAAAAADwPwAQRm9udFRoZW1lQ29sb3IAAAAAAAFGb250VGludEFuZFNoYWRlAAAAAAAAAAAAEEZvbnRTY2hlbWVDb2xvcgAAAAAACEZvbnRJdGFsaWMAAAJGb250TmFtZQAGAAAAQXJpYWwAAUZvbnRTaXplAAAAAAAAAChACEZvbnRTdHJpa2V0aHJvdWdoAAAIRm9udFN1YnNjcmlwdAAACEZvbnRTdXBlcnNjcmlwdAAACEZvbnRVbmRlcmxpbmUAAAAIU2l6ZVRvVGV4dFdpZHRoAAAIU2l6ZVRvVGV4dEhlaWdodAAAA1RleHRNYXJnaW4APwAAAAFMZWZ0AAAAAAAAAAAAAVRvcAAAAAAAAAAAAAFSaWdodAAAAAAAAAAAAAFCb3R0b20AAAAAAAAAAAAAAkRpc3BsYXlUZXh0AAMAAAAzMAABSGVpZ2h0AAAAAIAGaC5AAVdpZHRoAAAAAADSq0FAAVRvcAAAAADA9oUzQAFMZWZ0AAAAAGDKO4NACEZsaXBIb3Jpem9udGFsbHkAAAhGbGlwSG9yaXpvbnRhbGx5QXBwbGllZAAACEZsaXBWZXJ0aWNhbGx5AAAIRmxpcFZlcnRpY2FsbHlBcHBsaWVkAAABUm90YXRpb24AAAAAAAAAAAABWk9yZGVyAAAAAAAAACZAA0JvcmRlckNvbG9yAFUAAAAQQQD/AAAAEFIA/wAAABBHAP8AAAAQQgD/AAAAAVNjQQAAAAAAAADwPwFTY1IAAAAAAAAA8D8BU2NHAAAAAAAAAPA/AVNjQgAAAAAAAADwPwAQQm9yZGVyVGhlbWVDb2xvcgAAAAAAAUJvcmRlclRpbnRBbmRTaGFkZQAAAAAAAAAAABBCb3JkZXJTY2hlbWVDb2xvcgAAAAAAAUJvcmRlclRoaWNrbmVzcwAAAAAAAADQ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MxNQCcBgAABU1hbmFnZWRJZAAQAAAABLYi8TNAYnxBvWeJqoRQCFYISGFzQ2hhbmdlcwAACFVzZU5hbWVJbnN0ZWFkT2ZUYWdBc0lkAAAIU2hhcGVQcmV2aW91c2x5Q3JlYXRlZAABA0ZpbGxDb2xvcgBVAAAAEEEA/wAAABBSADMAAAAQRwCnAAAAEEIA5QAAAAFTY0EAAAAAAAAA8D8BU2NSAAAAAKAb86A/AVNjRwAAAACgQrvYPwFTY0IAAAAA4L0S6T8AEEZpbGxUaGVtZUNvbG9yAAAAAAABRmlsbFRpbnRBbmRTaGFkZQAAAAAAAAAAABBGaWxsU2NoZW1lQ29sb3IAAAAAAANQYXR0ZXJuQ29sb3IAVQAAABBBAAAAAAAQUgAAAAAAEEcAAAAAABBCAAAAAAABU2NBAAAAAAAAAAAAAVNjUgAAAAAAAAAUAAAABRMAAACtAAAA5w8AAAAAAAAAAAAAAAABU2NHAAAAAAAAAAAAAVNjQgAAAAAAAAAAAAAQUGF0dGVyblRoZW1lQ29sb3IAAAAAAAFQYXR0ZXJuVGludEFuZFNoYWRlAAAAAAAAAAAACEZpbGxWaXNpYmxlAAEIVmlzaWJsZQABAkZpbGxQYXR0ZXJuABAAAABtc29QYXR0ZXJuTWl4ZWQAAlRleHQAAwAAADMxAAJUZXh0SG9yaXpvbnRhbEFsaWdubWVudAAOAAAAbXNvQW5jaG9yTm9uZQACUGFyYWdyYXBoQWxpZ25tZW50AA8AAABtc29BbGlnbkNlbnRlcgACVGV4dFZlcnRpY2FsQWxpZ25tZW50ABAAAABtc29BbmNob3JNaWRkbGUAA0ZvbnRTdHlsZQBAAQAAEEZvbnRCYWNrZ3JvdW5kAAAAAAAIRm9udEJvbGQAAANGb250Q29sb3IAVQAAABBBAP8AAAAQUgD/AAAAEEcA/wAAABBCAP8AAAABU2NBAAAAAAAAAPA/AVNjUgAAAAAAAADwPwFTY0cAAAAAAAAA8D8BU2NCAAAAAAAAAPA/ABBGb250VGhlbWVDb2xvcgAAAAAAAUZvbnRUaW50QW5kU2hhZGUAAAAAAAAAAAAQRm9udFNjaGVtZUNvbG9yAAAAAAAIRm9udEl0YWxpYwAAAkZvbnROYW1lAAYAAABBcmlhbAABRm9udFNpemUAAAAAAAAAKEAIRm9udFN0cmlrZXRocm91Z2gAAAhGb250U3Vic2NyaXB0AAAIRm9udFN1cGVyc2NyaXB0AAAIRm9udFVuZGVybGluZQAAAAhTaXplVG9UZXh0V2lkdGgAAAhTaXplVG9UZXh0SGVpZ2h0AAADVGV4dE1hcmdpbgA/AAAAAUxlZnQAAAAAAAAAAAABVG9wAAAAAAAAAAAAAVJpZ2h0AAAAAAAAAAAAAUJvdHRvbQAAAAAAAAAAAAACRGlzcGxheVRleHQAAwAAADMxAAFIZWlnaHQAAAAAgAZoLkABV2lkdGgAAAAAANKrQUABVG9wAAAAAMD2hTNAAUxlZnQAAAAAgIdWhEAIRmxpcEhvcml6b250YWxseQAACEZsaXBIb3Jpem9udGFsbHlBcHBsaWVkAAAIRmxpcFZlcnRpY2FsbHkAAAhGbGlwVmVydGljYWxseUFwcGxpZWQAAAFSb3RhdGlvbgAAAAAAAAAAAAFaT3JkZXIAAAAAAAAAJkADQm9yZGVyQ29sb3IAVQAAABBBAP8AAAAQUgD/AAAAEEcA/wAAABBCAP8AAAABU2NBAAAAAAAAAPA/AVNjUgAAAAAAAADwPwFTY0cAAAAAAAAA8D8BU2NCAAAAAAAAAPA/ABBCb3JkZXJUaGVtZUNvbG9yAAAAAAABQm9yZGVyVGludEFuZFNoYWRlAAAAAAAAAAAAEEJvcmRlclNjaGVtZUNvbG9yAAAAAAABQm9yZGVyVGhpY2tuZXNzAAAAAAAAANA/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zE2AJwGAAAFTWFuYWdlZElkABAAAAAEqI/beN+ZcESgbyjEltYmFQhIYXNDaGFuZ2VzAAAIVXNlTmFtZUluc3RlYWRPZlRhZ0FzSWQAAAhTaGFwZVByZXZpb3VzbHlDcmVhdGVkAAEDRmlsbENvbG9yAFUAAAAQQQD/AAAAEFIAMwAAABBHAKcAAAAQQgDlAAAAAVNjQQAAAAAAAADwPwFTY1IAAAAAoBvzoD8BU2NHAAAAAKBCu9g/AVNjQgAAAADgvRLpP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QJGaWxsUGF0dGVybgAQAAAAbXNvUGF0dGVybk1peGVkAAJUZXh0AAMAAAAzMgACVGV4dEhvcml6b250YWxBbGlnbm1lbnQADgAAAG1zb0FuY2hvck5vbmUAAlBhcmFncmFwaEFsaWdubWVudAAPAAAAbXNvQWxpZ25DZW50ZXIAAlRleHRWZXJ0aWNhbEFsaWdubWVudAAQAAAAbXNvQW5jaG9yTWlkZGxlAANGb250U3R5bGUAQAEAABBGb250QmFja2dyb3VuZAAAAAAACEZvbnRCb2xkAAADRm9udENvbG9yAFUAAAAQQQD/AAAAEFIA/wAAABBHAP8AAAAQQgD/AAAAAVNjQQAAAAAAAADwPwFTY1IAAAAAAAAA8D8BU2NHAAAAAAAAAPA/AVNjQgAAAAAAAADwPwAQRm9udFRoZW1lQ29sb3IAAAAAAAFGb250VGludEFuZFNoYWRlAAAAAAAAAAAAEEZvbnRTY2hlbWVDb2xvcgAAAAAACEZvbnRJdGFsaWMAAAJGb250TmFtZQAGAAAAQXJpYWwAAUZvbnRTaXplAAAAAAAAAChACEZvbnRTdHJpa2V0aHJvdWdoAAAIRm9udFN1YnNjcmlwdAAACEZvbnRTdXBlcnNjcmlwdAAACEZvbnRVbmRlcmxpbmUAAAAIU2l6ZVRvVGV4dFdpZHRoAAAIU2l6ZVRvVGV4dEhlaWdodAAAA1RleHRNYXJnaW4APwAAAAFMZWZ0AAAAAAAAAAAAAVRvcAAAAAAAAAAAAAFSaWdodAAAAAAAAAAAAAFCb3R0b20AAAAAAAAAAAAAAkRpc3BsYXlUZXh0AAMAAAAzMgABSGVpZ2h0AAAAAIAGaC5AAVdpZHRoAAAAAADSq0FAAVRvcAAAAADA9oUzQAFMZWZ0AAAAAKBEcYVACEZsaXBIb3Jpem9udGFsbHkAAAhGbGlwSG9yaXpvbnRhbGx5QXBwbGllZAAACEZsaXBWZXJ0aWNhbGx5AAAIRmxpcFZlcnRpY2FsbHlBcHBsaWVkAAABUm90YXRpb24AAAAAAAAAAAABWk9yZGVyAAAAAAAAACZAA0JvcmRlckNvbG9yAFUAAAAQQQD/AAAAEFIA/wAAABBHAP8AAAAQQgD/AAAAAVNjQQAAAAAAAADwPwFTY1IAAAAAAAAA8D8BU2NHAAAAAAAAAPA/AVNjQgAAAAAAAADwPwAQQm9yZGVyVGhlbWVDb2xvcgAAAAAAAUJvcmRlclRpbnRBbmRTaGFkZQAAAAAAAAAAABBCb3JkZXJTY2hlbWVDb2xvcgAAAAAAAUJvcmRlclRoaWNrbmVzcwAAAAAAAADQ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MxNwCcBgAABU1hbmFnZWRJZAAQAAAABHEO0xQx5P1OsH2+0jRy+ocISGFzQ2hhbmdlcwAACFVzZU5hbWVJbnN0ZWFkT2ZUYWdBc0lkAAAIU2hhcGVQcmV2aW91c2x5Q3JlYXRlZAABA0ZpbGxDb2xvcgBVAAAAEEEA/wAAABBSADMAAAAQRwCnAAAAEEIA5QAAAAFTY0EAAAAAAAAA8D8BU2NSAAAAAKAb86A/AVNjRwAAAACgQrvYPwFTY0IAAAAA4L0S6T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ECRmlsbFBhdHRlcm4AEAAAAG1zb1BhdHRlcm5NaXhlZAACVGV4dAADAAAAMzMAAlRleHRIb3Jpem9udGFsQWxpZ25tZW50AA4AAABtc29BbmNob3JOb25lAAJQYXJhZ3JhcGhBbGlnbm1lbnQADwAAAG1zb0FsaWduQ2VudGVyAAJUZXh0VmVydGljYWxBbGlnbm1lbnQAEAAAAG1zb0FuY2hvck1pZGRsZQADRm9udFN0eWxlAEABAAAQRm9udEJhY2tncm91bmQAAAAAAAhGb250Qm9sZAAAA0ZvbnRDb2xvcgBVAAAAEEEA/wAAABBSAP8AAAAQRwD/AAAAEEIA/wAAAAFTY0EAAAAAAAAA8D8BU2NSAAAAAAAAAPA/AVNjRwAAAAAAAADwPwFTY0IAAAAAAAAA8D8AEEZvbnRUaGVtZUNvbG9yAAAAAAABRm9udFRpbnRBbmRTaGFkZQAAAAAAAAAAABBGb250U2NoZW1lQ29sb3IAAAAAAAhGb250SXRhbGljAAACRm9udE5hbWUABgAAAEFyaWFsAAFGb250U2l6ZQAAAAAAAAAoQAhGb250U3RyaWtldGhyb3VnaAAACEZvbnRTdWJzY3JpcHQAAAhGb250U3VwZXJzY3JpcHQAAAhGb250VW5kZXJsaW5lAAAACFNpemVUb1RleHRXaWR0aAAACFNpemVUb1RleHRIZWlnaHQAAANUZXh0TWFyZ2luAD8AAAABTGVmdAAAAAAAAAAAAAFUb3AAFQAAAAT//////////wcAoQcAAAAAAAAAAAAA/////18AXwAAAAVfaWQAEAAAAASS7bM1ope/RLpsdvNtkjTLBERhdGEABQAAAAACTmFtZQALAAAASGlnaGxpZ2h0cwAQVmVyc2lvbgABAAAACUxhc3RXcml0ZQA8tev2jgEAAAABAP////+xBLEEAAAFX2lkABAAAAAErucyWNXUqkWXajMzF7MkxgNEYXRhAFEEAAADU3R5bGVJbmZvADYEAAABRGVmYXVsdEZvbnRTaXplAAAAAAAAAAAAAUZvbnRTaXplAAAAAAAAAChAA0ZvbnRDb2xvcgBVAAAAEEEA/wAAABBSABAAAAAQRwA4AAAAEEIATwAAAAFTY0EAAAAAAAAA8D8BU2NSAAAAAOA2OXU/AVNjRwAAAACAZz+kPwFTY0IAAAAAYBcEtD8AEEZvbnRUaGVtZUNvbG9yAAAAAAAQRm9udFNjaGVtZUNvbG9yAAAAAAABRm9udFRpbnRBbmRTaGFkZQAAAAAAAAAAAANQYXR0ZXJuQ29sb3IAVQAAABBBAAAAAAAQUgAAAAAAEEcAAAAAABBCAAAAAAABU2NBAAAAAAAAAAAAAVNjUgAAAAAAAAAAAAFTY0cAAAAAAAAAAAABU2NCAAAAAAAAAAAAABBQYXR0ZXJuVGhlbWVDb2xvcgAAAAAAAVBhdHRlcm5UaW50QW5kU2hhZGUAAAAAAAAAAAADRGF0YVN0eWxlRm9udENvbG9yVmFsdWUAVQAAABBBAP8AAAAQUgAQAAAAEEcAOAAAABBCAE8AAAABU2NBAAAAAAAAAPA/AVNjUgAAAADgNjl1PwFTY0cAAAAAgGc/pD8BU2NCAAAAAGAXBLQ/AAhEYXRhU3R5bGVGb250Q29sb3JIYXNWYWx1ZQABAUhlaWdodAAAAAAAAAAAAAJEYXNoU3R5bGUAAgAAADAACEhhc1dpc2hGaWxsQ29sb3IAAANGaWxsQ29sb3IAVQAAABBBAAAAAAAQUgAAAAAAEEcAAAAAABBCAAAAAAABU2NBAAAAAAAAAAAAAVNjUgAAAAAAAAAAAAFTY0cAAAAAAAAAAAABU2NCAAAAAAAAAAAAABBGaWxsU2NoZW1lQ29sb3IAAAAAABBGaWxsVGhlbWVDb2xvcgAAAAAAAUZpbGxUaW50QW5kU2hhZGUAAAAAAAAAAAADQm9yZGVyQ29sb3IAVQAAABBBAAAAAAAQUgAAAAAAEEcAAAAAABBCAAAAAAABU2NBAAAAAAAAAAAAAVNjUgAAAAAAAAAAAAFTY0cAAAAAAAAAAAABU2NCAAAAAAAAAAAAABBCb3JkZXJUaGVtZUNvbG9yAAAAAAABQm9yZGVyVGludEFuZFNoYWRlAAAAAAAAAAAACElzRmlsbGVkAAACUGF0dGVybgACAAAAMAACU2hhcGVUeXBlAAIAAAAwAANMYWJlbE9mZnNldABCAAAAAVgAAAAAAAAAAAABWQAAAAAAAAAAAAFMZW5ndGgAAAAAAAAAAAABTGVuZ3RoU3F1YXJlZAAAAAAAAAAAAAAISXNGb250Qm9sZAAACElzRm9udEl0YWxpYwAACElzRm9udFVuZGVybGluZWQAAAhMYWJlbEhhc0JhY2tncm91bmQAAAJUZXh0QWxpZ25tZW50AAUAAABMZWZ0AAACTmFtZQABAAAAAAACTmFtZQARAAAAU2VjdGlvbnNIZWFkTGluZQAQVmVyc2lvbgAAAAAACUxhc3RXcml0ZQDxg9fyjgEAAAACAP////95AHkAAAAFX2lkABAAAAAEIQJQrwEGDUmJvcEYNuej2wNEYXRhABUAAAAIU2hhcGVzUmVtb3ZlZAAAAAJOYW1lABUAAABHZW5lcmFsRXhjZWxTZXR0aW5ncwAQVmVyc2lvbgAAAAAACUxhc3RXcml0ZQD8g9fyjgEAAAADAP////9bAVsBAAAFX2lkABAAAAAEwaIkHsqX9kK5L0/7i24EhwNEYXRhAPwAAAAIQXJlU2VjdGlvbnNWaXNpYmxlAAEIQXJlTGVhZGVyTGluZXNJbkF1dG9Nb2RlAAEIQXJlV2Vla2VuZHNIaWRkZW4AAAhJc0luR2VuZXJpY01vZGUAAAhJc0Rpc2FibGVkAAACQWx0ZXJuYXRpbmdNb2RlABMAAABEZWZhdWx0QWx0ZXJuYXRpbmcAAlZpZXdSZXNvbHV0aW9uAAUAAABXZWVrAAhJc0xlZ2FjeVZpZXdSZXNvbHV0aW9uAAECU2VsZWN0ZWRDdWx0dXJlTmFtZQAGAAAAZW4tVVMAAlJlbmRlck1vZGUACwAAAEh5YnJpZFRleHQAAAJOYW1lABAAAABEaXNwbGF5U2V0dGluZ3MAEFZlcnNpb24AAgAAAAlMYXN0V3JpdGUA/YPX8o4BAAAABAD/////UgBSAAAABV9pZAAQAAAABKDP9Ivc5yZEv9scTGgGlVECTmFtZQAJAAAARGF0YUxpbmsAEFZlcnNpb24AAQAAAAlMYXN0V3JpdGUA/IPX8o4BAAAABQD/////WwBbAAAABV9pZAAQAAAABIuw1+IOBONAnwsUdLwzOpgERGF0YQAFAAAAAAJOYW1lAAcAAABEZWxheXMAEFZlcnNpb24AAAAAAAlMYXN0V3JpdGUAKoTX8o4BAAAABgD/////fQB9AAAABV9pZAAQAAAABGwZjSMDsLFNigbLLsqI5TQDRGF0YQAiAAAAAkdhbnR0VXBkYXRlU3RhdGUABwAAAE5vcm1hbAAAAk5hbWUADAAAAFVwZGF0ZVN0YXRlABBWZXJzaW9uAAAAAAAJTGFzdFdyaXRlACyE1/KO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YAAAAE//////////8BAMoCAAAAAAAAAAAAAP////8VDRUNAAAFX2lkABAAAAAEuDd1BTzRYkebQF/JDuJRtQNEYXRhALwMAAADTGVmdENvbHVtbgBCBgAAAkhlYWRlcgAGAAAATm90ZXMAA0hlYWRlclN0eWxlAF0EAAABRGVmYXVsdEZvbnRTaXplAAAAAAAAACRAAUZvbnRTaXplAAAAAAAAAChAA0ZvbnRDb2xvcgBVAAAAEEEA/wAAABBSABAAAAAQRwA4AAAAEEIATwAAAAFTY0EAAAAAAAAA8D8BU2NSAAAAAOA2OXU/AVNjRwAAAACAZz+kPwFTY0IAAAAAYBcEtD8AEEZvbnRUaGVtZUNvbG9yAAAAAAAQRm9udFNjaGVtZUNvbG9yAAAAAAABRm9udFRpbnRBbmRTaGFkZQAAAAAAAAAAAANQYXR0ZXJuQ29sb3IAVQAAABBBAAAAAAAQUgAAAAAAEEcAAAAAABBCAAAAAAABU2NBAAAAAAAAAAAAAVNjUgAAAAAAAAAAAAFTY0cAAAAAAAAAAAABU2NCAAAAAAAAAAAAABBQYXR0ZXJuVGhlbWVDb2xvcgAAAAAAAVBhdHRlcm5UaW50QW5kU2hhZGUAAAAAAAAAAAADRGF0YVN0eWxlRm9udENvbG9yVmFsdWUAVQAAABBBAAAAAAAQUgAAAAAAEEcAAAAAABBCAAAAAAABU2NBAAAAAAAAAAAAAVNjUgAAAAAAAAAAAAFTY0cAAAAAAAAAAAABU2NCAAAAAAAAAAAAAAhEYXRhU3R5bGVGb250Q29sb3JIYXNWYWx1ZQAAAUhlaWdodAAAAAAAAAAAAAJEYXNoU3R5bGUADQAAAG1zb0xpbmVTb2xpZAAISGFzV2lzaEZpbGxDb2xvcgAAA0ZpbGxDb2xvcgBVAAAAEEEA/wAAABBSAAAAAAAQRwAAAAAAEEIAAAAAAAFTY0EAAAAAAAAA8D8BU2NSAAAAAAAAAAAAAVNjRwAAAAAAAAAAAAFTY0IAAAAAAAAAAAAAEEZpbGxTY2hlbWVDb2xvcgAAAAAAEEZpbGxUaGVtZUNvbG9yAAAAAAABRmlsbFRpbnRBbmRTaGFkZQAAAAAAAAAAAANCb3JkZXJDb2xvcgBVAAAAEEEAAAAAABBSAAAAAAAQRwAAAAAAEEIAAAAAAAFTY0EAAAAAAAAAAAABU2NSAAAAAAAAAAAAAVNjRwAAAAAAAAAAAAFTY0IAAAAAAAAAAAAAEEJvcmRlclRoZW1lQ29sb3IAAAAAAAFCb3JkZXJUaW50QW5kU2hhZGUAAAAAAAAAAAAISXNGaWxsZWQAAQJQYXR0ZXJuABAAAABtc29QYXR0ZXJuTWl4ZWQAAlNoYXBlVHlwZQAOAAAAbXNvU2hhcGVNaXhlZAADTGFiZWxPZmZzZXQAQgAAAAFYAAAAAAAAAAAAAVkAAAAAAAAAAAABTGVuZ3RoAAAAAAAAAAAAAUxlbmd0aFNxdWFyZWQAAAAAAAAAAAAACElzRm9udEJvbGQAAAhJc0ZvbnRJdGFsaWMAAAhJc0ZvbnRVbmRlcmxpbmVkAAAITGFiZWxIYXNCYWNrZ3JvdW5kAAACVGV4dEFsaWdubWVudAAHAAAAQ2VudGVyAAAISXNWaXNpYmxlAAAIU2hvd1RleHQAAAhTaG93SGFydmV5QmFsbAAACFNob3dDaGVja0JveAAACFNob3dUcmFmZmljTGlnaHQAAANCb3VuZHMAbwEAAAhJc0VtcHR5AAADTG9jYXRpb24AGwAAAAFYAAAAAEpl9o1AAVkAjrcumCVcNUAAA1NpemUALgAAAAhJc0VtcHR5AAABV2lkdGgAAAAAAAAAAAABSGVpZ2h0AESKPq/JQIBAAAFYAAAAAEpl9o1AAVkAjrcumCVcNUABV2lkdGgAAAAAAAAAAAABSGVpZ2h0AESKPq/JQIBAAUxlZnQAAAAASmX2jUABVG9wAI63LpglXDVAAVJpZ2h0AAAAAEpl9o1AAUJvdHRvbQAAAADcquuAQANUb3BMZWZ0ABsAAAABWAAAAABKZfaNQAFZAI63LpglXDVAAANUb3BSaWdodAAbAAAAAVgAAAAASmX2jUABWQCOty6YJVw1QAADQm90dG9tTGVmdAAbAAAAAVgAAAAASmX2jUABWQAAAADcquuAQAADQm90dG9tUmlnaHQAGwAAAAFYAAAAAEpl9o1AAVkAAAAA3KrrgEAAAAADUmlnaHRDb2x1bW4AQgYAAAJIZWFkZXIABgAAAE5vdGVzAANIZWFkZXJTdHlsZQBdBAAAAURlZmF1bHRGb250U2l6ZQAAAAAAAAAkQAFGb250U2l6ZQAAAAAAAAAoQANGb250Q29sb3IAVQAAABBBAP8AAAAQUgAQAAAAEEcAOAAAABBCAE8AAAABU2NBAAAAAAAAAPA/AVNjUgAAAADgNjl1PwFTY0cAAAAAgGc/pD8BU2NCAAAAAGAXBLQ/ABBGb250VGhlbWVDb2xvcgAAAAAAEEZvbnRTY2hlbWVDb2xvcgAAAAAAAUZvbnRUaW50QW5kU2hhZGUAAAAAAAAAAAADUGF0dGVybkNvbG9yAFUAAAAQQQAAAAAAEFIAAAAAABBHAAAAAAAQQgAAAAAAAVNjQQAAAAAAAAAAAAFTY1IAAAAAAAAAAAABU2NHAAAAAAAAAAAAAVNjQgAAAAAAAAAAAAAQUGF0dGVyblRoZW1lQ29sb3IAAAAAAAFQYXR0ZXJuVGludEFuZFNoYWRlAAAAAAAAAAAAA0RhdGFTdHlsZUZvbnRDb2xvclZhbHVlAFUAAAAQQQAAAAAAEFIAAAAAABBHAAAAAAAQQgAAAAAAAVNjQQAAAAAAAAAAAAFTY1IAAAAAAAAAAAABU2NHAAAAAAAAAAAAAVNjQgAAAAAAAAAAAAAIRGF0YVN0eWxlRm9udENvbG9ySGFzVmFsdWUAAAFIZWlnaHQAAAAAAAAAAAACRGFzaFN0eWxlAA0AAABtc29MaW5lU29saWQACEhhc1dpc2hGaWxsQ29sb3IAAANGaWxsQ29sb3IAVQAAABBBAP8AAAAQUgAAAAAAEEcAAAAAABBCAAAAAAABU2NBAAAAAAAAAPA/AVNjUgAAAAAAAAAAAAFTY0cAAAAAAAAAAAABU2NCAAAAAAAAAAAAABBGaWxsU2NoZW1lQ29sb3IAAAAAABBGaWxsVGhlbWVDb2xvcgAAAAAAAUZpbGxUaW50QW5kU2hhZGUAAAAAAAAAAAADQm9yZGVyQ29sb3IAVQAAABBBAAAAAAAQUgAAAAAAEEcAAAAAABBCAAAAAAABU2NBAAAAAAAAAAAAAVNjUgAAAAAAAAAAAAFTY0cAAAAAAAAAAAABU2NCAAAAAAAAAAAAABBCb3JkZXJUaGVtZUNvbG9yAAAAAAABQm9yZGVyVGludEFuZFNoYWRlAAAAAAAAAAAACElzRmlsbGVkAAECUGF0dGVybgAQAAAAbXNvUGF0dGVybk1peGVkAAJTaGFwZVR5cGUADgAAAG1zb1NoYXBlTWl4ZWQAA0xhYmVsT2Zmc2V0AEIAAAABWAAAAAAAAAAAAAFZAAAAAAAAAAAAAUxlbmd0aAAAAAAAAAAAAAFMZW5ndGhTcXVhcmVkAAAAAAAAAAAAAAhJc0ZvbnRCb2xkAAAISXNGb250SXRhbGljAAAISXNGb250VW5kZXJsaW5lZAAACExhYmVsSGFzQmFja2dyb3VuZAAAAlRleHRBbGlnbm1lbnQABwAAAENlbnRlcgAACElzVmlzaWJsZQAACFNob3dUZXh0AAAIU2hvd0hhcnZleUJhbGwAAAhTaG93Q2hlY2tCb3gAAAhTaG93VHJhZmZpY0xpZ2h0AAADQm91bmRzAG8BAAAISXNFbXB0eQAAA0xvY2F0aW9uABsAAAABWAAAAABKZfaNQAFZAI63LpglXDVAAANTaXplAC4AAAAISXNFbXB0eQAAAVdpZHRoAAAAAAAAAAAAAUhlaWdodABEij6vyUCAQAABWAAAAABKZfaNQAFZAI63LpglXDVAAVdpZHRoAAAAAAAAAAAAAUhlaWdodABEij6vyUCAQAFMZWZ0AAAAAEpl9o1AAVRvcACOty6YJVw1QAFSaWdodAAAAABKZfaNQAFCb3R0b20AAAAA3KrrgEADVG9wTGVmdAAbAAAAAVgAAAAASmX2jUABWQCOty6YJVw1QAADVG9wUmlnaHQAGwAAAAFYAAAAAEpl9o1AAVkAjrcumCVcNUAAA0JvdHRvbUxlZnQAGwAAAAFYAAAAAEpl9o1AAVkAAAAA3KrrgEAAA0JvdHRvbVJpZ2h0ABsAAAABWAAAAABKZfaNQAFZAAAAANyq64BAAAAAAVNwbGl0UmF0aW9QcmVzZXQAAAAAAAAA8L8AAk5hbWUACgAAAE5vdGVzQXJlYQAQVmVyc2lvbgABAAAACUxhc3RXcml0ZQAttev2j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XAAAABP//////////AQBgBQAAAAAAAAAAAAD/////fwp/CgAABV9pZAAQAAAABNrwoCEyUflCvIojUJGuUogDRGF0YQAcCgAAAUZvbnRTaXplAAAAAAAAACRAAUJhckhlaWdodAAAAADg3TIoQAFQZXJjZW50YWdlQmFySGVpZ2h0AEqvUUMF894/CElzQXV0b0JhckhlaWdodAABCFRpbWVsaW5lU2hvd0RheXMAAAhUaW1lbGluZVNob3dXZWVrcwABCFRpbWVsaW5lU2hvd01vbnRocwABCFRpbWVsaW5lU2hvd1F1YXJ0ZXJzAAAIVGltZWxpbmVTaG93WWVhcnMAAAhTaG93T3ZlcmZsb3dBcnJvd3MAAAhNaWdyYXRpb25Ub1BlcmZvcm1hbmNlTW9kZURvbmUAAQNUaW1lbGluZURheUN1c3RvbWl6aW5nAGIBAAADQmFja2dyb3VuZENvbG9yAFUAAAAQQQD/AAAAEFIAmQAAABBHANMAAAAQQgDyAAAAAVNjQQAAAAAAAADwPwFTY1IAAAAAIBJj1D8BU2NHAAAAAKBQ2OQ/AVNjQgAAAADA3WnsPwAQQmFja2dyb3VuZFRoZW1lQ29sb3IAAAAAAAFCYWNrZ3JvdW5kVGludEFuZFNoYWRlAAAAAAAAAAAAA0ZvbnRDb2xvcgBVAAAAEEEA/wAAABBSAP8AAAAQRwD/AAAAEEIA/wAAAAFTY0EAAAAAAAAA8D8BU2NSAAAAAAAAAPA/AVNjRwAAAAAAAADwPwFTY0IAAAAAAAAA8D8AEEZvbnRUaGVtZUNvbG9yAAAAAAABRm9udFRpbnRBbmRTaGFkZQAAAAAAAAAAABBCYWNrR3JvdW5kU2NoZW1lSW5kZXgAAAAAAAhTaG93VmVydGljYWxMaW5lcwAAAANUaW1lbGluZVdlZWtDdXN0b21pemluZwBiAQAAA0JhY2tncm91bmRDb2xvcgBVAAAAEEEA/wAAABBSADMAAAAQRwCnAAAAEEIA5QAAAAFTY0EAAAAAAAAA8D8BU2NSAAAAAKAb86A/AVNjRwAAAACgQrvYPwFTY0IAAAAA4L0S6T8AEEJhY2tncm91bmRUaGVtZUNvbG9yAAAAAAABQmFja2dyb3VuZFRpbnRBbmRTaGFkZQAAAAAAAAAAAANGb250Q29sb3IAVQAAABBBAP8AAAAQUgD/AAAAEEcA/wAAABBCAP8AAAABU2NBAAAAAAAAAPA/AVNjUgAAAAAAAADwPwFTY0cAAAAAAAAA8D8BU2NCAAAAAAAAAPA/ABBGb250VGhlbWVDb2xvcgAAAAAAAUZvbnRUaW50QW5kU2hhZGUAAAAAAAAAAAAQQmFja0dyb3VuZFNjaGVtZUluZGV4AAAAAAAIU2hvd1ZlcnRpY2FsTGluZXMAAAADVGltZWxpbmVNb250aEN1c3RvbWl6aW5nAGIBAAADQmFja2dyb3VuZENvbG9yAFUAAAAQQQD/AAAAEFIAAAAAABBHAGEAAAAQQgB/AAAAAVNjQQAAAAAAAADwPwFTY1IAAAAAAAAAAAABU2NHAAAAACASmr4/AVNjQgAAAACgYCrLPwAQQmFja2dyb3VuZFRoZW1lQ29sb3IAAAAAAAFCYWNrZ3JvdW5kVGludEFuZFNoYWRlAAAAAAAAAAAAA0ZvbnRDb2xvcgBVAAAAEEEA/wAAABBSAP8AAAAQRwD/AAAAEEIA/wAAAAFTY0EAAAAAAAAA8D8BU2NSAAAAAAAAAPA/AVNjRwAAAAAAAADwPwFTY0IAAAAAAAAA8D8AEEZvbnRUaGVtZUNvbG9yAAAAAAABRm9udFRpbnRBbmRTaGFkZQAAAAAAAAAAABBCYWNrR3JvdW5kU2NoZW1lSW5kZXgAAAAAAAhTaG93VmVydGljYWxMaW5lcwAAAANUaW1lbGluZVF1YXJ0ZXJDdXN0b21pemluZwBiAQAAA0JhY2tncm91bmRDb2xvcgBVAAAAEEEA/wAAABBSAGIAAAAQRwBJAAAAEEIAYwAAAAFTY0EAAAAAAAAA8D8BU2NSAAAAAKB8RL8/AVNjRwAAAADgZQ6xPwFTY0IAAAAAwAvxvz8AEEJhY2tncm91bmRUaGVtZUNvbG9yAAAAAAABQmFja2dyb3VuZFRpbnRBbmRTaGFkZQAAAAAAAAAAAANGb250Q29sb3IAVQAAABBBAP8AAAAQUgD/AAAAEEcA/wAAABBCAP8AAAABU2NBAAAAAAAAAPA/AVNjUgAAAAAAAADwPwFTY0cAAAAAAAAA8D8BU2NCAAAAAAAAAPA/ABBGb250VGhlbWVDb2xvcgAAAAAAAUZvbnRUaW50QW5kU2hhZGUAAAAAAAAAAAAQQmFja0dyb3VuZFNjaGVtZUluZGV4AAAAAAAIU2hvd1ZlcnRpY2FsTGluZXMAAAADVGltZWxpbmVZZWFyQ3VzdG9taXppbmcAYgEAAANCYWNrZ3JvdW5kQ29sb3IAVQAAABBBAP8AAAAQUgBEAAAAEEcAMgAAABBCAEcAAAABU2NBAAAAAAAAAPA/AVNjUgAAAACgrJitPwFTY0cAAAAAQK1UoD8BU2NCAAAAAMBsIbA/ABBCYWNrZ3JvdW5kVGhlbWVDb2xvcgAAAAAAAUJhY2tncm91bmRUaW50QW5kU2hhZGUAAAAAAAAAAAADRm9udENvbG9yAFUAAAAQQQD/AAAAEFIA/wAAABBHAP8AAAAQQgD/AAAAAVNjQQAAAAAAAADwPwFTY1IAAAAAAAAA8D8BU2NHAAAAAAAAAPA/AVNjQgAAAAAAAADwPwAQRm9udFRoZW1lQ29sb3IAAAAAAAFGb250VGludEFuZFNoYWRlAAAAAAAAAAAAEEJhY2tHcm91bmRTY2hlbWVJbmRleAAAAAAACFNob3dWZXJ0aWNhbExpbmVzAAAAAkRheUxhYmVsTW9kZQAHAAAATnVtYmVyAAJNb250aExhYmVsTW9kZQAKAAAAQXV0b21hdGljAAJRdWFydGVyTGFiZWxNb2RlAAYAAABTaG9ydAAIVXNlRGVmYXVsdFRpbWVsaW5lVmlzaWJpbGl0eVNldHRpbmdzAAEBTGVmdFNpZGVQcmVzZXQAAkluR4NUXUABUHJlZmVycmVkSGVhZGVyRm9udFNpemUAAAAAAAAAKEABT3B0aW1pemVkRm9udFNpemUAAAAAAAAAAAADQ3VzdG9taXppbmdEZXNjcmlwdGlvbkRhdGEArAAAAAJOYW1lABEAAABCYXllckN1c3RvbWl6aW5nABBWZXJzaW9uAAEAAAAQTWlub3JWZXJzaW9uAAAAAAACQ3VzdG9taXppbmdUeXBlAAgAAABEZWZhdWx0AAJNaW9DZElkACUAAABjZDlhNzFjNy04ZWQ5LTQxYTEtODMwMy0xYTZkMTk4NTg1MWEAAkZsZXhDdXN0b21pemluZ1R5cGUABQAAAE5vbmUAAAhOZWVkc0hpZ2hsaWdodHNMZWdhY3lJbml0aWFsaXphdGlvbgAAAAJOYW1lABQAAABHbG9iYWxTdHlsZVNldHRpbmdzABBWZXJzaW9uAAIAAAAJTGFzdFdyaXRlAP9J7/aO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AAAAAQAAAAA/////wYAXg4AAAAAAAAAAAAA/////2EAYQAAAAVfaWQAEAAAAAT0i9YT/w1OQZtHZE2MmOBzBERhdGEABQAAAAACTmFtZQANAAAATGlua0RhdGFMaXN0ABBWZXJzaW9uAAAAAAAJTGFzdFdyaXRlACyE1/KOAQAAAAEAGQAAAAAAAgD/////YQBhAAAABV9pZAAQAAAABMXeburALs5MrawnozM5FiMDRGF0YQAFAAAAAAJOYW1lAA0AAABDb2xvclZlcnNpb24AEFZlcnNpb24AAAAAAAlMYXN0V3JpdGUAk4TX8o4BAAAAAwD/////lwCXAAAABV9pZAAQAAAABM8fWN2N8uJHh+0UgfrtrawDRGF0YQA+AAAACVN0YXJ0VGltZQAAR1fgjgEAAAlFbmRUaW1lAACTEDKSAQAACEF1dG9BZGp1c3RTdGFydEVuZAAAAAJOYW1lAAoAAABUaW1lUmFuZ2UAEFZlcnNpb24AAAAAAAlMYXN0V3JpdGUAXu/o8o4BAAAABACoAAAAAAAFAE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kAAAAF/////xoAAADnDwAAAAAAAAAAAABb4wkABV9pZAAQAAAABJ36MvTyw9RJoMFTE0YFVSQERGF0YQAD4wkAAzAAte0BABBfaWQAAQAAAARSb3dzAKaFAQADMACgzwAAEF9pZAACAAAABEl0ZW1zAO2DAAADMABnHAAAAl90eXBlAEsAAABlbXBvd2VyLkNoYXJ0cy5EYXRhLkdhbnR0LkNocm9ub2xvZ3kuRGF0YS5CYXJUYXNrRGF0YSwgZW1wb3dlci5DaGFydHMuRGF0YQACTGFiZWxQb3NpdGlvbgAHAAAAQ2VudGVyAAhJc0xhYmVsSW5zaWRlQm91bmRzAAEDU3R5bGUAWwQAAAFEZWZhdWx0Rm9udFNpemUAAAAAAAAAJEABRm9udFNpemUAAAAAAAAAIEADRm9udENvbG9yAFUAAAAQQQD/AAAAEFIAEAAAABBHADgAAAAQQgBPAAAAAVNjQQAAAAAAAADwPwFTY1IAAAAA4DY5dT8BU2NHAAAAAIBnP6Q/AVNjQgAAAABgFwS0PwAQRm9udFRoZW1lQ29sb3IAAAAAABBGb250U2NoZW1lQ29sb3IAAAAAAAFGb250VGludEFuZFNoYWRlAAAAAAAAAAAAA1BhdHRlcm5Db2xvcgBVAAAAEEEAAAAAABBSAAAAAAAQRwAAAAAAEEIAAAAAAAFTY0EAAAAAAAAAAAABU2NSAAAAAAAAAAAAAVNjRwAAAAAAAAAAAAFTY0IAAAAAAAAAAAAAEFBhdHRlcm5UaGVtZUNvbG9yAAAAAAABUGF0dGVyblRpbnRBbmRTaGFkZQAAAAAAAAAAAANEYXRhU3R5bGVGb250Q29sb3JWYWx1ZQBVAAAAEEEAAAAAABBSAAAAAAAQRwAAAAAAEEIAAAAAAAFTY0EAAAAAAAAAAAABU2NSAAAAAAAAAAAAAVNjRwAAAAAAAAAAAAFTY0IAAAAAAAAAAAAACERhdGFTdHlsZUZvbnRDb2xvckhhc1ZhbHVlAAABSGVpZ2h0AAAAAODdMihAAkRhc2hTdHlsZQANAAAAbXNvTGluZVNvbGlkAAhIYXNXaXNoRmlsbENvbG9yAAADRmlsbENvbG9yAFUAAAAQQQD/AAAAEFIAmQAAABBHANMAAAAQQgDyAAAAAVNjQQAAAAAAAADwPwFTY1IAAAAAIBJj1D8BU2NHAAAAAKBQ2OQ/AVNjQgAAAADA3WnsPwAQRmlsbFNjaGVtZUNvbG9yAAAAAAAQRmlsbFRoZW1lQ29sb3IAAAAAAAFGaWxsVGludEFuZFNoYWRlAAAAAAAAAAAAA0JvcmRlckNvbG9yAFUAAAAQQQAAAAAAEFIAAAAAABBHAAAAAAAQQgAAAAAAAVNjQQAAAAAAAAAAAAFTY1IAAAAAAAAAAAABU2NHAAAAAAAAAAAAAVNjQgAAAAAAAAAAAAAQQm9yZGVyVGhlbWVDb2xvcgAAAAAAAUJvcmRlclRpbnRBbmRTaGFkZQAAAAAAAAAAAAhJc0ZpbGxlZAABAlBhdHRlcm4AEAAAAG1zb1BhdHRlcm5NaXhlZAACU2hhcGVUeXBlAA4AAABtc29TaGFwZU1peGVkAANMYWJlbE9mZnNldABCAAAAAVgAAAAAAAAAAAABWQAAAAAAAAAAAAFMZW5ndGgAAAAAAAAAAAABTGVuZ3RoU3F1YXJlZAAAAAAAAAAAAAAISXNGb250Qm9sZAAACElzRm9udEl0YWxpYwAACElzRm9udFVuZGVybGluZWQAAAhMYWJlbEhhc0JhY2tncm91bmQAAAJUZXh0QWxpZ25tZW50AAUAAABMZWZ0AAAIRGlzcGxheUxhYmVsAAEDUmVuZGVySW5mbwDtFgAAA1JlY3RhbmdsZUZyZWVmb3JtAPwIAAAEVmVydGljZXMAmwIAAAMwACwAAAAQSW5kZXgwAAAAAAAQSW5kZXgxAAAAAAABVmFsdWUAAAAAwHz6YEAAAzEALAAAABBJbmRleDAAAAAAABBJbmRleDEAAQAAAAFWYWx1ZQAAAACgQY1QQAADMgAsAAAAEEluZGV4MAABAAAAEEluZGV4MQAAAAAAAVZhbHVlAAAAAMB8+mBAAAMzACwAAAAQSW5kZXgwAAEAAAAQSW5kZXgxAAEAAAABVmFsdWUAAAAAgG8QUkAAAzQALAAAABBJbmRleDAAAgAAABBJbmRleDEAAAAAAAFWYWx1ZQAAAADAfPpgQAADNQAsAAAAEEluZGV4MAACAAAAEEluZGV4MQABAAAAAVZhbHVlAAAAAGCdk1NAAAM2ACwAAAAQSW5kZXgwAAMAAAAQSW5kZXgxAAAAAAABVmFsdWUAAAAAQHFlZUAAAzcALAAAABBJbmRleDAAAwAAABBJbmRleDEAAQAAAAFWYWx1ZQAAAABgnZNTQAADOAAsAAAAEEluZGV4MAAEAAAAEEluZGV4MQAAAAAAAVZhbHVlAAAAAEBxZWVAAAM5ACwAAAAQSW5kZXgwAAQAAAAQSW5kZXgxAAEAAAABVmFsdWUAAAAAgG8QUkAAAzEwACwAAAAQSW5kZXgwAAUAAAAQSW5kZXgxAAAAAAABVmFsdWUAAAAAQHFlZUAAAzExACwAAAAQSW5kZXgwAAUAAAAQSW5kZXgxAAEAAAABVmFsdWUAAAAAoEGNUEAAAzEyACwAAAAQSW5kZXgwAAYAAAAQSW5kZXgxAAAAAAABVmFsdWUAAAAAwHz6YEAAAzEzACwAAAAQSW5kZXgwAAYAAAAQSW5kZXgxAAEAAAABVmFsdWUAAAAAoEGNUEAAAAVNYW5hZ2VkSWQAEAAAAASRu1fGTB7BTac/eo4cKVv6CEhhc0NoYW5nZXMAAAhVc2VOYW1lSW5zdGVhZE9mVGFnQXNJZAAACFNoYXBlUHJldmlvdXNseUNyZWF0ZWQAAANGaWxsQ29sb3IAVQAAABBBAP8AAAAQUgCZAAAAEEcA0wAAABBCAPIAAAABU2NBAAAAAAAAAPA/AVNjUgAAAAAgEmPUPwFTY0cAAAAAoFDY5D8BU2NCAAAAAMDdaew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4N0yKEABV2lkdGgAAAAAANKrQUABVG9wAAAAAKBBjVBAAUxlZnQAAAAAwHz6YEAIRmxpcEhvcml6b250YWxseQAACEZsaXBIb3Jpem9udGFsbHlBcHBsaWVkAAAIRmxpcFZlcnRpY2FsbHkAAAhGbGlwVmVydGljYWxseUFwcGxpZWQAAAFSb3RhdGlvbgAAAAAAAAAAAAFaT3JkZXIAAAAAAACAUUADQm9yZGVyQ29sb3IAVQAAABBBAP8AAAAQUgD/AAAAEEcA/wAAABBCAP8AAAABU2NBAAAAAAAAAPA/AVNjUgAAAAAAAADwPwFTY0cAAAAAAAAA8D8BU2NCAAAAAAAAAPA/ABBCb3JkZXJUaGVtZUNvbG9yAAAAAAABQm9yZGVyVGludEFuZFNoYWRlAAAAAAAAAAAAEEJvcmRlclNjaGVtZUNvbG9yAAAAAAABQm9yZGVyVGhpY2tuZXNzAAAAAAAAAPA/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JhclN0eWxlRGF0YQAmAAAAAkJhclN0eWxlU2hhcGVUeXBlAAoAAABSZWN0YW5nbGUAAANMYWJlbACqBgAABU1hbmFnZWRJZAAQAAAABEUsjUJ2grdEkfvYyCp7OjQISGFzQ2hhbmdlcwAACFVzZU5hbWVJbnN0ZWFkT2ZUYWdBc0lkAAAIU2hhcGVQcmV2aW91c2x5Q3JlYXRlZAABA0ZpbGxDb2xvcgBVAAAAEEEA/wAAABBSAJkAAAAQRwDTAAAAEEIA8gAAAAFTY0EAAAAAAAAA8D8BU2NSAAAAACASY9Q/AVNjRwAAAACgUNjkPwFTY0IAAAAAwN1p7D8AEEZpbGxUaGVtZUNvbG9yAAAAAAABRmlsbFRpbnRBbmRTaGFkZQAAAAAAAAAAABBGaWxsU2NoZW1lQ29sb3IAAAAAAANQYXR0ZXJuQ29sb3IAVQAAABBBAAAAAAAQUgAAAAAAEEcAAAAAABBCAAAaAAAABRkAAAAbAAAA5w8AAAAAAAAAAAAAAAAAAVNjQQAAAAAAAAAAAAFTY1IAAAAAAAAAAAABU2NHAAAAAAAAAAAAAVNjQgAAAAAAAAAAAAAQUGF0dGVyblRoZW1lQ29sb3IAAAAAAAFQYXR0ZXJuVGludEFuZFNoYWRlAAAAAAAAAAAACEZpbGxWaXNpYmxlAAAIVmlzaWJsZQABAkZpbGxQYXR0ZXJuABAAAABtc29QYXR0ZXJuTWl4ZWQAAlRleHQACgAAAEh5cGVyY2FyZQACVGV4dEhvcml6b250YWxBbGlnbm1lbnQADgAAAG1zb0FuY2hvck5vbmUAAlBhcmFncmFwaEFsaWdubWVudAAPAAAAbXNvQWxpZ25DZW50ZXIAAlRleHRWZXJ0aWNhbEFsaWdubWVudAAQAAAAbXNvQW5jaG9yTWlkZGxlAANGb250U3R5bGUAQAEAABBGb250QmFja2dyb3VuZAAAAAAACEZvbnRCb2xkAAADRm9udENvbG9yAFUAAAAQQQD/AAAAEFIAEAAAABBHADgAAAAQQgBPAAAAAVNjQQAAAAAAAADwPwFTY1IAAAAA4DY5dT8BU2NHAAAAAIBnP6Q/AVNjQgAAAABgFwS0PwAQRm9udFRoZW1lQ29sb3IAAAAAAAFGb250VGludEFuZFNoYWRlAAAAAAAAAAAAEEZvbnRTY2hlbWVDb2xvcgAAAAAACEZvbnRJdGFsaWMAAAJGb250TmFtZQAGAAAAQXJpYWwAAUZvbnRTaXplAAAAAAAAACBACEZvbnRTdHJpa2V0aHJvdWdoAAAIRm9udFN1YnNjcmlwdAAACEZvbnRTdXBlcnNjcmlwdAAACEZvbnRVbmRlcmxpbmUAAAAIU2l6ZVRvVGV4dFdpZHRoAAAIU2l6ZVRvVGV4dEhlaWdodAAAA1RleHRNYXJnaW4APwAAAAFMZWZ0AAAAAAAAAAAAAVRvcAAAAAAAAAAAAAFSaWdodAAAAAAAAAAAAAFCb3R0b20AAAAAAAAAAAAAAkRpc3BsYXlUZXh0AAoAAABIeXBlcmNhcmUAAUhlaWdodAAAAAAAFlwjQAFXaWR0aAAAAABgoLNCQAFUb3AAAAAAIK7aUEABTGVmdAAAAAAAg9lgQAhGbGlwSG9yaXpvbnRhbGx5AAAIRmxpcEhvcml6b250YWxseUFwcGxpZWQAAAhGbGlwVmVydGljYWxseQAACEZsaXBWZXJ0aWNhbGx5QXBwbGllZAAAAVJvdGF0aW9uAAAAAAAAAAAAAVpPcmRlcgAAAAAAAABS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Q29ubmVjdG9yTGluZURhdGEA4QYAAANTdGFydAAbAAAAAVgAAAAAwHz6YEABWQAAAACgQY1QQAADRW5kABsAAAABWAAAAADAfPpgQAFZAAAAAKBBjVBAAAJTdGFydEFycm93SGVhZAARAAAAbXNvQXJyb3doZWFkTm9uZQACRW5kQXJyb3dIZWFkABEAAABtc29BcnJvd2hlYWROb25lAAVNYW5hZ2VkSWQAEAAAAAQThJMRyKTTQ79LU1Z0dLHKCEhhc0NoYW5nZXMAAAhVc2VOYW1lSW5zdGVhZE9mVGFnQXNJZAAACFNoYXBlUHJldmlvdXNseUNyZWF0ZWQAAA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A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AAAAAAABVG9wAAAAAKBBjVBAAUxlZnQAAAAAwHz6YEAIRmxpcEhvcml6b250YWxseQAACEZsaXBIb3Jpem9udGFsbHlBcHBsaWVkAAAIRmxpcFZlcnRpY2FsbHkAAAhGbGlwVmVydGljYWxseUFwcGxpZWQAAAFSb3RhdGlvbgAAAAAAAAAAAAFaT3JkZXIAAAAAAADAUUADQm9yZGVyQ29sb3IAVQAAABBBAP8AAAAQUgCZAAAAEEcA0wAAABBCAPIAAAABU2NBAAAAAAAAAPA/AVNjUgAAAAAgEmPUPwFTY0cAAAAAoFDY5D8BU2NCAAAAAMDdaew/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AlFbmRUaW1lAACDsA6PAQAAEEluZGV4AAEAAAACRGVzY3JpcHRpb24ACgAAAEh5cGVyY2FyZQACTmFtZQAFAAAAVGFzawAISXNMZWFkZXJMaW5lSW5BdXRvTW9kZQABCVN0YXJ0VGltZQAAW8rvjgEAAAADMQC6GQAAAl90eXBlAE0AAABlbXBvd2VyLkNoYXJ0cy5EYXRhLkdhbnR0LkNocm9ub2xvZ3kuRGF0YS5NaWxlc3RvbmVEYXRhLCBlbXBvd2VyLkNoYXJ0cy5EYXRhAANTdHlsZQB2BAAAAURlZmF1bHRGb250U2l6ZQAAAAAAAAAkQAFGb250U2l6ZQAAAAAAAAAkQANGb250Q29sb3IAVQAAABBBAP8AAAAQUgAQAAAAEEcAOAAAABBCAE8AAAABU2NBAAAAAAAAAPA/AVNjUgAAAADgNjl1PwFTY0cAAAAAgGc/pD8BU2NCAAAAAGAXBLQ/ABBGb250VGhlbWVDb2xvcgAAAAAAEEZvbnRTY2hlbWVDb2xvcgAAAAAAAUZvbnRUaW50QW5kU2hhZGUAAAAAAAAAAAADUGF0dGVybkNvbG9yAFUAAAAQQQAAAAAAEFIAAAAAABBHAAAAAAAQQgAAAAAAAVNjQQAAAAAAAAAAAAFTY1IAAAAAAAAAAAABU2NHAAAAAAAAAAAAAVNjQgAAAAAAAAAAAAAQUGF0dGVyblRoZW1lQ29sb3IAAAAAAAFQYXR0ZXJuVGludEFuZFNoYWRlAAAAAAAAAAAAA0RhdGFTdHlsZUZvbnRDb2xvclZhbHVlAFUAAAAQQQAAAAAAEFIAAAAAABBHAAAAAAAQQgAAAAAAAVNjQQAAAAAAAAAAAAFTY1IAAAAAAAAAAAABU2NHAAAAAAAAAAAAAVNjQgAAAAAAAAAAAAAIRGF0YVN0eWxlRm9udENvbG9ySGFzVmFsdWUAAAFIZWlnaHQAAAAA4N0yKEACRGFzaFN0eWxlAA0AAABtc29MaW5lU29saWQACEhhc1dpc2hGaWxsQ29sb3IAAANGaWxsQ29sb3IAVQAAABBBAP8AAAAQUgAAAAAAEEcAkQAAABBCAN8AAAABU2NBAAAAAAAAAPA/AVNjUgAAAAAAAAAAAAFTY0cAAAAAABwf0j8BU2NCAAAAAGD2nOc/ABBGaWxsU2NoZW1lQ29sGwAAAAUaAAAAHAAAAOcPAAAAAAAAAAAAAG9yAAAAAAAQRmlsbFRoZW1lQ29sb3IAAAAAAAFGaWxsVGludEFuZFNoYWRlAAAAAAAAAAAAA0JvcmRlckNvbG9yAFUAAAAQQQD/AAAAEFIA/wAAABBHAP8AAAAQQgD/AAAAAVNjQQAAAAAAAADwPwFTY1IAAAAAAAAA8D8BU2NHAAAAAAAAAPA/AVNjQgAAAAAAAADwPwAQQm9yZGVyVGhlbWVDb2xvcgAAAAAAAUJvcmRlclRpbnRBbmRTaGFkZQAAAAAAAAAAAAhJc0ZpbGxlZAABAlBhdHRlcm4AEAAAAG1zb1BhdHRlcm5NaXhlZAACU2hhcGVUeXBlABAAAABtc29TaGFwZURpYW1vbmQAA0xhYmVsT2Zmc2V0AEIAAAABWAAAAAAAAAAAAAFZAORJW42luTXAAUxlbmd0aADkSVuNpbk1QAFMZW5ndGhTcXVhcmVkAF95JZ68f31AAAFCb3JkZXJUaGlja25lc3MAAAAAAAAA8D8ISXNGb250Qm9sZAAACElzRm9udEl0YWxpYwAACElzRm9udFVuZGVybGluZWQAAAhMYWJlbEhhc0JhY2tncm91bmQAAAJUZXh0QWxpZ25tZW50AAUAAABMZWZ0AAAIRGlzcGxheUxhYmVsAAEITGFiZWxIYXNCYWNrZ3JvdW5kAAADUmVuZGVySW5mbwAfFAAAA1N5bWJvbAByBgAAAkF1dG9TaGFwZVR5cGUACAAAAERpYW1vbmQABU1hbmFnZWRJZAAQAAAABEA9bQDLyulKlNMwXG0N8AYISGFzQ2hhbmdlcwAACFVzZU5hbWVJbnN0ZWFkT2ZUYWdBc0lkAAAIU2hhcGVQcmV2aW91c2x5Q3JlYXRlZAAAA0ZpbGxDb2xvcgBVAAAAEEEA/wAAABBSAAAAAAAQRwCRAAAAEEIA3wAAAAFTY0EAAAAAAAAA8D8BU2NSAAAAAAAAAAAAAVNjRwAAAAAAHB/SPwFTY0IAAAAAYPac5z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Dg3TIoQAFXaWR0aAAAAADg3TIoQAFUb3AAAAAAoDqdX0ABTGVmdAAAAAAAAWdwQAhGbGlwSG9yaXpvbnRhbGx5AAAIRmxpcEhvcml6b250YWxseUFwcGxpZWQAAAhGbGlwVmVydGljYWxseQAACEZsaXBWZXJ0aWNhbGx5QXBwbGllZAAAAVJvdGF0aW9uAAAAAAAAAAAAAVpPcmRlcgAAAAAAAIBUQANCb3JkZXJDb2xvcgBVAAAAEEEA/wAAABBSAP8AAAAQRwD/AAAAEEIA/wAAAAFTY0EAAAAAAAAA8D8BU2NSAAAAAAAAAPA/AVNjRwAAAAAAAADwPwFTY0IAAAAAAAAA8D8AEEJvcmRlclRoZW1lQ29sb3IAAAAAAAFCb3JkZXJUaW50QW5kU2hhZGUAAAAAAAAAAAAQQm9yZGVyU2NoZW1lQ29sb3IAAAAAAAFCb3JkZXJUaGlja25lc3MAAAAAAAAA8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TGFiZWwAqQYAAAVNYW5hZ2VkSWQAEAAAAARDD6NpBa0tT5/4R9/NCd2mCEhhc0NoYW5nZXMAAAhVc2VOYW1lSW5zdGVhZE9mVGFnQXNJZAAACFNoYXBlUHJldmlvdXNseUNyZWF0ZWQAAQNGaWxsQ29sb3IAVQAAABBBAP8AAAAQUgAAAAAAEEcAkQAAABBCAN8AAAABU2NBAAAAAAAAAPA/AVNjUgAAAAAAAAAAAAFTY0cAAAAAABwf0j8BU2NCAAAAAGD2nO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QAEAAAADTigIsvMzAvMjAy4oCLNAACVGV4dEhvcml6b250YWxBbGlnbm1lbnQADgAAAG1zb0FuY2hvck5vbmUAAlBhcmFncmFwaEFsaWdubWVudAACAAAAMAACVGV4dFZlcnRpY2FsQWxpZ25tZW50ABAAAABtc29BbmNob3JNaWRkbGUAA0ZvbnRTdHlsZQBAAQAAEEZvbnRCYWNrZ3JvdW5kAAAAAAAIRm9udEJvbGQAAANGb250Q29sb3IAVQAAABBBAP8AAAAQUgAQAAAAEEcAOAAAABBCAE8AAAABU2NBAAAAAAAAAPA/AVNjUgAAAADgNjl1PwFTY0cAAAAAgGc/pD8BU2NCAAAAAGAXBLQ/ABBGb250VGhlbWVDb2xvcgAAAAAAAUZvbnRUaW50QW5kU2hhZGUAAAAAAAAAAAAQRm9udFNjaGVtZUNvbG9yAAAAAAAIRm9udEl0YWxpYwAAAkZvbnROYW1lAAYAAABBcmlhbAABRm9udFNpemUAAAAAAAAAJEAIRm9udFN0cmlrZXRocm91Z2gAAAhGb250U3Vic2NyaXB0AAAIRm9udFN1cGVyc2NyaXB0AAAIRm9udFVuZGVybGluZQAAAAhTaXplVG9UZXh0V2lkdGgAAAhTaXplVG9UZXh0SGVpZ2h0AAADVGV4dE1hcmdpbgA/AAAAAUxlZnQAAAAAAAAAAAABVG9wAAAAAAAAAAAAAVJpZ2h0AAAAAAAAAAAAAUJvdHRvbQAAAAAAAAAAAAACRGlzcGxheVRleHQAEAAAADTigIsvMzAvMjAy4oCLNAABSGVpZ2h0AAAAACDcWSlAAVdpZHRoAAAAAGDYdUhAAVRvcAAAAAAg/7FbQAFMZWZ0AAAAAIDMx3BACEZsaXBIb3Jpem9udGFsbHkAAAhGbGlwSG9yaXpvbnRhbGx5QXBwbGllZAAACEZsaXBWZXJ0aWNhbGx5AAAIRmxpcFZlcnRpY2FsbHlBcHBsaWVkAAABUm90YXRpb24AAAAAAAAAAAABWk9yZGVyAAAAAAAAwFR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Db25uZWN0b3JMaW5lAOEGAAADU3RhcnQAGwAAAAFYAAAAAAABZ3BAAVkAAAAAoDqdX0AAA0VuZAAbAAAAAVgAAAAAAAFncEABWQAAAACgOp1fQAACU3RhcnRBcnJvd0hlYWQAEQAAAG1zb0Fycm93aGVhZE5vbmUAAkVuZEFycm93SGVhZAARAAAAbXNvQXJyb3doZWFkTm9uZQAFTWFuYWdlZElkABAAAAAEdW3qotAVPxwAAAAFGwAAAB0AAADnDwAAAAAAAAAAAABHj1IlaviiKCkISGFzQ2hhbmdlcwAACFVzZU5hbWVJbnN0ZWFkT2ZUYWdBc0lkAAAIU2hhcGVQcmV2aW91c2x5Q3JlYXRlZAAA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A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AAAAAAAAFUb3AAAAAAoDqdX0ABTGVmdAAAAAAAAWdwQAhGbGlwSG9yaXpvbnRhbGx5AAAIRmxpcEhvcml6b250YWxseUFwcGxpZWQAAAhGbGlwVmVydGljYWxseQAACEZsaXBWZXJ0aWNhbGx5QXBwbGllZAAAAVJvdGF0aW9uAAAAAAAAAAAAAVpPcmRlcgAAAAAAAEBUQANCb3JkZXJDb2xvcgBVAAAAEEEA/wAAABBSAAAAAAAQRwCRAAAAEEIA3wAAAAFTY0EAAAAAAAAA8D8BU2NSAAAAAAAAAAAAAVNjRwAAAAAAHB/SPwFTY0IAAAAAYPac5z8AEEJvcmRlclRoZW1lQ29sb3IAAAAAAAFCb3JkZXJUaW50QW5kU2hhZGUAAAAAAAAAAAAQQm9yZGVyU2NoZW1lQ29sb3IAAAAAAAFCb3JkZXJUaGlja25lc3MAAAAAAAAA4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AAk1pbGVzdG9uZUxhYmVsUG9zaXRpb24ACQAAAFRvcFJpZ2h0ABBJbmRleAACAAAAAkRlc2NyaXB0aW9uABAAAAA04oCLLzE0LzIwMuKAizQAAk5hbWUACgAAAE1pbGVzdG9uZQAISXNMZWFkZXJMaW5lSW5BdXRvTW9kZQABCVN0YXJ0VGltZQAA6zDbjgEAAAADMgC6GQAAAl90eXBlAE0AAABlbXBvd2VyLkNoYXJ0cy5EYXRhLkdhbnR0LkNocm9ub2xvZ3kuRGF0YS5NaWxlc3RvbmVEYXRhLCBlbXBvd2VyLkNoYXJ0cy5EYXRhAANTdHlsZQB2BAAAAURlZmF1bHRGb250U2l6ZQAAAAAAAAAkQAFGb250U2l6ZQAAAAAAAAAkQANGb250Q29sb3IAVQAAABBBAP8AAAAQUgAQAAAAEEcAOAAAABBCAE8AAAABU2NBAAAAAAAAAPA/AVNjUgAAAADgNjl1PwFTY0cAAAAAgGc/pD8BU2NCAAAAAGAXBLQ/ABBGb250VGhlbWVDb2xvcgAAAAAAEEZvbnRTY2hlbWVDb2xvcgAAAAAAAUZvbnRUaW50QW5kU2hhZGUAAAAAAAAAAAADUGF0dGVybkNvbG9yAFUAAAAQQQAAAAAAEFIAAAAAABBHAAAAAAAQQgAAAAAAAVNjQQAAAAAAAAAAAAFTY1IAAAAAAAAAAAABU2NHAAAAAAAAAAAAAVNjQgAAAAAAAAAAAAAQUGF0dGVyblRoZW1lQ29sb3IAAAAAAAFQYXR0ZXJuVGludEFuZFNoYWRlAAAAAAAAAAAAA0RhdGFTdHlsZUZvbnRDb2xvclZhbHVlAFUAAAAQQQAAAAAAEFIAAAAAABBHAAAAAAAQQgAAAAAAAVNjQQAAAAAAAAAAAAFTY1IAAAAAAAAAAAABU2NHAAAAAAAAAAAAAVNjQgAAAAAAAAAAAAAIRGF0YVN0eWxlRm9udENvbG9ySGFzVmFsdWUAAAFIZWlnaHQAAAAA4N0yKEACRGFzaFN0eWxlAA0AAABtc29MaW5lU29saWQACEhhc1dpc2hGaWxsQ29sb3IAAANGaWxsQ29sb3IAVQAAABBBAP8AAAAQUgAAAAAAEEcAkQAAABBCAN8AAAABU2NBAAAAAAAAAPA/AVNjUgAAAAAAAAAAAAFTY0cAAAAAABwf0j8BU2NCAAAAAGD2nOc/ABBGaWxsU2NoZW1lQ29sb3IAAAAAABBGaWxsVGhlbWVDb2xvcgAAAAAAAUZpbGxUaW50QW5kU2hhZGUAAAAAAAAAAAADQm9yZGVyQ29sb3IAVQAAABBBAP8AAAAQUgD/AAAAEEcA/wAAABBCAP8AAAABU2NBAAAAAAAAAPA/AVNjUgAAAAAAAADwPwFTY0cAAAAAAAAA8D8BU2NCAAAAAAAAAPA/ABBCb3JkZXJUaGVtZUNvbG9yAAAAAAABQm9yZGVyVGludEFuZFNoYWRlAAAAAAAAAAAACElzRmlsbGVkAAECUGF0dGVybgAQAAAAbXNvUGF0dGVybk1peGVkAAJTaGFwZVR5cGUAEAAAAG1zb1NoYXBlRGlhbW9uZAADTGFiZWxPZmZzZXQAQgAAAAFYAAAAAAAAAAAAAVkA5ElbjaW5NcABTGVuZ3RoAORJW42luTVAAUxlbmd0aFNxdWFyZWQAX3klnrx/fUAAAUJvcmRlclRoaWNrbmVzcwAAAAAAAADwPwhJc0ZvbnRCb2xkAAAISXNGb250SXRhbGljAAAISXNGb250VW5kZXJsaW5lZAAACExhYmVsSGFzQmFja2dyb3VuZAAAAlRleHRBbGlnbm1lbnQABQAAAExlZnQAAAhEaXNwbGF5TGFiZWwAAQhMYWJlbEhhc0JhY2tncm91bmQAAANSZW5kZXJJbmZvAB8UAAADU3ltYm9sAHIGAAACQXV0b1NoYXBlVHlwZQAIAAAARGlhbW9uZAAFTWFuYWdlZElkABAAAAAEb2ADn4qVZkm4ay3eXQe48QhIYXNDaGFuZ2VzAAAIVXNlTmFtZUluc3RlYWRPZlRhZ0FzSWQAAAhTaGFwZVByZXZpb3VzbHlDcmVhdGVkAAADRmlsbENvbG9yAFUAAAAQQQD/AAAAEFIAAAAAABBHAJEAAAAQQgDfAAAAAVNjQQAAAAAAAADwPwFTY1IAAAAAAAAAAAABU2NHAAAAAAAcH9I/AVNjQgAAAABg9pznP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dAAAABRwAAAAeAAAA5w8AAAAAAAAAAAAAAAAAAAAAAUhlaWdodAAAAADg3TIoQAFXaWR0aAAAAADg3TIoQAFUb3AAAAAAoDqdX0ABTGVmdAAAAAAAAWdwQAhGbGlwSG9yaXpvbnRhbGx5AAAIRmxpcEhvcml6b250YWxseUFwcGxpZWQAAAhGbGlwVmVydGljYWxseQAACEZsaXBWZXJ0aWNhbGx5QXBwbGllZAAAAVJvdGF0aW9uAAAAAAAAAAAAAVpPcmRlcgAAAAAAAIBUQANCb3JkZXJDb2xvcgBVAAAAEEEA/wAAABBSAP8AAAAQRwD/AAAAEEIA/wAAAAFTY0EAAAAAAAAA8D8BU2NSAAAAAAAAAPA/AVNjRwAAAAAAAADwPwFTY0IAAAAAAAAA8D8AEEJvcmRlclRoZW1lQ29sb3IAAAAAAAFCb3JkZXJUaW50QW5kU2hhZGUAAAAAAAAAAAAQQm9yZGVyU2NoZW1lQ29sb3IAAAAAAAFCb3JkZXJUaGlja25lc3MAAAAAAAAA8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TGFiZWwAqQYAAAVNYW5hZ2VkSWQAEAAAAARXpLGDROd3Q7GlJMW7h6bBCEhhc0NoYW5nZXMAAAhVc2VOYW1lSW5zdGVhZE9mVGFnQXNJZAAACFNoYXBlUHJldmlvdXNseUNyZWF0ZWQAAQNGaWxsQ29sb3IAVQAAABBBAP8AAAAQUgAAAAAAEEcAkQAAABBCAN8AAAABU2NBAAAAAAAAAPA/AVNjUgAAAAAAAAAAAAFTY0cAAAAAABwf0j8BU2NCAAAAAGD2nO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QAEAAAADTigIsvMzAvMjAy4oCLNAACVGV4dEhvcml6b250YWxBbGlnbm1lbnQADgAAAG1zb0FuY2hvck5vbmUAAlBhcmFncmFwaEFsaWdubWVudAACAAAAMAACVGV4dFZlcnRpY2FsQWxpZ25tZW50ABAAAABtc29BbmNob3JNaWRkbGUAA0ZvbnRTdHlsZQBAAQAAEEZvbnRCYWNrZ3JvdW5kAAAAAAAIRm9udEJvbGQAAANGb250Q29sb3IAVQAAABBBAP8AAAAQUgAQAAAAEEcAOAAAABBCAE8AAAABU2NBAAAAAAAAAPA/AVNjUgAAAADgNjl1PwFTY0cAAAAAgGc/pD8BU2NCAAAAAGAXBLQ/ABBGb250VGhlbWVDb2xvcgAAAAAAAUZvbnRUaW50QW5kU2hhZGUAAAAAAAAAAAAQRm9udFNjaGVtZUNvbG9yAAAAAAAIRm9udEl0YWxpYwAAAkZvbnROYW1lAAYAAABBcmlhbAABRm9udFNpemUAAAAAAAAAJEAIRm9udFN0cmlrZXRocm91Z2gAAAhGb250U3Vic2NyaXB0AAAIRm9udFN1cGVyc2NyaXB0AAAIRm9udFVuZGVybGluZQAAAAhTaXplVG9UZXh0V2lkdGgAAAhTaXplVG9UZXh0SGVpZ2h0AAADVGV4dE1hcmdpbgA/AAAAAUxlZnQAAAAAAAAAAAABVG9wAAAAAAAAAAAAAVJpZ2h0AAAAAAAAAAAAAUJvdHRvbQAAAAAAAAAAAAACRGlzcGxheVRleHQAEAAAADTigIsvMzAvMjAy4oCLNAABSGVpZ2h0AAAAACDcWSlAAVdpZHRoAAAAAGDYdUhAAVRvcAAAAAAg/7FbQAFMZWZ0AAAAAIDMx3BACEZsaXBIb3Jpem9udGFsbHkAAAhGbGlwSG9yaXpvbnRhbGx5QXBwbGllZAAACEZsaXBWZXJ0aWNhbGx5AAAIRmxpcFZlcnRpY2FsbHlBcHBsaWVkAAABUm90YXRpb24AAAAAAAAAAAABWk9yZGVyAAAAAAAAwFR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Db25uZWN0b3JMaW5lAOEGAAADU3RhcnQAGwAAAAFYAAAAAAABZ3BAAVkAAAAAoDqdX0AAA0VuZAAbAAAAAVgAAAAAAAFncEABWQAAAACgOp1fQAACU3RhcnRBcnJvd0hlYWQAEQAAAG1zb0Fycm93aGVhZE5vbmUAAkVuZEFycm93SGVhZAARAAAAbXNvQXJyb3doZWFkTm9uZQAFTWFuYWdlZElkABAAAAAENeOj/1tc+Uy6b6wMC+oM6ghIYXNDaGFuZ2VzAAAIVXNlTmFtZUluc3RlYWRPZlRhZ0FzSWQAAAhTaGFwZVByZXZpb3VzbHlDcmVhdGVkAAA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A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AAAAAAAAVdpZHRoAAAAAAAAAAAAAVRvcAAAAACgOp1fQAFMZWZ0AAAAAAABZ3BACEZsaXBIb3Jpem9udGFsbHkAAAhGbGlwSG9yaXpvbnRhbGx5QXBwbGllZAAACEZsaXBWZXJ0aWNhbGx5AAAIRmxpcFZlcnRpY2FsbHlBcHBsaWVkAAABUm90YXRpb24AAAAAAAAAAAABWk9yZGVyAAAAAAAAQFRAA0JvcmRlckNvbG9yAFUAAAAQQQD/AAAAEFIAAAAAABBHAJEAAAAQQgDfAAAAAVNjQQAAAAAAAADwPwFTY1IAAAAAAAAAAAABU2NHAAAAAAAcH9I/AVNjQgAAAABg9pznPwAQQm9yZGVyVGhlbWVDb2xvcgAAAAAAAUJvcmRlclRpbnRBbmRTaGFkZQAAAAAAAAAAABBCb3JkZXJTY2hlbWVDb2xvcgAAAAAAAUJvcmRlclRoaWNrbmVzcwAAAAAAAADgPwJMaW5lRGFzaFN0eWxlAAoAAABMaW5lU29saWQAAUZpcnN0TGluZUluZGVudAAAAAAAAAAAAAhIYW5naW5nUHVuY3R1YXRpb24AABBJbmRlbnRMZXZlbAAAAAAAAUxlZnRJbmRlbnQAAAAAAAAAAAAITGluZVJ1bGVBZnRlcgAACExpbmVSdWxlQmVmb3JlAAAITGluZVJ1bGVXaXRoaW4AAAFSaWdodEluZGVudAAAAAAAAAAAAAFTcGFjZUFmdGVyAAAAAAAAAAAAHgAAAAUdAAAAHwAAAOcPAAAAAAAAAAAAAAFTcGFjZUJlZm9yZQAAAAAAAAAAAAFTcGFjZVdpdGhpbgAAAAAAAAAAAAAAAk1pbGVzdG9uZUxhYmVsUG9zaXRpb24ACQAAAFRvcFJpZ2h0ABBJbmRleAADAAAAAkRlc2NyaXB0aW9uABAAAAA04oCLLzE0LzIwMuKAizQAAk5hbWUACgAAAE1pbGVzdG9uZQAISXNMZWFkZXJMaW5lSW5BdXRvTW9kZQABCVN0YXJ0VGltZQAA6zDbjgEAAAADMwAdGgAAAl90eXBlAE0AAABlbXBvd2VyLkNoYXJ0cy5EYXRhLkdhbnR0LkNocm9ub2xvZ3kuRGF0YS5NaWxlc3RvbmVEYXRhLCBlbXBvd2VyLkNoYXJ0cy5EYXRhAANTdHlsZQB2BAAAAURlZmF1bHRGb250U2l6ZQAAAAAAAAAkQAFGb250U2l6ZQAAAAAAAAAgQANGb250Q29sb3IAVQAAABBBAP8AAAAQUgAQAAAAEEcAOAAAABBCAE8AAAABU2NBAAAAAAAAAPA/AVNjUgAAAADgNjl1PwFTY0cAAAAAgGc/pD8BU2NCAAAAAGAXBLQ/ABBGb250VGhlbWVDb2xvcgAAAAAAEEZvbnRTY2hlbWVDb2xvcgAAAAAAAUZvbnRUaW50QW5kU2hhZGUAAAAAAAAAAAADUGF0dGVybkNvbG9yAFUAAAAQQQAAAAAAEFIAAAAAABBHAAAAAAAQQgAAAAAAAVNjQQAAAAAAAAAAAAFTY1IAAAAAAAAAAAABU2NHAAAAAAAAAAAAAVNjQgAAAAAAAAAAAAAQUGF0dGVyblRoZW1lQ29sb3IAAAAAAAFQYXR0ZXJuVGludEFuZFNoYWRlAAAAAAAAAAAAA0RhdGFTdHlsZUZvbnRDb2xvclZhbHVlAFUAAAAQQQAAAAAAEFIAAAAAABBHAAAAAAAQQgAAAAAAAVNjQQAAAAAAAAAAAAFTY1IAAAAAAAAAAAABU2NHAAAAAAAAAAAAAVNjQgAAAAAAAAAAAAAIRGF0YVN0eWxlRm9udENvbG9ySGFzVmFsdWUAAAFIZWlnaHQAAAAA4N0yKEACRGFzaFN0eWxlAA0AAABtc29MaW5lU29saWQACEhhc1dpc2hGaWxsQ29sb3IAAANGaWxsQ29sb3IAVQAAABBBAP8AAAAQUgAAAAAAEEcAkQAAABBCAN8AAAABU2NBAAAAAAAAAPA/AVNjUgAAAAAAAAAAAAFTY0cAAAAAABwf0j8BU2NCAAAAAGD2nOc/ABBGaWxsU2NoZW1lQ29sb3IAAAAAABBGaWxsVGhlbWVDb2xvcgAAAAAAAUZpbGxUaW50QW5kU2hhZGUAAAAAAAAAAAADQm9yZGVyQ29sb3IAVQAAABBBAP8AAAAQUgD/AAAAEEcA/wAAABBCAP8AAAABU2NBAAAAAAAAAPA/AVNjUgAAAAAAAADwPwFTY0cAAAAAAAAA8D8BU2NCAAAAAAAAAPA/ABBCb3JkZXJUaGVtZUNvbG9yAAAAAAABQm9yZGVyVGludEFuZFNoYWRlAAAAAAAAAAAACElzRmlsbGVkAAECUGF0dGVybgAQAAAAbXNvUGF0dGVybk1peGVkAAJTaGFwZVR5cGUAEAAAAG1zb1NoYXBlRGlhbW9uZAADTGFiZWxPZmZzZXQAQgAAAAFYAAAAAAAAAAAAAVkAFsS2Y5CyM8ABTGVuZ3RoABbEtmOQsjNAAUxlbmd0aFNxdWFyZWQAhrmTvt8/eEAAAUJvcmRlclRoaWNrbmVzcwAAAAAAAADwPwhJc0ZvbnRCb2xkAAAISXNGb250SXRhbGljAAAISXNGb250VW5kZXJsaW5lZAAACExhYmVsSGFzQmFja2dyb3VuZAAAAlRleHRBbGlnbm1lbnQABQAAAExlZnQAAAhEaXNwbGF5TGFiZWwAAQhMYWJlbEhhc0JhY2tncm91bmQAAANSZW5kZXJJbmZvAGEUAAADU3ltYm9sAHIGAAACQXV0b1NoYXBlVHlwZQAIAAAARGlhbW9uZAAFTWFuYWdlZElkABAAAAAEnQo0+e3BqEmGJeuuSAFuOghIYXNDaGFuZ2VzAAAIVXNlTmFtZUluc3RlYWRPZlRhZ0FzSWQAAAhTaGFwZVByZXZpb3VzbHlDcmVhdGVkAAADRmlsbENvbG9yAFUAAAAQQQD/AAAAEFIAAAAAABBHAJEAAAAQQgDfAAAAAVNjQQAAAAAAAADwPwFTY1IAAAAAAAAAAAABU2NHAAAAAAAcH9I/AVNjQgAAAABg9pznP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ODdMihAAVdpZHRoAAAAAODdMihAAVRvcAAAAACgQY1QQAFMZWZ0AAAAAODlOGBACEZsaXBIb3Jpem9udGFsbHkAAAhGbGlwSG9yaXpvbnRhbGx5QXBwbGllZAAACEZsaXBWZXJ0aWNhbGx5AAAIRmxpcFZlcnRpY2FsbHlBcHBsaWVkAAABUm90YXRpb24AAAAAAAAAAAABWk9yZGVyAAAAAAAAgFRAA0JvcmRlckNvbG9yAFUAAAAQQQD/AAAAEFIA/wAAABBHAP8AAAAQQgD/AAAAAVNjQQAAAAAAAADwPwFTY1IAAAAAAAAA8D8BU2NHAAAAAAAAAPA/AVNjQgAAAAAAAADwPwAQQm9yZGVyVGhlbWVDb2xvcgAAAAAAAUJvcmRlclRpbnRBbmRTaGFkZQAAAAAAAAAAABBCb3JkZXJTY2hlbWVDb2xvcgAAAAAAAUJvcmRlclRoaWNrbmVzcwAAAAAAAADw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MYWJlbADrBgAABU1hbmFnZWRJZAAQAAAABObT0RQUoF5CvTXgcyfjeoEISGFzQ2hhbmdlcwAACFVzZU5hbWVJbnN0ZWFkT2ZUYWdBc0lkAAAIU2hhcGVQcmV2aW91c2x5Q3JlYXRlZAABA0ZpbGxDb2xvcgBVAAAAEEEA/wAAABBSAAAAAAAQRwCRAAAAEEIA3wAAAAFTY0EAAAAAAAAA8D8BU2NSAAAAAAAAAAAAAVNjRwAAAAAAHB/SPwFTY0IAAAAAYPac5z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AAxAAAANOKAiy8xNy8yMDLigIs0IEFjdGl2YWNpw7NuIGVuIHRvZGFzIGxhcyBsaW5lYXMgAAJUZXh0SG9yaXpvbnRhbEFsaWdubWVudAAOAAAAbXNvQW5jaG9yTm9uZQACUGFyYWdyYXBoQWxpZ25tZW50AAIAAAAwAAJUZXh0VmVydGljYWxBbGlnbm1lbnQAEAAAAG1zb0FuY2hvck1pZGRsZQADRm9udFN0eWxlAEABAAAQRm9udEJhY2tncm91bmQAAAAAAAhGb250Qm9sZAAAA0ZvbnRDb2xvcgBVAAAAEEEA/wAAABBSABAAAAAQRwA4AAAAEEIATwAAAAFTY0EAAAAAAAAA8D8BU2NSAAAAAOA2OXU/AVNjRwAAAACAZz+kPwFTY0IAAAAAYBcEtD8AEEZvbnRUaGVtZUNvbG9yAAAAAAABRm9udFRpbnRBbmRTaGFkZQAAAAAAAAAAABBGb250U2NoZW1lQ29sb3IAAAAAAAhGb250SXRhbGljAAACRm9udE5hbWUABgAAAEFyaWFsAAFGb250U2l6ZQAAAAAAAAAgQAhGb250U3RyaWtldGhyb3VnaB8AAAAFHgAAACAAAADnDwAAAAAAAAAAAAAAAAhGb250U3Vic2NyaXB0AAAIRm9udFN1cGVyc2NyaXB0AAAIRm9udFVuZGVybGluZQAAAAhTaXplVG9UZXh0V2lkdGgAAAhTaXplVG9UZXh0SGVpZ2h0AAADVGV4dE1hcmdpbgA/AAAAAUxlZnQAAAAAAAAAAAABVG9wAAAAAAAAAAAAAVJpZ2h0AAAAAAAAAAAAAUJvdHRvbQAAAAAAAAAAAAACRGlzcGxheVRleHQAMQAAADTigIsvMTcvMjAy4oCLNCBBY3RpdmFjacOzbiBlbiB0b2RhcyBsYXMgbGluZWFzIAABSGVpZ2h0AAAAAOCxSyVAAVdpZHRoAAAAACCD4GNAAVRvcAAAAADAlkdKQAFMZWZ0AAAAAMB8+mBACEZsaXBIb3Jpem9udGFsbHkAAAhGbGlwSG9yaXpvbnRhbGx5QXBwbGllZAAACEZsaXBWZXJ0aWNhbGx5AAAIRmxpcFZlcnRpY2FsbHlBcHBsaWVkAAABUm90YXRpb24AAAAAAAAAAAABWk9yZGVyAAAAAAAAwFR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Db25uZWN0b3JMaW5lAOEGAAADU3RhcnQAGwAAAAFYAAAAAODlOGBAAVkAAAAAoEGNUEAAA0VuZAAbAAAAAVgAAAAA4OU4YEABWQAAAACgQY1QQAACU3RhcnRBcnJvd0hlYWQAEQAAAG1zb0Fycm93aGVhZE5vbmUAAkVuZEFycm93SGVhZAARAAAAbXNvQXJyb3doZWFkTm9uZQAFTWFuYWdlZElkABAAAAAECvQbyTkaEk6HPICIvMzogQhIYXNDaGFuZ2VzAAAIVXNlTmFtZUluc3RlYWRPZlRhZ0FzSWQAAAhTaGFwZVByZXZpb3VzbHlDcmVhdGVkAAA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A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AAAAAAAAVdpZHRoAAAAAAAAAAAAAVRvcAAAAACgQY1QQAFMZWZ0AAAAAODlOGBACEZsaXBIb3Jpem9udGFsbHkAAAhGbGlwSG9yaXpvbnRhbGx5QXBwbGllZAAACEZsaXBWZXJ0aWNhbGx5AAAIRmxpcFZlcnRpY2FsbHlBcHBsaWVkAAABUm90YXRpb24AAAAAAAAAAAABWk9yZGVyAAAAAAAAQFRAA0JvcmRlckNvbG9yAFUAAAAQQQD/AAAAEFIAAAAAABBHAJEAAAAQQgDfAAAAAVNjQQAAAAAAAADwPwFTY1IAAAAAAAAAAAABU2NHAAAAAAAcH9I/AVNjQgAAAABg9pznPwAQQm9yZGVyVGhlbWVDb2xvcgAAAAAAAUJvcmRlclRpbnRBbmRTaGFkZQAAAAAAAAAAABBCb3JkZXJTY2hlbWVDb2xvcgAAAAAAAUJvcmRlclRoaWNrbmVzcwAAAAAAAADg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ACTWlsZXN0b25lTGFiZWxQb3NpdGlvbgAJAAAAVG9wUmlnaHQAEEluZGV4AAQAAAACRGVzY3JpcHRpb24AMQAAADTigIsvMTcvMjAy4oCLNCBBY3RpdmFjacOzbiBlbiB0b2RhcyBsYXMgbGluZWFzIAACTmFtZQAKAAAATWlsZXN0b25lAAhJc0xlYWRlckxpbmVJbkF1dG9Nb2RlAAEJU3RhcnRUaW1lAAD/o+qOAQAAAAM0AOEZAAACX3R5cGUATQAAAGVtcG93ZXIuQ2hhcnRzLkRhdGEuR2FudHQuQ2hyb25vbG9neS5EYXRhLk1pbGVzdG9uZURhdGEsIGVtcG93ZXIuQ2hhcnRzLkRhdGEAA1N0eWxlAHYEAAABRGVmYXVsdEZvbnRTaXplAAAAAAAAACRAAUZvbnRTaXplAAAAAAAAACBAA0ZvbnRDb2xvcgBVAAAAEEEA/wAAABBSABAAAAAQRwA4AAAAEEIATwAAAAFTY0EAAAAAAAAA8D8BU2NSAAAAAOA2OXU/AVNjRwAAAACAZz+kPwFTY0IAAAAAYBcEtD8AEEZvbnRUaGVtZUNvbG9yAAAAAAAQRm9udFNjaGVtZUNvbG9yAAAAAAABRm9udFRpbnRBbmRTaGFkZQAAAAAAAAAAAANQYXR0ZXJuQ29sb3IAVQAAABBBAAAAAAAQUgAAAAAAEEcAAAAAABBCAAAAAAABU2NBAAAAAAAAAAAAAVNjUgAAAAAAAAAAAAFTY0cAAAAAAAAAAAABU2NCAAAAAAAAAAAAABBQYXR0ZXJuVGhlbWVDb2xvcgAAAAAAAVBhdHRlcm5UaW50QW5kU2hhZGUAAAAAAAAAAAADRGF0YVN0eWxlRm9udENvbG9yVmFsdWUAVQAAABBBAAAAAAAQUgAAAAAAEEcAAAAAABBCAAAAAAABU2NBAAAAAAAAAAAAAVNjUgAAAAAAAAAAAAFTY0cAAAAAAAAAAAABU2NCAAAAAAAAAAAAAAhEYXRhU3R5bGVGb250Q29sb3JIYXNWYWx1ZQAAAUhlaWdodAAAAADg3TIoQAJEYXNoU3R5bGUADQAAAG1zb0xpbmVTb2xpZAAISGFzV2lzaEZpbGxDb2xvcgAAA0ZpbGxDb2xvcgBVAAAAEEEA/wAAABBSAAAAAAAQRwCRAAAAEEIA3wAAAAFTY0EAAAAAAAAA8D8BU2NSAAAAAAAAAAAAAVNjRwAAAAAAHB/SPwFTY0IAAAAAYPac5z8AEEZpbGxTY2hlbWVDb2xvcgAAAAAAEEZpbGxUaGVtZUNvbG9yAAAAAAABRmlsbFRpbnRBbmRTaGFkZQAAAAAAAAAAAANCb3JkZXJDb2xvcgBVAAAAEEEA/wAAABBSAP8AAAAQRwD/AAAAEEIA/wAAAAFTY0EAAAAAAAAA8D8BU2NSAAAAAAAAAPA/AVNjRwAAAAAAAADwPwFTY0IAAAAAAAAA8D8AEEJvcmRlclRoZW1lQ29sb3IAAAAAAAFCb3JkZXJUaW50QW5kU2hhZGUAAAAAAAAAAAAISXNGaWxsZWQAAQJQYXR0ZXJuABAAAABtc29QYXR0ZXJuTWl4ZWQAAlNoYXBlVHlwZQAQAAAAbXNvU2hhcGVEaWFtb25kAANMYWJlbE9mZnNldABCAAAAAVgAAAAA8G4ZIkABWQAwiG3XsUsVwAFMZW5ndGgAGKipMsb/JEABTGVuZ3RoU3F1YXJlZACSKs5FaI9bQAABQm9yZGVyVGhpY2tuZXNzAAAAAAAAAPA/CElzRm9udEJvbGQAAAhJc0ZvbnRJdGFsaWMAAAhJc0ZvbnRVbmRlcmxpbmVkAAAITGFiZWxIYXNCYWNrZ3JvdW5kAAACVGV4dEFsaWdubWVudAAFAAAATGVmdAAACERpc3BsYXlMYWJlbAABCExhYmUgAAAABR8AAAAhAAAA5w8AAAAAAAAAAAAAbEhhc0JhY2tncm91bmQAAANSZW5kZXJJbmZvADsUAAADU3ltYm9sAHIGAAACQXV0b1NoYXBlVHlwZQAIAAAARGlhbW9uZAAFTWFuYWdlZElkABAAAAAEk24mkCf4VUKfD6EhMtfg6QhIYXNDaGFuZ2VzAAAIVXNlTmFtZUluc3RlYWRPZlRhZ0FzSWQAAAhTaGFwZVByZXZpb3VzbHlDcmVhdGVkAAADRmlsbENvbG9yAFUAAAAQQQD/AAAAEFIAAAAAABBHAJEAAAAQQgDfAAAAAVNjQQAAAAAAAADwPwFTY1IAAAAAAAAAAAABU2NHAAAAAAAcH9I/AVNjQgAAAABg9pznP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ODdMihAAVdpZHRoAAAAAODdMihAAVRvcAAAAACgQY1QQAFMZWZ0AAAAAGDao2RACEZsaXBIb3Jpem9udGFsbHkAAAhGbGlwSG9yaXpvbnRhbGx5QXBwbGllZAAACEZsaXBWZXJ0aWNhbGx5AAAIRmxpcFZlcnRpY2FsbHlBcHBsaWVkAAABUm90YXRpb24AAAAAAAAAAAABWk9yZGVyAAAAAAAAgFRAA0JvcmRlckNvbG9yAFUAAAAQQQD/AAAAEFIA/wAAABBHAP8AAAAQQgD/AAAAAVNjQQAAAAAAAADwPwFTY1IAAAAAAAAA8D8BU2NHAAAAAAAAAPA/AVNjQgAAAAAAAADwPwAQQm9yZGVyVGhlbWVDb2xvcgAAAAAAAUJvcmRlclRpbnRBbmRTaGFkZQAAAAAAAAAAABBCb3JkZXJTY2hlbWVDb2xvcgAAAAAAAUJvcmRlclRoaWNrbmVzcwAAAAAAAADw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MYWJlbADFBgAABU1hbmFnZWRJZAAQAAAABM2okVOdJO9KmUhOHec+AVwISGFzQ2hhbmdlcwAACFVzZU5hbWVJbnN0ZWFkT2ZUYWdBc0lkAAAIU2hhcGVQcmV2aW91c2x5Q3JlYXRlZAABA0ZpbGxDb2xvcgBVAAAAEEEA/wAAABBSAAAAAAAQRwCRAAAAEEIA3wAAAAFTY0EAAAAAAAAA8D8BU2NSAAAAAAAAAAAAAVNjRwAAAAAAHB/SPwFTY0IAAAAAYPac5z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AAeAAAARmluIEh5cGVyY2FyZSA04oCLLzI0LzIwMuKAizQAAlRleHRIb3Jpem9udGFsQWxpZ25tZW50AA4AAABtc29BbmNob3JOb25lAAJQYXJhZ3JhcGhBbGlnbm1lbnQAAgAAADAAAlRleHRWZXJ0aWNhbEFsaWdubWVudAAQAAAAbXNvQW5jaG9yTWlkZGxlAANGb250U3R5bGUAQAEAABBGb250QmFja2dyb3VuZAAAAAAACEZvbnRCb2xkAAADRm9udENvbG9yAFUAAAAQQQD/AAAAEFIAEAAAABBHADgAAAAQQgBPAAAAAVNjQQAAAAAAAADwPwFTY1IAAAAA4DY5dT8BU2NHAAAAAIBnP6Q/AVNjQgAAAABgFwS0PwAQRm9udFRoZW1lQ29sb3IAAAAAAAFGb250VGludEFuZFNoYWRlAAAAAAAAAAAAEEZvbnRTY2hlbWVDb2xvcgAAAAAACEZvbnRJdGFsaWMAAAJGb250TmFtZQAGAAAAQXJpYWwAAUZvbnRTaXplAAAAAAAAACBACEZvbnRTdHJpa2V0aHJvdWdoAAAIRm9udFN1YnNjcmlwdAAACEZvbnRTdXBlcnNjcmlwdAAACEZvbnRVbmRlcmxpbmUAAAAIU2l6ZVRvVGV4dFdpZHRoAAAIU2l6ZVRvVGV4dEhlaWdodAAAA1RleHRNYXJnaW4APwAAAAFMZWZ0AAAAAAAAAAAAAVRvcAAAAAAAAAAAAAFSaWdodAAAAAAAAAAAAAFCb3R0b20AAAAAAAAAAAAAAkRpc3BsYXlUZXh0AB4AAABGaW4gSHlwZXJjYXJlIDTigIsvMjQvMjAy4oCLNAABSGVpZ2h0AAAAAOCxSyVAAVdpZHRoAAAAAIBsN1hAAVRvcAAAAABgtLtQQAFMZWZ0AAAAAEAIh2ZACEZsaXBIb3Jpem9udGFsbHkAAAhGbGlwSG9yaXpvbnRhbGx5QXBwbGllZAAACEZsaXBWZXJ0aWNhbGx5AAAIRmxpcFZlcnRpY2FsbHlBcHBsaWVkAAABUm90YXRpb24AAAAAAAAAAAABWk9yZGVyAAAAAAAAwFR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Db25uZWN0b3JMaW5lAOEGAAADU3RhcnQAGwAAAAFYAAAAAGDao2RAAVkAAAAAoEGNUEAAA0VuZAAbAAAAAVgAAAAAYNqjZEABWQAAAACgQY1QQAACU3RhcnRBcnJvd0hlYWQAEQAAAG1zb0Fycm93aGVhZE5vbmUAAkVuZEFycm93SGVhZAARAAAAbXNvQXJyb3doZWFkTm9uZQAFTWFuYWdlZElkABAAAAAE3Yo5y3CoYEauiVx+XATxmghIYXNDaGFuZ2VzAAAIVXNlTmFtZUluc3RlYWRPZlRhZ0FzSWQAAAhTaGFwZVByZXZpb3VzbHlDcmVhdGVkAAA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AJGaWxsUGF0dGVybgAQAAAAbXNvUGF0dGVybk1peGVkAAJUZXh0SG9yaXpvbnRhbEFsIQAAAAUgAAAAIgAAAOcPAAAAAAAAAAAAA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AAAAAAAAFUb3AAAAAAoEGNUEABTGVmdAAAAABg2qNkQAhGbGlwSG9yaXpvbnRhbGx5AAAIRmxpcEhvcml6b250YWxseUFwcGxpZWQAAAhGbGlwVmVydGljYWxseQAACEZsaXBWZXJ0aWNhbGx5QXBwbGllZAAAAVJvdGF0aW9uAAAAAAAAAAAAAVpPcmRlcgAAAAAAAEBUQANCb3JkZXJDb2xvcgBVAAAAEEEA/wAAABBSAAAAAAAQRwCRAAAAEEIA3wAAAAFTY0EAAAAAAAAA8D8BU2NSAAAAAAAAAAAAAVNjRwAAAAAAHB/SPwFTY0IAAAAAYPac5z8AEEJvcmRlclRoZW1lQ29sb3IAAAAAAAFCb3JkZXJUaW50QW5kU2hhZGUAAAAAAAAAAAAQQm9yZGVyU2NoZW1lQ29sb3IAAAAAAAFCb3JkZXJUaGlja25lc3MAAAAAAAAA4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AAk1pbGVzdG9uZUxhYmVsUG9zaXRpb24ABgAAAFJpZ2h0ABBJbmRleAAFAAAAAkRlc2NyaXB0aW9uAB4AAABGaW4gSHlwZXJjYXJlIDTigIsvMjQvMjAy4oCLNAACTmFtZQAKAAAATWlsZXN0b25lAAhJc0xlYWRlckxpbmVJbkF1dG9Nb2RlAAEJU3RhcnRUaW1lAACDsA6PAQAAAAACTmFtZQAIAAAAQ2ljbG8gMwAISXNIaWdobGlnaHRlZAAACElzU2VwYXJhdG9yTGluZVZpc2libGUAAQNTdHlsZQB0BAAAAURlZmF1bHRGb250U2l6ZQAAAAAAAAAkQAFGb250U2l6ZQAAAAAAAAAkQANGb250Q29sb3IAVQAAABBBAP8AAAAQUgAQAAAAEEcAOAAAABBCAE8AAAABU2NBAAAAAAAAAPA/AVNjUgAAAADgNjl1PwFTY0cAAAAAgGc/pD8BU2NCAAAAAGAXBLQ/ABBGb250VGhlbWVDb2xvcgAAAAAAEEZvbnRTY2hlbWVDb2xvcgAAAAAAAUZvbnRUaW50QW5kU2hhZGUAAAAAAAAAAAADUGF0dGVybkNvbG9yAFUAAAAQQQAAAAAAEFIAAAAAABBHAAAAAAAQQgAAAAAAAVNjQQAAAAAAAAAAAAFTY1IAAAAAAAAAAAABU2NHAAAAAAAAAAAAAVNjQgAAAAAAAAAAAAAQUGF0dGVyblRoZW1lQ29sb3IAAAAAAAFQYXR0ZXJuVGludEFuZFNoYWRlAAAAAAAAAAAAA0RhdGFTdHlsZUZvbnRDb2xvclZhbHVlAFUAAAAQQQD/AAAAEFIAEAAAABBHADgAAAAQQgBPAAAAAVNjQQAAAAAAAADwPwFTY1IAAAAA4DY5dT8BU2NHAAAAAIBnP6Q/AVNjQgAAAABgFwS0PwAIRGF0YVN0eWxlRm9udENvbG9ySGFzVmFsdWUAAQFIZWlnaHQAAAAAAAAAAAACRGFzaFN0eWxlAA0AAABtc29MaW5lU29saWQACEhhc1dpc2hGaWxsQ29sb3IAAQNGaWxsQ29sb3IAVQAAABBBAAAAAAAQUgD/AAAAEEcA/wAAABBCAP8AAAABU2NBAAAAAAAAAAAAAVNjUgAAAAAAAADwPwFTY0cAAAAAAAAA8D8BU2NCAAAAAAAAAPA/ABBGaWxsU2NoZW1lQ29sb3IAAAAAABBGaWxsVGhlbWVDb2xvcgAAAAAAAUZpbGxUaW50QW5kU2hhZGUAAAAAAAAAAAADQm9yZGVyQ29sb3IAVQAAABBBAP8AAAAQUgDjAAAAEEcA4wAAABBCAOMAAAABU2NBAAAAAAAAAPA/AVNjUgAAAADAsZToPwFTY0cAAAAAwLGU6D8BU2NCAAAAAMCxlOg/ABBCb3JkZXJUaGVtZUNvbG9yAAAAAAABQm9yZGVyVGludEFuZFNoYWRlAAAAAAAAAAAACElzRmlsbGVkAAECUGF0dGVybgAQAAAAbXNvUGF0dGVybk1peGVkAAJTaGFwZVR5cGUADgAAAG1zb1NoYXBlTWl4ZWQAA0xhYmVsT2Zmc2V0AEIAAAABWAAAAAAAAAAAAAFZAAAAAAAAAAAAAUxlbmd0aAAAAAAAAAAAAAFMZW5ndGhTcXVhcmVkAAAAAAAAAAAAAAFCb3JkZXJUaGlja25lc3MAAAAAAAAA8D8ISXNGb250Qm9sZAAACElzRm9udEl0YWxpYwAACElzRm9udFVuZGVybGluZWQAAAhMYWJlbEhhc0JhY2tncm91bmQAAAJUZXh0QWxpZ25tZW50AAUAAABMZWZ0AAABUm93VG9wALcaFZmT301AAVJvd0hlaWdodABuNSoyLQU5QANMZWZ0Tm90ZXMAxwQAAANUZXh0U3R5bGUAWwQAAAFEZWZhdWx0Rm9udFNpemUAAAAAAAAAJEABRm9udFNpemUAAAAAAAAAJEADRm9udENvbG9yAFUAAAAQQQD/AAAAEFIAEAAAABBHADgAAAAQQgBPAAAAAVNjQQAAAAAAAADwPwFTY1IAAAAA4DY5dT8BU2NHAAAAAIBnP6Q/AVNjQgAAAABgFwS0PwAQRm9udFRoZW1lQ29sb3IAAAAAABBGb250U2NoZW1lQ29sb3IAAAAAAAFGb250VGludEFuZFNoYWRlAAAAAAAAAAAAA1BhdHRlcm5Db2xvcgBVAAAAEEEAAAAAABBSAAAAAAAQRwAAAAAAEEIAAAAAAAFTY0EAAAAAAAAAAAABU2NSAAAAAAAAAAAAAVNjRwAAAAAAAAAAAAFTY0IAAAAAAAAAAAAAEFBhdHRlcm5UaGVtZUNvbG9yAAAAAAABUGF0dGVyblRpbnRBbmRTaGFkZQAAAAAAAAAAAANEYXRhU3R5bGVGb250Q29sb3JWYWx1ZQBVAAAAEEEA/wAAABBSABAAAAAQRwA4AAAAEEIATwAAAAFTY0EAAAAAAAAA8D8BU2NSAAAAAOA2OXU/AVNjRwAAAACAZz+kPwFTY0IAAAAAYBcEtD8ACERhdGFTdHlsZUZvbnRDb2xvckhhc1ZhbHVlAAEBSGVpZ2h0AAAAAAAAAAAAAkRhc2hTdHlsZQANAAAAbXNvTGluZVNvbGlkAAhIYXNXaXNoRmlsbENvbG9yAAADRmlsbENvbG9yAFUAAAAQQQD/AAAAEFIAAAAAABBHAAAAAAAQQgAAAAAAAVNjQQAAAAAAAADwPwFTY1IAAAAAAAAAAAABU2NHAAAAAAAAAAAAAVNjQgAAAAAAAAAAAAAQRmlsbFNjaGVtZUNvbG9yAAAAAAAQRmlsbFRoZW1lQ29sb3IAAAAAAAFGaWxsVGludEFuZFNoYWRlAAAAAAAAAAAAA0JvcmRlckNvbG9yAFUAAAAQQQAAAAAAEFIAAAAAABBHAAAAAAAQQgAAAAAAAVNjQQAAAAAAAAAAAAFTY1IAAAAAAAAAAAABU2NHAAAAAAAAAAAAAVNjQgAAAAAAAAAAAAAQQm9yZGVyVGhlbWVDb2xvcgAAAAAAAUJvcmRlclRpbnRBbmRTaGFkZQAAAAAAAAAAAAhJc0ZpbGxlZAABAlBhdHRlcm4AEAAAAG1zb1BhdHRlcm5NaXhlZAACU2hhcGVUeXBlAA4AAABtc29TaGFwZU1peGVkAANMYWJlbE9mZnNldABCAAAAAVgAAAAAAAAAAAABWQAAAAAAAAAAAAFMZW5ndGgAAAAAAAAAAAABTGVuZ3RoU3F1YXJlZAAAAAAAAAAAAAAISXNGb250Qm9sZAAACElzRm9udEl0YWxpYwAACElzRm9udFVuZGVybGluZWQAAAhMYWJlbEhhc0JhY2tncm91bmQAAAJUZXh0QWxpZ25tZW50AAUAAABMZWZ0AAAISGFydmV5QmFsbFZpc2libGUAARBIYXJ2ZXlCYWxsVmFsdWUAAAAAAAJDaGVja0JveFN0YXRlAAUAAABOb25lAAJUcmFmZmljTGlnaHRTdGF0ZQAEAAAAT2ZmAAADUmlnaHROb3RlcwDHBAAAA1RleHRTdHlsZQBbBAAAAURlZmF1bHRGb250U2l6ZQAAAAAAAAAkQAFGb250U2l6ZQAAAAAAAAAkQANGb250Q29sb3IAVQAAABBBAP8AAAAQUgAQAAAAEEcAOAAAABBCAE8AAAABU2NBAAAAAAAAAPA/AVNjUgAAAADgNjl1PwFTY0cAAAAAgGc/pD8BU2NCAAAAAGAXBLQ/ABBGb250VGhlbWVDb2xvcgAAAAAAEEZvbnRTY2hlbWVDb2xvcgAAAAAAAUZvbnRUaW50QW5kU2hhZGUAAAAAAAAAAAADUGF0dGVybkNvbG9yAFUAAAAQQQAAAAAAEFIAAAAAABBHAAAAAAAQQgAAAAAAAVNjQQAAAAAAAAAAAAFTY1IAACIAAAAFIQAAACMAAADnDwAAAAAAAAAAAAAAAAAAAAAAAVNjRwAAAAAAAAAAAAFTY0IAAAAAAAAAAAAAEFBhdHRlcm5UaGVtZUNvbG9yAAAAAAABUGF0dGVyblRpbnRBbmRTaGFkZQAAAAAAAAAAAANEYXRhU3R5bGVGb250Q29sb3JWYWx1ZQBVAAAAEEEA/wAAABBSABAAAAAQRwA4AAAAEEIATwAAAAFTY0EAAAAAAAAA8D8BU2NSAAAAAOA2OXU/AVNjRwAAAACAZz+kPwFTY0IAAAAAYBcEtD8ACERhdGFTdHlsZUZvbnRDb2xvckhhc1ZhbHVlAAEBSGVpZ2h0AAAAAAAAAAAAAkRhc2hTdHlsZQANAAAAbXNvTGluZVNvbGlkAAhIYXNXaXNoRmlsbENvbG9yAAADRmlsbENvbG9yAFUAAAAQQQD/AAAAEFIAAAAAABBHAAAAAAAQQgAAAAAAAVNjQQAAAAAAAADwPwFTY1IAAAAAAAAAAAABU2NHAAAAAAAAAAAAAVNjQgAAAAAAAAAAAAAQRmlsbFNjaGVtZUNvbG9yAAAAAAAQRmlsbFRoZW1lQ29sb3IAAAAAAAFGaWxsVGludEFuZFNoYWRlAAAAAAAAAAAAA0JvcmRlckNvbG9yAFUAAAAQQQAAAAAAEFIAAAAAABBHAAAAAAAQQgAAAAAAAVNjQQAAAAAAAAAAAAFTY1IAAAAAAAAAAAABU2NHAAAAAAAAAAAAAVNjQgAAAAAAAAAAAAAQQm9yZGVyVGhlbWVDb2xvcgAAAAAAAUJvcmRlclRpbnRBbmRTaGFkZQAAAAAAAAAAAAhJc0ZpbGxlZAABAlBhdHRlcm4AEAAAAG1zb1BhdHRlcm5NaXhlZAACU2hhcGVUeXBlAA4AAABtc29TaGFwZU1peGVkAANMYWJlbE9mZnNldABCAAAAAVgAAAAAAAAAAAABWQAAAAAAAAAAAAFMZW5ndGgAAAAAAAAAAAABTGVuZ3RoU3F1YXJlZAAAAAAAAAAAAAAISXNGb250Qm9sZAAACElzRm9udEl0YWxpYwAACElzRm9udFVuZGVybGluZWQAAAhMYWJlbEhhc0JhY2tncm91bmQAAAJUZXh0QWxpZ25tZW50AAUAAABMZWZ0AAAISGFydmV5QmFsbFZpc2libGUAARBIYXJ2ZXlCYWxsVmFsdWUAAAAAAAJDaGVja0JveFN0YXRlAAUAAABOb25lAAJUcmFmZmljTGlnaHRTdGF0ZQAEAAAAT2ZmAAADTGVmdE5vdGVzUmVuZGVySW5mbwBhFAAAA0xhYmVsAHQGAAAFTWFuYWdlZElkABAAAAAEmrI3HlItS0+PniEQGknFBQhIYXNDaGFuZ2VzAAEIVXNlTmFtZUluc3RlYWRPZlRhZ0FzSWQAAAhTaGFwZVByZXZpb3VzbHlDcmVhdGVkAAA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AJGaWxsUGF0dGVybgAQAAAAbXNvUGF0dGVybk1peGVkAAJUZXh0AAEAAAA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JEaXNwbGF5VGV4dAABAAAAAAFIZWlnaHQAAAAAAAAA8D8BV2lkdGgAAAAAAAAA8D8BVG9wAAAAAACMlnFAAUxlZnQAAAAAQGX2jU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NlcGFyYXRvckxpbmUA4QYAAANTdGFydAAbAAAAAVgAzczMFjLzjUABWQAAAAAgFRFVQAADRW5kABsAAAABWAAzMzN9mPmNQAFZAAAAACAVEVVAAAJTdGFydEFycm93SGVhZAARAAAAbXNvQXJyb3doZWFkTm9uZQACRW5kQXJyb3dIZWFkABEAAABtc29BcnJvd2hlYWROb25lAAVNYW5hZ2VkSWQAEAAAAARSN1NEBskYSpgNYAyLWs7XCEhhc0NoYW5nZXMAAQhVc2VOYW1lSW5zdGVhZE9mVGFnQXNJZAAACFNoYXBlUHJldmlvdXNseUNyZWF0ZWQAAA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oJmZ6T8BVG9wAAAAACAVEVVAAUxlZnQAAAAAIDLzjUAIRmxpcEhvcml6b250YWxseQAACEZsaXBIb3Jpem9udGFsbHlBcHBsaWVkAAAIRmxpcFZlcnRpY2FsbHkAAAhGbGlwVmVydGljYWxseUFwcGxpZWQAAAFSb3RhdGlvbgAAAAAAAAAAAAFaT3JkZXIAAAAAAACAVUADQm9yZGVyQ29sb3IAVQAAABBBAP8AAAAQUgDjAAAAEEcA4wAAABBCAOMAAAABU2NBAAAAAAAAAPA/AVNjUgAAAADAsZToPwFTY0cAAAAAwLGU6D8BU2NCAAAAAMCxlOg/ABBCb3JkZXJUaGVtZUNvbG9yAAAAAAAjAAAABSIAAAAkAAAA5w8AAAAAAAAAAAAAAUJvcmRlclRpbnRBbmRTaGFkZQAAAAAAAAAAABBCb3JkZXJTY2hlbWVDb2xvcgAAAAAAAUJvcmRlclRoaWNrbmVzcwAAAAAAAADw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SZWN0YW5nbGUAdAYAAAJBdXRvU2hhcGVUeXBlAAoAAABSZWN0YW5nbGUABU1hbmFnZWRJZAAQAAAABLHLvGuudgFJnuGk/4jo0ZoISGFzQ2hhbmdlcwABCFVzZU5hbWVJbnN0ZWFkT2ZUYWdBc0lkAAAIU2hhcGVQcmV2aW91c2x5Q3JlYXRlZAAAA0ZpbGxDb2xvcgBVAAAAEEEAAAAAABBSAP8AAAAQRwD/AAAAEEIA/wAAAAFTY0EAAAAAAAAAAAABU2NSAAAAAAAAAPA/AVNjRwAAAAAAAADwPwFTY0IAAAAAAAAA8D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A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BALQU4QAFXaWR0aAAAAAAAAAAAAAFUb3AAAAAAoJMfTkABTGVmdAAAAABAZe6NQAhGbGlwSG9yaXpvbnRhbGx5AAAIRmxpcEhvcml6b250YWxseUFwcGxpZWQAAAhGbGlwVmVydGljYWxseQAACEZsaXBWZXJ0aWNhbGx5QXBwbGllZAAAAVJvdGF0aW9uAAAAAAAAAAAAAVpPcmRlcgAAAAAAAEBV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EVHJhZmZpY0xpZ2h0RGF0YQAFAAAAAARIYXJ2ZXlCYWxsRGF0YQAFAAAAAAJUcmFmZmljTGlnaHRTdGF0ZQAEAAAAT2ZmAARDaGVja0JveERhdGEABQAAAAACQ2hlY2tCb3hTdGF0ZQAFAAAATm9uZQAAA1JpZ2h0Tm90ZXNSZW5kZXJJbmZvAGEUAAADTGFiZWwAdAYAAAVNYW5hZ2VkSWQAEAAAAARq5tWEooSqR4+Td+VkTJT6CEhhc0NoYW5nZXMAAQhVc2VOYW1lSW5zdGVhZE9mVGFnQXNJZAAACFNoYXBlUHJldmlvdXNseUNyZWF0ZWQAAA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AAkZpbGxQYXR0ZXJuABAAAABtc29QYXR0ZXJuTWl4ZWQAAlRleHQAAQAAA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kRpc3BsYXlUZXh0AAEAAAAAAUhlaWdodAAAAAAAAADwPwFXaWR0aAAAAAAAAADwPwFUb3AAAAAAAIyWcUABTGVmdAAAAABAZfaNQAhGbGlwSG9yaXpvbnRhbGx5AAAIRmxpcEhvcml6b250YWxseUFwcGxpZWQAAAhGbGlwVmVydGljYWxseQAACEZsaXBWZXJ0aWNhbGx5QXBwbGllZAAAAVJvdGF0aW9uAAAAAAAAAAAAAVpPcmRlcgAAAAAAAAAAA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2VwYXJhdG9yTGluZQDhBgAAA1N0YXJ0ABsAAAABWADNzMwWMvONQAFZAAAAACAVEVVAAANFbmQAGwAAAAFYADMzM32Y+Y1AAVkAAAAAIBURVUAAAlN0YXJ0QXJyb3dIZWFkABEAAABtc29BcnJvd2hlYWROb25lAAJFbmRBcnJvd0hlYWQAEQAAAG1zb0Fycm93aGVhZE5vbmUABU1hbmFnZWRJZAAQAAAABAOXOHAuHctNhhb0ROAQPSYISGFzQ2hhbmdlcwABCFVzZU5hbWVJbnN0ZWFkT2ZUYWdBc0lkAAAIU2hhcGVQcmV2aW91c2x5Q3JlYXRlZAAAA0ZpbGxDb2xvcgBVAAAAEEEAAAAAABBSAAAAAAAQRwAAJAAAAAUjAAAAJQAAAOcPAAAAAAAAAAA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oJmZ6T8BVG9wAAAAACAVEVVAAUxlZnQAAAAAIDLzjUAIRmxpcEhvcml6b250YWxseQAACEZsaXBIb3Jpem9udGFsbHlBcHBsaWVkAAAIRmxpcFZlcnRpY2FsbHkAAAhGbGlwVmVydGljYWxseUFwcGxpZWQAAAFSb3RhdGlvbgAAAAAAAAAAAAFaT3JkZXIAAAAAAACAVUADQm9yZGVyQ29sb3IAVQAAABBBAP8AAAAQUgDjAAAAEEcA4wAAABBCAOMAAAABU2NBAAAAAAAAAPA/AVNjUgAAAADAsZToPwFTY0cAAAAAwLGU6D8BU2NCAAAAAMCxlOg/ABBCb3JkZXJUaGVtZUNvbG9yAAAAAAABQm9yZGVyVGludEFuZFNoYWRlAAAAAAAAAAAAEEJvcmRlclNjaGVtZUNvbG9yAAAAAAABQm9yZGVyVGhpY2tuZXNzAAAAAAAAAPA/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JlY3RhbmdsZQB0BgAAAkF1dG9TaGFwZVR5cGUACgAAAFJlY3RhbmdsZQAFTWFuYWdlZElkABAAAAAEidYwmHX+Q06LhoGWzKLC0AhIYXNDaGFuZ2VzAAEIVXNlTmFtZUluc3RlYWRPZlRhZ0FzSWQAAAhTaGFwZVByZXZpb3VzbHlDcmVhdGVkAAADRmlsbENvbG9yAFUAAAAQQQAAAAAAEFIA/wAAABBHAP8AAAAQQgD/AAAAAVNjQQAAAAAAAAAAAAFTY1IAAAAAAAAA8D8BU2NHAAAAAAAAAPA/AVNjQgAAAAAAAADwP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A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EAtBThAAVdpZHRoAAAAAAAAAAAAAVRvcAAAAACgkx9OQAFMZWZ0AAAAAEBl7o1ACEZsaXBIb3Jpem9udGFsbHkAAAhGbGlwSG9yaXpvbnRhbGx5QXBwbGllZAAACEZsaXBWZXJ0aWNhbGx5AAAIRmxpcFZlcnRpY2FsbHlBcHBsaWVkAAABUm90YXRpb24AAAAAAAAAAAABWk9yZGVyAAAAAAAAQFV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RUcmFmZmljTGlnaHREYXRhAAUAAAAABEhhcnZleUJhbGxEYXRhAAUAAAAAAlRyYWZmaWNMaWdodFN0YXRlAAQAAABPZmYABENoZWNrQm94RGF0YQAFAAAAAAJDaGVja0JveFN0YXRlAAUAAABOb25lAAADTGVmdFNpZGVSZW5kZXJJbmZvAB8UAAADTGFiZWwApAYAAAVNYW5hZ2VkSWQAEAAAAASHXStN9LHzSa7NetwVOtyECEhhc0NoYW5nZXMAAAhVc2VOYW1lSW5zdGVhZE9mVGFnQXNJZAAACFNoYXBlUHJldmlvdXNseUNyZWF0ZWQAAQ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QACAAAAENpY2xvIDMAAlRleHRIb3Jpem9udGFsQWxpZ25tZW50AA4AAABtc29BbmNob3JOb25lAAJQYXJhZ3JhcGhBbGlnbm1lbnQADQAAAG1zb0FsaWduTGVmdAACVGV4dFZlcnRpY2FsQWxpZ25tZW50ABAAAABtc29BbmNob3JNaWRkbGUAA0ZvbnRTdHlsZQBAAQAAEEZvbnRCYWNrZ3JvdW5kAAAAAAAIRm9udEJvbGQAAANGb250Q29sb3IAVQAAABBBAP8AAAAQUgAQAAAAEEcAOAAAABBCAE8AAAABU2NBAAAAAAAAAPA/AVNjUgAAAADgNjl1PwFTY0cAAAAAgGc/pD8BU2NCAAAAAGAXBLQ/ABBGb250VGhlbWVDb2xvcgAAACUAAAAFJAAAACYAAADnDwAAAAAAAAAAAAAAAAFGb250VGludEFuZFNoYWRlAAAAAAAAAAAAEEZvbnRTY2hlbWVDb2xvcgAAAAAACEZvbnRJdGFsaWMAAAJGb250TmFtZQAGAAAAQXJpYWwAAUZvbnRTaXplAAAAAAAAACRACEZvbnRTdHJpa2V0aHJvdWdoAAAIRm9udFN1YnNjcmlwdAAACEZvbnRTdXBlcnNjcmlwdAAACEZvbnRVbmRlcmxpbmUAAAAIU2l6ZVRvVGV4dFdpZHRoAAAIU2l6ZVRvVGV4dEhlaWdodAAAA1RleHRNYXJnaW4APwAAAAFMZWZ0AAAAAAAAAAAAAVRvcAAAAAAAAAAAAAFSaWdodAAAAAAAAAAAAAFCb3R0b20AAAAAAAAAAAAAAkRpc3BsYXlUZXh0AAgAAABDaWNsbyAzAAFIZWlnaHQAAAAAYN8LJ0ABV2lkdGgAAAAAgIiIQUABVG9wAAAAAICxn1BAAUxlZnQAAAAAQElcN0AIRmxpcEhvcml6b250YWxseQAACEZsaXBIb3Jpem9udGFsbHlBcHBsaWVkAAAIRmxpcFZlcnRpY2FsbHkAAAhGbGlwVmVydGljYWxseUFwcGxpZWQAAAFSb3RhdGlvbgAAAAAAAAAAAAFaT3JkZXIAAAAAAAAAPk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JlY3RhbmdsZQB0BgAAAkF1dG9TaGFwZVR5cGUACgAAAFJlY3RhbmdsZQAFTWFuYWdlZElkABAAAAAE08wcPXvK9ES8ULI3IBl2HwhIYXNDaGFuZ2VzAAAIVXNlTmFtZUluc3RlYWRPZlRhZ0FzSWQAAAhTaGFwZVByZXZpb3VzbHlDcmVhdGVkAAADRmlsbENvbG9yAFUAAAAQQQAAAAAAEFIA/wAAABBHAP8AAAAQQgD/AAAAAVNjQQAAAAAAAAAAAAFTY1IAAAAAAAAA8D8BU2NHAAAAAAAAAPA/AVNjQgAAAAAAAADwP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A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EAtBThAAVdpZHRoAAAAAACD241AAVRvcAAAAACgkx9OQAFMZWZ0AAAAAABK4gpACEZsaXBIb3Jpem9udGFsbHkAAAhGbGlwSG9yaXpvbnRhbGx5QXBwbGllZAAACEZsaXBWZXJ0aWNhbGx5AAAIRmxpcFZlcnRpY2FsbHlBcHBsaWVkAAABUm90YXRpb24AAAAAAAAAAAABWk9yZGVyAAAAAAAAACZ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TZXBhcmF0b3JMaW5lAOEGAAADU3RhcnQAGwAAAAFYAM3MzMwWrwdAAVkAtxoVGRURVUAAA0VuZAAbAAAAAVgAMzMzfZj5jUABWQC3GhUZFRFVQAACU3RhcnRBcnJvd0hlYWQAEQAAAG1zb0Fycm93aGVhZE5vbmUAAkVuZEFycm93SGVhZAARAAAAbXNvQXJyb3doZWFkTm9uZQAFTWFuYWdlZElkABAAAAAEyXmlTQmzCU6qx1R49FRzuAhIYXNDaGFuZ2VzAAAIVXNlTmFtZUluc3RlYWRPZlRhZ0FzSWQAAAhTaGFwZVByZXZpb3VzbHlDcmVhdGVkAAA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AAAAAAAAVdpZHRoAAAAAGDp4Y1AAVRvcAAAAAAgFRFVQAFMZWZ0AAAAAMAWrwdACEZsaXBIb3Jpem9udGFsbHkAAAhGbGlwSG9yaXpvbnRhbGx5QXBwbGllZAAACEZsaXBWZXJ0aWNhbGx5AAAIRmxpcFZlcnRpY2FsbHlBcHBsaWVkAAABUm90YXRpb24AAAAAAAAAAAABWk9yZGVyAAAAAAAAAChAA0JvcmRlckNvbG9yAFUAAAAQQQD/AAAAEFIA4wAAABBHAOMAAAAQQgDjAAAAAVNjQQAAAAAAAADwPwFTY1IAAAAAwLGU6D8BU2NHAAAAAMCxlOg/AVNjQgAAAADAsZToPwAQQm9yZGVyVGhlbWVDb2xvcgAAAAAAAUJvcmRlclRpbnRBbmRTaGFkZQAAAAAAAAAmAAAABSUAAAAnAAAA5w8AAAAAAAAAAAAAAAAQQm9yZGVyU2NoZW1lQ29sb3IAAAAAAAFCb3JkZXJUaGlja25lc3MAAAAAAAAA8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AAAMxAPu1AAAQX2lkAAMAAAAESXRlbXMASGoAAAMwAI4cAAACX3R5cGUASwAAAGVtcG93ZXIuQ2hhcnRzLkRhdGEuR2FudHQuQ2hyb25vbG9neS5EYXRhLkJhclRhc2tEYXRhLCBlbXBvd2VyLkNoYXJ0cy5EYXRhAAJMYWJlbFBvc2l0aW9uAAcAAABDZW50ZXIACElzTGFiZWxJbnNpZGVCb3VuZHMAAQNTdHlsZQBbBAAAAURlZmF1bHRGb250U2l6ZQAAAAAAAAAkQAFGb250U2l6ZQAAAAAAAAAgQANGb250Q29sb3IAVQAAABBBAP8AAAAQUgAQAAAAEEcAOAAAABBCAE8AAAABU2NBAAAAAAAAAPA/AVNjUgAAAADgNjl1PwFTY0cAAAAAgGc/pD8BU2NCAAAAAGAXBLQ/ABBGb250VGhlbWVDb2xvcgAAAAAAEEZvbnRTY2hlbWVDb2xvcgAAAAAAAUZvbnRUaW50QW5kU2hhZGUAAAAAAAAAAAADUGF0dGVybkNvbG9yAFUAAAAQQQAAAAAAEFIAAAAAABBHAAAAAAAQQgAAAAAAAVNjQQAAAAAAAAAAAAFTY1IAAAAAAAAAAAABU2NHAAAAAAAAAAAAAVNjQgAAAAAAAAAAAAAQUGF0dGVyblRoZW1lQ29sb3IAAAAAAAFQYXR0ZXJuVGludEFuZFNoYWRlAAAAAAAAAAAAA0RhdGFTdHlsZUZvbnRDb2xvclZhbHVlAFUAAAAQQQAAAAAAEFIAAAAAABBHAAAAAAAQQgAAAAAAAVNjQQAAAAAAAAAAAAFTY1IAAAAAAAAAAAABU2NHAAAAAAAAAAAAAVNjQgAAAAAAAAAAAAAIRGF0YVN0eWxlRm9udENvbG9ySGFzVmFsdWUAAAFIZWlnaHQAAAAA4N0yKEACRGFzaFN0eWxlAA0AAABtc29MaW5lU29saWQACEhhc1dpc2hGaWxsQ29sb3IAAANGaWxsQ29sb3IAVQAAABBBAP8AAAAQUgCZAAAAEEcA0wAAABBCAPIAAAABU2NBAAAAAAAAAPA/AVNjUgAAAAAgEmPUPwFTY0cAAAAAoFDY5D8BU2NCAAAAAMDdaew/ABBGaWxsU2NoZW1lQ29sb3IAAAAAABBGaWxsVGhlbWVDb2xvcgAAAAAAAUZpbGxUaW50QW5kU2hhZGUAAAAAAAAAAAADQm9yZGVyQ29sb3IAVQAAABBBAAAAAAAQUgAAAAAAEEcAAAAAABBCAAAAAAABU2NBAAAAAAAAAAAAAVNjUgAAAAAAAAAAAAFTY0cAAAAAAAAAAAABU2NCAAAAAAAAAAAAABBCb3JkZXJUaGVtZUNvbG9yAAAAAAABQm9yZGVyVGludEFuZFNoYWRlAAAAAAAAAAAACElzRmlsbGVkAAECUGF0dGVybgAQAAAAbXNvUGF0dGVybk1peGVkAAJTaGFwZVR5cGUADgAAAG1zb1NoYXBlTWl4ZWQAA0xhYmVsT2Zmc2V0AEIAAAABWAAAAAAAAAAAAAFZAAAAAAAAAAAAAUxlbmd0aAAAAAAAAAAAAAFMZW5ndGhTcXVhcmVkAAAAAAAAAAAAAAhJc0ZvbnRCb2xkAAAISXNGb250SXRhbGljAAAISXNGb250VW5kZXJsaW5lZAAACExhYmVsSGFzQmFja2dyb3VuZAAAAlRleHRBbGlnbm1lbnQABQAAAExlZnQAAAhEaXNwbGF5TGFiZWwAAQNSZW5kZXJJbmZvAAcXAAADUmVjdGFuZ2xlRnJlZWZvcm0A/AgAAARWZXJ0aWNlcwCbAgAAAzAALAAAABBJbmRleDAAAAAAABBJbmRleDEAAAAAAAFWYWx1ZQAAAACg4MNkQAADMQAsAAAAEEluZGV4MAAAAAAAEEluZGV4MQABAAAAAVZhbHVlAAAAAOCMzlZAAAMyACwAAAAQSW5kZXgwAAEAAAAQSW5kZXgxAAAAAAABVmFsdWUAAAAAoODDZEAAAzMALAAAABBJbmRleDAAAQAAABBJbmRleDEAAQAAAAFWYWx1ZQAAAADAulFYQAADNAAsAAAAEEluZGV4MAACAAAAEEluZGV4MQAAAAAAAVZhbHVlAAAAAKDgw2RAAAM1ACwAAAAQSW5kZXgwAAIAAAAQSW5kZXgxAAEAAAABVmFsdWUAAAAAoOjUWUAAAzYALAAAABBJbmRleDAAAwAAABBJbmRleDEAAAAAAAFWYWx1ZQAAAAAAuPRxQAADNwAsAAAAEEluZGV4MAADAAAAEEluZGV4MQABAAAAAVZhbHVlAAAAAKDo1FlAAAM4ACwAAAAQSW5kZXgwAAQAAAAQSW5kZXgxAAAAAAABVmFsdWUAAAAAALj0cUAAAzkALAAAABBJbmRleDAABAAAABBJbmRleDEAAQAAAAFWYWx1ZQAAAADAulFYQAADMTAALAAAABBJbmRleDAABQAAABBJbmRleDEAAAAAAAFWYWx1ZQAAAAAAuPRxQAADMTEALAAAABBJbmRleDAABQAAABBJbmRleDEAAQAAAAFWYWx1ZQAAAADgjM5WQAADMTIALAAAABBJbmRleDAABgAAABBJbmRleDEAAAAAAAFWYWx1ZQAAAACg4MNkQAADMTMALAAAABBJbmRleDAABgAAABBJbmRleDEAAQAAAAFWYWx1ZQAAAADgjM5WQAAABU1hbmFnZWRJZAAQAAAABHt77c0z+qtDt70UkNvu4BYISGFzQ2hhbmdlcwAACFVzZU5hbWVJbnN0ZWFkT2ZUYWdBc0lkAAAIU2hhcGVQcmV2aW91c2x5Q3JlYXRlZAAAA0ZpbGxDb2xvcgBVAAAAEEEA/wAAABBSAJkAAAAQRwDTAAAAEEIA8gAAAAFTY0EAAAAAAAAA8D8BU2NSAAAAACASY9Q/AVNjRwAAAACgUNjkPwFTY0IAAAAAwN1p7D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Dg3TIoQAFXaWR0aAAAAACAHkteQAFUb3AAAAAA4IzOVkABTGVmdAAAAACg4MNkQAhGbGlwSG9yaXpvbnRhbGx5AAAIRmxpcEhvcml6b250YWxseUFwcGxpZWQAAAhGbGlwVmVydGljYWxseQAACEZsaXBWZXJ0aWNhbGx5QXBwbGllZAAAAVJvdGF0aW9uAAAAAAAAAAAAAVpPcmRlcgAAAAAAAIBRQANCb3JkZXJDb2xvcgBVAAAAEEEA/wAAABBSAP8AAAAQRwD/AAAAEEIA/wAAAAFTY0EAAAAAAAAA8D8BU2NSAAAAAAAAAPA/AVNjRwAAAAAAAADwPwFTY0IAAAAAAAAA8D8AEEJvcmRlclRoZW1lQ29sb3IAAAAAAAFCb3JkZXJUaW50QW5kU2hhZGUAAAAAAAAAAAAQQm9yZGVyU2NoZW1lQ29sb3IAAAAAAAFCb3JkZXJUaGlja25lc3MAAAAAAAAA8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QmFyU3R5bGVEYXRhACYAAAACQmFyU3R5bGVTaGFwZVR5cGUACgAAAFJlY3RhbmdsZQAAA0xhYmVsAMQGAAAFTWFuYWdlZElkABAAAAAEgGxoB3ruu06sboW5tpg8lwhIYXNDaGFuZ2VzAAAIVXNlTmFtZUluc3RlYWRPZlRhZ0FzSWQAJwAAAAUmAAAAKAAAAOcPAAAAAAAAAAAAAAAIU2hhcGVQcmV2aW91c2x5Q3JlYXRlZAABA0ZpbGxDb2xvcgBVAAAAEEEA/wAAABBSAJkAAAAQRwDTAAAAEEIA8gAAAAFTY0EAAAAAAAAA8D8BU2NSAAAAACASY9Q/AVNjRwAAAACgUNjkPwFTY0IAAAAAwN1p7D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AAXAAAARGVzYXJyb2xsbyBkZSBSZXBvcnRlcwACVGV4dEhvcml6b250YWxBbGlnbm1lbnQADgAAAG1zb0FuY2hvck5vbmUAAlBhcmFncmFwaEFsaWdubWVudAAPAAAAbXNvQWxpZ25DZW50ZXIAAlRleHRWZXJ0aWNhbEFsaWdubWVudAAQAAAAbXNvQW5jaG9yTWlkZGxlAANGb250U3R5bGUAQAEAABBGb250QmFja2dyb3VuZAAAAAAACEZvbnRCb2xkAAADRm9udENvbG9yAFUAAAAQQQD/AAAAEFIAEAAAABBHADgAAAAQQgBPAAAAAVNjQQAAAAAAAADwPwFTY1IAAAAA4DY5dT8BU2NHAAAAAIBnP6Q/AVNjQgAAAABgFwS0PwAQRm9udFRoZW1lQ29sb3IAAAAAAAFGb250VGludEFuZFNoYWRlAAAAAAAAAAAAEEZvbnRTY2hlbWVDb2xvcgAAAAAACEZvbnRJdGFsaWMAAAJGb250TmFtZQAGAAAAQXJpYWwAAUZvbnRTaXplAAAAAAAAACBACEZvbnRTdHJpa2V0aHJvdWdoAAAIRm9udFN1YnNjcmlwdAAACEZvbnRTdXBlcnNjcmlwdAAACEZvbnRVbmRlcmxpbmUAAAAIU2l6ZVRvVGV4dFdpZHRoAAAIU2l6ZVRvVGV4dEhlaWdodAAAA1RleHRNYXJnaW4APwAAAAFMZWZ0AAAAAAAAAAAAAVRvcAAAAAAAAAAAAAFSaWdodAAAAAAAAAAAAAFCb3R0b20AAAAAAAAAAAAAAkRpc3BsYXlUZXh0ABcAAABEZXNhcnJvbGxvIGRlIFJlcG9ydGVzAAFIZWlnaHQAAAAAABZcI0ABV2lkdGgAAAAAIBGxVEABVG9wAAAAAGD5G1dAAUxlZnQAAAAAAGQqZ0AIRmxpcEhvcml6b250YWxseQAACEZsaXBIb3Jpem9udGFsbHlBcHBsaWVkAAAIRmxpcFZlcnRpY2FsbHkAAAhGbGlwVmVydGljYWxseUFwcGxpZWQAAAFSb3RhdGlvbgAAAAAAAAAAAAFaT3JkZXIAAAAAAAAAUk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Nvbm5lY3RvckxpbmVEYXRhAOEGAAADU3RhcnQAGwAAAAFYAAAAAKDgw2RAAVkAAAAA4IzOVkAAA0VuZAAbAAAAAVgAAAAAoODDZEABWQAAAADgjM5WQAACU3RhcnRBcnJvd0hlYWQAEQAAAG1zb0Fycm93aGVhZE5vbmUAAkVuZEFycm93SGVhZAARAAAAbXNvQXJyb3doZWFkTm9uZQAFTWFuYWdlZElkABAAAAAEPOdzCVYEw0+qfV9DK40BaAhIYXNDaGFuZ2VzAAAIVXNlTmFtZUluc3RlYWRPZlRhZ0FzSWQAAAhTaGFwZVByZXZpb3VzbHlDcmVhdGVkAAA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A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AAAAAAAAVdpZHRoAAAAAAAAAAAAAVRvcAAAAADgjM5WQAFMZWZ0AAAAAKDgw2RACEZsaXBIb3Jpem9udGFsbHkAAAhGbGlwSG9yaXpvbnRhbGx5QXBwbGllZAAACEZsaXBWZXJ0aWNhbGx5AAAIRmxpcFZlcnRpY2FsbHlBcHBsaWVkAAABUm90YXRpb24AAAAAAAAAAAABWk9yZGVyAAAAAAAAwFFAA0JvcmRlckNvbG9yAFUAAAAQQQD/AAAAEFIAmQAAABBHANMAAAAQQgDyAAAAAVNjQQAAAAAAAADwPwFTY1IAAAAAIBJj1D8BU2NHAAAAAKBQ2OQ/AVNjQgAAAADA3WnsPw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AJRW5kVGltZQAAxyKFjwEAABBJbmRleAABAAAAAkRlc2NyaXB0aW9uABcAAABEZXNhcnJvbGxvIGRlIFJlcG9ydGVzAAJOYW1lAAUAAABUYXNrAAhJc0xlYWRlckxpbmVJbkF1dG9Nb2RlAAEJU3RhcnRUaW1lAACDsA6PAQAAAAMxACAaAAACX3R5cGUATQAAAGVtcG93ZXIuQ2hhcnRzLkRhdGEuR2FudHQuQ2hyb25vbG9neS5EYXRhLk1pbGVzdG9uZURhdGEsIGVtcG93ZXIuQ2hhcnRzLkRhdGEAA1N0eWxlAHYEAAABRGVmYXVsdEZvbnRTaXplAAAAAAAAACRAAUZvbnRTaXplAAAAAAAAACBAA0ZvbnRDb2xvcgBVAAAAEEEA/wAAABBSABAAAAAQRwA4AAAAEEIATwAAAAFTY0EAAAAAAAAA8D8BU2NSAAAAAOA2OXU/AVNjRwAAAACAZz+kPwFTY0IAAAAAYBcEtD8AEEZvbnRUaGVtZUNvbG9yAAAAAAAQRm9udFNjaGVtZUNvbG9yAAAAAAABRm9udFRpbnRBbmRTaGFkZQAAAAAAAAAAAANQYXR0ZXJuQ29sb3IAVQAAABBBAAAAAAAQUgAAAAAAEEcAAAAAABBCAAAAAAABU2NBAAAAAAAAAAAAAVNjUgAAAAAAAAAAAAFTY0cAAAAAAAAAAAABU2NCAAAAAAAAAAAAABBQYXR0ZXJuVGhlbWVDb2xvcgAAAAAAAVBhdHRlcm5UaW50QW5kU2hhZGUAAAAAAAAAAAADRGF0YVN0eWxlRm9udENvbG9yVmFsdWUAVQAAABBBAAAAAAAQUgAAACgAAAAFJwAAACkAAADnDwAAAAAAAAAAAAAAABBHAAAAAAAQQgAAAAAAAVNjQQAAAAAAAAAAAAFTY1IAAAAAAAAAAAABU2NHAAAAAAAAAAAAAVNjQgAAAAAAAAAAAAAIRGF0YVN0eWxlRm9udENvbG9ySGFzVmFsdWUAAAFIZWlnaHQAAAAA4N0yKEACRGFzaFN0eWxlAA0AAABtc29MaW5lU29saWQACEhhc1dpc2hGaWxsQ29sb3IAAANGaWxsQ29sb3IAVQAAABBBAP8AAAAQUgAAAAAAEEcAkQAAABBCAN8AAAABU2NBAAAAAAAAAPA/AVNjUgAAAAAAAAAAAAFTY0cAAAAAABwf0j8BU2NCAAAAAGD2nOc/ABBGaWxsU2NoZW1lQ29sb3IAAAAAABBGaWxsVGhlbWVDb2xvcgAAAAAAAUZpbGxUaW50QW5kU2hhZGUAAAAAAAAAAAADQm9yZGVyQ29sb3IAVQAAABBBAP8AAAAQUgD/AAAAEEcA/wAAABBCAP8AAAABU2NBAAAAAAAAAPA/AVNjUgAAAAAAAADwPwFTY0cAAAAAAAAA8D8BU2NCAAAAAAAAAPA/ABBCb3JkZXJUaGVtZUNvbG9yAAAAAAABQm9yZGVyVGludEFuZFNoYWRlAAAAAAAAAAAACElzRmlsbGVkAAECUGF0dGVybgAQAAAAbXNvUGF0dGVybk1peGVkAAJTaGFwZVR5cGUAEAAAAG1zb1NoYXBlRGlhbW9uZAADTGFiZWxPZmZzZXQAQgAAAAFYAAAAAAAAAAAAAVkAAAAA8G4ZIkABTGVuZ3RoAAAAAPBuGSJAAUxlbmd0aFNxdWFyZWQAEDKvCWJ5VEAAAUJvcmRlclRoaWNrbmVzcwAAAAAAAADwPwhJc0ZvbnRCb2xkAAAISXNGb250SXRhbGljAAAISXNGb250VW5kZXJsaW5lZAAACExhYmVsSGFzQmFja2dyb3VuZAAAAlRleHRBbGlnbm1lbnQABQAAAExlZnQAAAhEaXNwbGF5TGFiZWwAAQhMYWJlbEhhc0JhY2tncm91bmQAAANSZW5kZXJJbmZvAGEUAAADU3ltYm9sAHIGAAACQXV0b1NoYXBlVHlwZQAIAAAARGlhbW9uZAAFTWFuYWdlZElkABAAAAAEgP+mgnYqjE2vdZVZaxPRtghIYXNDaGFuZ2VzAAAIVXNlTmFtZUluc3RlYWRPZlRhZ0FzSWQAAAhTaGFwZVByZXZpb3VzbHlDcmVhdGVkAAADRmlsbENvbG9yAFUAAAAQQQD/AAAAEFIAAAAAABBHAJEAAAAQQgDfAAAAAVNjQQAAAAAAAADwPwFTY1IAAAAAAAAAAAABU2NHAAAAAAAcH9I/AVNjQgAAAABg9pznP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ODdMihAAVdpZHRoAAAAAODdMihAAVRvcAAAAADgjM5WQAFMZWZ0AAAAAABrRWVACEZsaXBIb3Jpem9udGFsbHkAAAhGbGlwSG9yaXpvbnRhbGx5QXBwbGllZAAACEZsaXBWZXJ0aWNhbGx5AAAIRmxpcFZlcnRpY2FsbHlBcHBsaWVkAAABUm90YXRpb24AAAAAAAAAAAABWk9yZGVyAAAAAAAAgFRAA0JvcmRlckNvbG9yAFUAAAAQQQD/AAAAEFIA/wAAABBHAP8AAAAQQgD/AAAAAVNjQQAAAAAAAADwPwFTY1IAAAAAAAAA8D8BU2NHAAAAAAAAAPA/AVNjQgAAAAAAAADwPwAQQm9yZGVyVGhlbWVDb2xvcgAAAAAAAUJvcmRlclRpbnRBbmRTaGFkZQAAAAAAAAAAABBCb3JkZXJTY2hlbWVDb2xvcgAAAAAAAUJvcmRlclRoaWNrbmVzcwAAAAAAAADw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MYWJlbADrBgAABU1hbmFnZWRJZAAQAAAABJmZfVc1oPZAr3FSlBnj7NEISGFzQ2hhbmdlcwAACFVzZU5hbWVJbnN0ZWFkT2ZUYWdBc0lkAAAIU2hhcGVQcmV2aW91c2x5Q3JlYXRlZAABA0ZpbGxDb2xvcgBVAAAAEEEA/wAAABBSAAAAAAAQRwCRAAAAEEIA3wAAAAFTY0EAAAAAAAAA8D8BU2NSAAAAAAAAAAAAAVNjRwAAAAAAHB/SPwFTY0IAAAAAYPac5z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AAxAAAANOKAiy8yNS8yMDLigIs0IFJldmlzacOzbiBlc3RydWN0dXJhIGRlIHJlcG9ydGVzAAJUZXh0SG9yaXpvbnRhbEFsaWdubWVudAAOAAAAbXNvQW5jaG9yTm9uZQACUGFyYWdyYXBoQWxpZ25tZW50AAIAAAAwAAJUZXh0VmVydGljYWxBbGlnbm1lbnQAEAAAAG1zb0FuY2hvck1pZGRsZQADRm9udFN0eWxlAEABAAAQRm9udEJhY2tncm91bmQAAAAAAAhGb250Qm9sZAAAA0ZvbnRDb2xvcgBVAAAAEEEA/wAAABBSABAAAAAQRwA4AAAAEEIATwAAAAFTY0EAAAAAAAAA8D8BU2NSAAAAAOA2OXU/AVNjRwAAAACAZz+kPwFTY0IAAAAAYBcEtD8AEEZvbnRUaGVtZUNvbG9yAAAAAAABRm9udFRpbnRBbmRTaGFkZQAAAAAAAAAAABBGb250U2NoZW1lQ29sb3IAAAAAAAhGb250SXRhbGljAAACRm9udE5hbWUABgAAAEFyaWFsAAFGb250U2l6ZQAAAAAAAAAgQAhGb250U3RyaWtldGhyb3VnaAAACEZvbnRTdWJzY3JpcHQAAAhGb250U3VwZXJzY3JpcHQAAAhGb250VW5kZXJsaW5lAAAACFNpemVUb1RleHRXaWR0aAAACFNpemVUb1RleHRIZWlnaHQAAANUZXh0TWFyZ2luAD8AAAABTGVmdAAAAAAAAAAAAAFUb3AAAAAAAAAAAAABUmlnaHQAAAAAAAAAAAABQm90dG9tAAAAAAAAAAAAAAJEaXNwbGF5VGV4dAAxAAAANOKAiy8yNS8yMDLigIs0IFJldmlzacOzbiBlc3RydWN0dXJhIGRlIHJlcG9ydGVzAAFIZWlnaHQAAAAA4LFLJUABV2lkdGgAAAAAwJB8ZEABVG9wAAAAAKDolFpAAUxlZnQAAAAA4AEHZkAIRmxpcEhvcml6b250YWxseQAACEZsaXBIb3Jpem9udGFsbHlBcHBsaWVkAAAIRmxpcFZlcnRpY2FsbHkAAAhGbGlwVmVydGljYWxseUFwcGxpZWQAAAFSb3RhdGlvbgAAAAAAAAAAAAFaT3JkZXIAAAAAAADAVE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pAAAABSgAAAAqAAAA5w8AAAAAAAAAAAAAAAAAAUxlZnRJbmRlbnQAAAAAAAAAAAAITGluZVJ1bGVBZnRlcgAACExpbmVSdWxlQmVmb3JlAAAITGluZVJ1bGVXaXRoaW4AAAFSaWdodEluZGVudAAAAAAAAAAAAAFTcGFjZUFmdGVyAAAAAAAAAAAAAVNwYWNlQmVmb3JlAAAAAAAAAAAAAVNwYWNlV2l0aGluAAAAAAAAAAAAAANDb25uZWN0b3JMaW5lAOEGAAADU3RhcnQAGwAAAAFYAAAAAABrRWVAAVkAAAAA4IzOVkAAA0VuZAAbAAAAAVgAAAAAAGtFZUABWQAAAADgjM5WQAACU3RhcnRBcnJvd0hlYWQAEQAAAG1zb0Fycm93aGVhZE5vbmUAAkVuZEFycm93SGVhZAARAAAAbXNvQXJyb3doZWFkTm9uZQAFTWFuYWdlZElkABAAAAAEC+/u49RzUkuqGZFpE6pDmQhIYXNDaGFuZ2VzAAAIVXNlTmFtZUluc3RlYWRPZlRhZ0FzSWQAAAhTaGFwZVByZXZpb3VzbHlDcmVhdGVkAAA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A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AAAAAAAAVdpZHRoAAAAAAAAAAAAAVRvcAAAAADgjM5WQAFMZWZ0AAAAAABrRWVACEZsaXBIb3Jpem9udGFsbHkAAAhGbGlwSG9yaXpvbnRhbGx5QXBwbGllZAAACEZsaXBWZXJ0aWNhbGx5AAAIRmxpcFZlcnRpY2FsbHlBcHBsaWVkAAABUm90YXRpb24AAAAAAAAAAAABWk9yZGVyAAAAAAAAQFRAA0JvcmRlckNvbG9yAFUAAAAQQQD/AAAAEFIAAAAAABBHAJEAAAAQQgDfAAAAAVNjQQAAAAAAAADwPwFTY1IAAAAAAAAAAAABU2NHAAAAAAAcH9I/AVNjQgAAAABg9pznPwAQQm9yZGVyVGhlbWVDb2xvcgAAAAAAAUJvcmRlclRpbnRBbmRTaGFkZQAAAAAAAAAAABBCb3JkZXJTY2hlbWVDb2xvcgAAAAAAAUJvcmRlclRoaWNrbmVzcwAAAAAAAADg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ACTWlsZXN0b25lTGFiZWxQb3NpdGlvbgAMAAAAQm90dG9tUmlnaHQAEEluZGV4AAIAAAACRGVzY3JpcHRpb24AMQAAADTigIsvMjUvMjAy4oCLNCBSZXZpc2nDs24gZXN0cnVjdHVyYSBkZSByZXBvcnRlcwACTmFtZQAKAAAATWlsZXN0b25lAAhJc0xlYWRlckxpbmVJbkF1dG9Nb2RlAAEJU3RhcnRUaW1lAADf1hOPAQAAAAMyANIZAAACX3R5cGUATQAAAGVtcG93ZXIuQ2hhcnRzLkRhdGEuR2FudHQuQ2hyb25vbG9neS5EYXRhLk1pbGVzdG9uZURhdGEsIGVtcG93ZXIuQ2hhcnRzLkRhdGEAA1N0eWxlAHYEAAABRGVmYXVsdEZvbnRTaXplAAAAAAAAACRAAUZvbnRTaXplAAAAAAAAACBAA0ZvbnRDb2xvcgBVAAAAEEEA/wAAABBSABAAAAAQRwA4AAAAEEIATwAAAAFTY0EAAAAAAAAA8D8BU2NSAAAAAOA2OXU/AVNjRwAAAACAZz+kPwFTY0IAAAAAYBcEtD8AEEZvbnRUaGVtZUNvbG9yAAAAAAAQRm9udFNjaGVtZUNvbG9yAAAAAAABRm9udFRpbnRBbmRTaGFkZQAAAAAAAAAAAANQYXR0ZXJuQ29sb3IAVQAAABBBAAAAAAAQUgAAAAAAEEcAAAAAABBCAAAAAAABU2NBAAAAAAAAAAAAAVNjUgAAAAAAAAAAAAFTY0cAAAAAAAAAAAABU2NCAAAAAAAAAAAAABBQYXR0ZXJuVGhlbWVDb2xvcgAAAAAAAVBhdHRlcm5UaW50QW5kU2hhZGUAAAAAAAAAAAADRGF0YVN0eWxlRm9udENvbG9yVmFsdWUAVQAAABBBAAAAAAAQUgAAAAAAEEcAAAAAABBCAAAAAAABU2NBAAAAAAAAAAAAAVNjUgAAAAAAAAAAAAFTY0cAAAAAAAAAAAABU2NCAAAAAAAAAAAAAAhEYXRhU3R5bGVGb250Q29sb3JIYXNWYWx1ZQAAAUhlaWdodAAAAADg3TIoQAJEYXNoU3R5bGUADQAAAG1zb0xpbmVTb2xpZAAISGFzV2lzaEZpbGxDb2xvcgAAA0ZpbGxDb2xvcgBVAAAAEEEA/wAAABBSAAAAAAAQRwCRAAAAEEIA3wAAAAFTY0EAAAAAAAAA8D8BU2NSAAAAAAAAAAAAAVNjRwAAAAAAHB/SPwFTY0IAAAAAYPac5z8AEEZpbGxTY2hlbWVDb2xvcgAAAAAAEEZpbGxUaGVtZUNvbG9yAAAAAAABRmlsbFRpbnRBbmRTaGFkZQAAAAAAAAAAAANCb3JkZXJDb2xvcgBVAAAAEEEA/wAAABBSAP8AAAAQRwD/AAAAEEIA/wAAAAFTY0EAAAAAAAAA8D8BU2NSAAAAAAAAAPA/AVNjRwAAAAAAAADwPwFTY0IAAAAAAAAA8D8AEEJvcmRlclRoZW1lQ29sb3IAAAAAAAFCb3JkZXJUaW50QW5kU2hhZGUAAAAAAAAAAAAISXNGaWxsZWQAAQJQYXR0ZXJuABAAAABtc29QYXR0ZXJuTWl4ZWQAAlNoYXBlVHlwZQAQAAAAbXNvU2hhcGVEaWFtb25kAANMYWJlbE9mZnNldABCAAAAAVgAAAAAAAAAAAABWQAUxLZjkLIzwAFMZW5ndGgAFMS2Y5CyM0ABTGVuZ3RoU3F1YXJlZACBuZO+3z94QAABQm9yZGVyVGhpY2tuZXNzAAAAAAAAAPA/CElzRm9udEJvbGQAAAhJc0ZvbnRJdGFsaWMAAAhJc0ZvbnRVbmRlcmxpbmVkAAAITGFiZWxIYXNCYWNrZ3JvdW5kAAACVGV4dEFsaWdubWVudAAFAAAATGVmdAAACERpc3BsYXlMYWJlbAABCExhYmVsSGFzQmFja2dyb3VuZAAAA1JlbmRlckluZm8ALxQAAANTeW1ib2wAcgYAAAJBdXRvU2hhcGVUeXBlAAgAAABEaWFtb25kAAVNYW5hZ2VkSWQAEAAAAAQuyOpexnuITLxQUeJMoJsrCEhhc0NoYW5nZXMAAAhVc2VOYW1lSW5zdGVhZE9mVGFnQXNJZAAACFNoYXBlUHJldmlvdXNseUNyZWF0ZWQAAANGaWxsQ29sb3IAVQAAABBBAP8AAAAQUgAAAAAAEEcAkQAAABBCAN8AAAABU2NBAAAAAAAAAPA/AVNjUgAAAAAAAAAAAAFTY0cAAAAAABwf0j8BU2NCAAAAAGD2nO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BAkZpbGxQYXR0ZXJuABAAAABtc29QYXR0ZXJuTWl4ZWQAAlRleHRIb3Jpem9udGFsQWxpZ25tZW50AA4AAABtc29BbmNob3JOb25lAAJQYXJhZ3JhcGhBbGlnbm1lbnQAAgAAADAAAlRleHRWZXJ0aWNhbEFsaWdubWVudAANAAAAbXNvQW5jaG9yVG9wAANGb250U3R5bGUALAEAABBGb250QmFja2dyb3VuZAAAAAAACEZvbnRCb2xkKgAAAAUpAAAAKwAAAOcPAAAAAAAAAAAAA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ODdMihAAVdpZHRoAAAAAODdMihAAVRvcAAAAADgjM5WQAFMZWZ0AAAAAKD75mVACEZsaXBIb3Jpem9udGFsbHkAAAhGbGlwSG9yaXpvbnRhbGx5QXBwbGllZAAACEZsaXBWZXJ0aWNhbGx5AAAIRmxpcFZlcnRpY2FsbHlBcHBsaWVkAAABUm90YXRpb24AAAAAAAAAAAABWk9yZGVyAAAAAAAAgFRAA0JvcmRlckNvbG9yAFUAAAAQQQD/AAAAEFIA/wAAABBHAP8AAAAQQgD/AAAAAVNjQQAAAAAAAADwPwFTY1IAAAAAAAAA8D8BU2NHAAAAAAAAAPA/AVNjQgAAAAAAAADwPwAQQm9yZGVyVGhlbWVDb2xvcgAAAAAAAUJvcmRlclRpbnRBbmRTaGFkZQAAAAAAAAAAABBCb3JkZXJTY2hlbWVDb2xvcgAAAAAAAUJvcmRlclRoaWNrbmVzcwAAAAAAAADw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MYWJlbAC5BgAABU1hbmFnZWRJZAAQAAAABEaE5zdkNdhBg4GPFGV7J/0ISGFzQ2hhbmdlcwAACFVzZU5hbWVJbnN0ZWFkT2ZUYWdBc0lkAAAIU2hhcGVQcmV2aW91c2x5Q3JlYXRlZAABA0ZpbGxDb2xvcgBVAAAAEEEA/wAAABBSAAAAAAAQRwCRAAAAEEIA3wAAAAFTY0EAAAAAAAAA8D8BU2NSAAAAAAAAAAAAAVNjRwAAAAAAHB/SPwFTY0IAAAAAYPac5z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AAYAAAARGVmaW5pY2nDs24gZGUgUmVwb3J0ZXMAAlRleHRIb3Jpem9udGFsQWxpZ25tZW50AA4AAABtc29BbmNob3JOb25lAAJQYXJhZ3JhcGhBbGlnbm1lbnQAAgAAADAAAlRleHRWZXJ0aWNhbEFsaWdubWVudAAQAAAAbXNvQW5jaG9yTWlkZGxlAANGb250U3R5bGUAQAEAABBGb250QmFja2dyb3VuZAAAAAAACEZvbnRCb2xkAAADRm9udENvbG9yAFUAAAAQQQD/AAAAEFIAEAAAABBHADgAAAAQQgBPAAAAAVNjQQAAAAAAAADwPwFTY1IAAAAA4DY5dT8BU2NHAAAAAIBnP6Q/AVNjQgAAAABgFwS0PwAQRm9udFRoZW1lQ29sb3IAAAAAAAFGb250VGludEFuZFNoYWRlAAAAAAAAAAAAEEZvbnRTY2hlbWVDb2xvcgAAAAAACEZvbnRJdGFsaWMAAAJGb250TmFtZQAGAAAAQXJpYWwAAUZvbnRTaXplAAAAAAAAACBACEZvbnRTdHJpa2V0aHJvdWdoAAAIRm9udFN1YnNjcmlwdAAACEZvbnRTdXBlcnNjcmlwdAAACEZvbnRVbmRlcmxpbmUAAAAIU2l6ZVRvVGV4dFdpZHRoAAAIU2l6ZVRvVGV4dEhlaWdodAAAA1RleHRNYXJnaW4APwAAAAFMZWZ0AAAAAAAAAAAAAVRvcAAAAAAAAAAAAAFSaWdodAAAAAAAAAAAAAFCb3R0b20AAAAAAAAAAAAAAkRpc3BsYXlUZXh0ABgAAABEZWZpbmljacOzbiBkZSBSZXBvcnRlcwABSGVpZ2h0AAAAAOCxSyVAAVdpZHRoAAAAAAAtQlZAAVRvcAAAAACgFmVTQAFMZWZ0AAAAAICSqGZACEZsaXBIb3Jpem9udGFsbHkAAAhGbGlwSG9yaXpvbnRhbGx5QXBwbGllZAAACEZsaXBWZXJ0aWNhbGx5AAAIRmxpcFZlcnRpY2FsbHlBcHBsaWVkAAABUm90YXRpb24AAAAAAAAAAAABWk9yZGVyAAAAAAAAwFR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Db25uZWN0b3JMaW5lAOEGAAADU3RhcnQAGwAAAAFYAAAAAKD75mVAAVkAAAAA4IzOVkAAA0VuZAAbAAAAAVgAAAAAoPvmZUABWQAAAADgjM5WQAACU3RhcnRBcnJvd0hlYWQAEQAAAG1zb0Fycm93aGVhZE5vbmUAAkVuZEFycm93SGVhZAARAAAAbXNvQXJyb3doZWFkTm9uZQAFTWFuYWdlZElkABAAAAAE7482d6e//EWQCQUuPLRY1QhIYXNDaGFuZ2VzAAAIVXNlTmFtZUluc3RlYWRPZlRhZ0FzSWQAAAhTaGFwZVByZXZpb3VzbHlDcmVhdGVkAAA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A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AAAAAAAAVdpZHRoAAAAAAAAAAAAAVRvcAAAAADgjM5WQAFMZWZ0AAAAAKD75mVACEZsaXBIb3Jpem9udGFsbHkAAAhGbGlwSG9yaXpvbnRhbGx5QXBwbGllZAAACEZsaXBWZXJ0aWNhbGx5AAAIRmxpcFZlcnRpY2FsbHlBcHBsaWVkAAABUm90YXRpb24AAAAAAAAAAAABWk9yZGVyAAAAAAAAQFRAA0JvcmRlckNvbCsAAAAFKgAAACwAAADnDwAAAAAAAAAAAABvcgBVAAAAEEEA/wAAABBSAAAAAAAQRwCRAAAAEEIA3wAAAAFTY0EAAAAAAAAA8D8BU2NSAAAAAAAAAAAAAVNjRwAAAAAAHB/SPwFTY0IAAAAAYPac5z8AEEJvcmRlclRoZW1lQ29sb3IAAAAAAAFCb3JkZXJUaW50QW5kU2hhZGUAAAAAAAAAAAAQQm9yZGVyU2NoZW1lQ29sb3IAAAAAAAFCb3JkZXJUaGlja25lc3MAAAAAAAAA4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AAk1pbGVzdG9uZUxhYmVsUG9zaXRpb24ACQAAAFRvcFJpZ2h0ABBJbmRleAADAAAAAkRlc2NyaXB0aW9uABgAAABEZWZpbmljacOzbiBkZSBSZXBvcnRlcwACTmFtZQAKAAAATWlsZXN0b25lAAhJc0xlYWRlckxpbmVJbkF1dG9Nb2RlAAEJU3RhcnRUaW1lAAA7/RiPAQAAAAMzALcZAAACX3R5cGUATQAAAGVtcG93ZXIuQ2hhcnRzLkRhdGEuR2FudHQuQ2hyb25vbG9neS5EYXRhLk1pbGVzdG9uZURhdGEsIGVtcG93ZXIuQ2hhcnRzLkRhdGEAA1N0eWxlAHYEAAABRGVmYXVsdEZvbnRTaXplAAAAAAAAACRAAUZvbnRTaXplAAAAAAAAACBAA0ZvbnRDb2xvcgBVAAAAEEEA/wAAABBSABAAAAAQRwA4AAAAEEIATwAAAAFTY0EAAAAAAAAA8D8BU2NSAAAAAOA2OXU/AVNjRwAAAACAZz+kPwFTY0IAAAAAYBcEtD8AEEZvbnRUaGVtZUNvbG9yAAAAAAAQRm9udFNjaGVtZUNvbG9yAAAAAAABRm9udFRpbnRBbmRTaGFkZQAAAAAAAAAAAANQYXR0ZXJuQ29sb3IAVQAAABBBAAAAAAAQUgAAAAAAEEcAAAAAABBCAAAAAAABU2NBAAAAAAAAAAAAAVNjUgAAAAAAAAAAAAFTY0cAAAAAAAAAAAABU2NCAAAAAAAAAAAAABBQYXR0ZXJuVGhlbWVDb2xvcgAAAAAAAVBhdHRlcm5UaW50QW5kU2hhZGUAAAAAAAAAAAADRGF0YVN0eWxlRm9udENvbG9yVmFsdWUAVQAAABBBAAAAAAAQUgAAAAAAEEcAAAAAABBCAAAAAAABU2NBAAAAAAAAAAAAAVNjUgAAAAAAAAAAAAFTY0cAAAAAAAAAAAABU2NCAAAAAAAAAAAAAAhEYXRhU3R5bGVGb250Q29sb3JIYXNWYWx1ZQAAAUhlaWdodAAAAADg3TIoQAJEYXNoU3R5bGUADQAAAG1zb0xpbmVTb2xpZAAISGFzV2lzaEZpbGxDb2xvcgAAA0ZpbGxDb2xvcgBVAAAAEEEA/wAAABBSAAAAAAAQRwCRAAAAEEIA3wAAAAFTY0EAAAAAAAAA8D8BU2NSAAAAAAAAAAAAAVNjRwAAAAAAHB/SPwFTY0IAAAAAYPac5z8AEEZpbGxTY2hlbWVDb2xvcgAAAAAAEEZpbGxUaGVtZUNvbG9yAAAAAAABRmlsbFRpbnRBbmRTaGFkZQAAAAAAAAAAAANCb3JkZXJDb2xvcgBVAAAAEEEA/wAAABBSAP8AAAAQRwD/AAAAEEIA/wAAAAFTY0EAAAAAAAAA8D8BU2NSAAAAAAAAAPA/AVNjRwAAAAAAAADwPwFTY0IAAAAAAAAA8D8AEEJvcmRlclRoZW1lQ29sb3IAAAAAAAFCb3JkZXJUaW50QW5kU2hhZGUAAAAAAAAAAAAISXNGaWxsZWQAAQJQYXR0ZXJuABAAAABtc29QYXR0ZXJuTWl4ZWQAAlNoYXBlVHlwZQAQAAAAbXNvU2hhcGVEaWFtb25kAANMYWJlbE9mZnNldABCAAAAAVgAAAAAAAAAAAABWQAUxLZjkLIzwAFMZW5ndGgAFMS2Y5CyM0ABTGVuZ3RoU3F1YXJlZACBuZO+3z94QAABQm9yZGVyVGhpY2tuZXNzAAAAAAAAAPA/CElzRm9udEJvbGQAAAhJc0ZvbnRJdGFsaWMAAAhJc0ZvbnRVbmRlcmxpbmVkAAAITGFiZWxIYXNCYWNrZ3JvdW5kAAACVGV4dEFsaWdubWVudAAFAAAATGVmdAAACERpc3BsYXlMYWJlbAABCExhYmVsSGFzQmFja2dyb3VuZAAAA1JlbmRlckluZm8AHRQAAANTeW1ib2wAcgYAAAJBdXRvU2hhcGVUeXBlAAgAAABEaWFtb25kAAVNYW5hZ2VkSWQAEAAAAAS7KoG20bQ9TIRzp5TQzk0VCEhhc0NoYW5nZXMAAAhVc2VOYW1lSW5zdGVhZE9mVGFnQXNJZAAACFNoYXBlUHJldmlvdXNseUNyZWF0ZWQAAANGaWxsQ29sb3IAVQAAABBBAP8AAAAQUgAAAAAAEEcAkQAAABBCAN8AAAABU2NBAAAAAAAAAPA/AVNjUgAAAAAAAAAAAAFTY0cAAAAAABwf0j8BU2NCAAAAAGD2nO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4N0yKEABV2lkdGgAAAAA4N0yKEABVG9wAAAAAOCMzlZAAUxlZnQAAAAAgOyTcUAIRmxpcEhvcml6b250YWxseQAACEZsaXBIb3Jpem9udGFsbHlBcHBsaWVkAAAIRmxpcFZlcnRpY2FsbHkAAAhGbGlwVmVydGljYWxseUFwcGxpZWQAAAFSb3RhdGlvbgAAAAAAAAAAAAFaT3JkZXIAAAAAAACAVEADQm9yZGVyQ29sb3IAVQAAABBBAP8AAAAQUgD/AAAAEEcA/wAAABBCAP8AAAABU2NBAAAAAAAAAPA/AVNjUgAAAAAAAADwPwFTY0cAAAAAAAAA8D8BU2NCAAAAAAAAAPA/ABBCb3JkZXJUaGVtZUNvbG9yAAAAAAABQm9yZGVyVGludEFuZFNoYWRlAAAAAAAAAAAAEEJvcmRlclNjaGVtZUNvbG9yAAAAAAABQm9yZGVyVGhpY2tuZXNzAAAAAAAAAPA/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xhYmVsAKcGAAAFTWFuYWdlZElkABAAAAAEF/pf68vw10WwySRfY6dd5whIYXNDaGFuZ2VzAAAIVXNlTmFtZUluc3RlYWRPZlRhZ0FzSWQAAAhTaGFwZVByZXZpb3VzbHlDcmVhdGVkAAEDRmlsbENvbG9yAFUAAAAQQQD/AAAAEFIAAAAAABBHAJEAAAAQQgDfAAAAAVNjQQAAAAAAAADwPwFTY1IAAAAAAAAAAAABU2NHAAAAAAAcH9I/AVNjQgAAAABg9pznP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AA8AAABGaW4gZGVzYXJyb2xsbwACVGV4dEhvcml6b250YWxBbGlnbm1lbnQADgAsAAAABSsAAAAtAAAA5w8AAAAAAAAAAAAAAABtc29BbmNob3JOb25lAAJQYXJhZ3JhcGhBbGlnbm1lbnQAAgAAADAAAlRleHRWZXJ0aWNhbEFsaWdubWVudAAQAAAAbXNvQW5jaG9yTWlkZGxlAANGb250U3R5bGUAQAEAABBGb250QmFja2dyb3VuZAAAAAAACEZvbnRCb2xkAAADRm9udENvbG9yAFUAAAAQQQD/AAAAEFIAEAAAABBHADgAAAAQQgBPAAAAAVNjQQAAAAAAAADwPwFTY1IAAAAA4DY5dT8BU2NHAAAAAIBnP6Q/AVNjQgAAAABgFwS0PwAQRm9udFRoZW1lQ29sb3IAAAAAAAFGb250VGludEFuZFNoYWRlAAAAAAAAAAAAEEZvbnRTY2hlbWVDb2xvcgAAAAAACEZvbnRJdGFsaWMAAAJGb250TmFtZQAGAAAAQXJpYWwAAUZvbnRTaXplAAAAAAAAACBACEZvbnRTdHJpa2V0aHJvdWdoAAAIRm9udFN1YnNjcmlwdAAACEZvbnRTdXBlcnNjcmlwdAAACEZvbnRVbmRlcmxpbmUAAAAIU2l6ZVRvVGV4dFdpZHRoAAAIU2l6ZVRvVGV4dEhlaWdodAAAA1RleHRNYXJnaW4APwAAAAFMZWZ0AAAAAAAAAAAAAVRvcAAAAAAAAAAAAAFSaWdodAAAAAAAAAAAAAFCb3R0b20AAAAAAAAAAAAAAkRpc3BsYXlUZXh0AA8AAABGaW4gZGVzYXJyb2xsbwABSGVpZ2h0AAAAAOCxSyVAAVdpZHRoAAAAAEAbqEpAAVRvcAAAAACgFmVTQAFMZWZ0AAAAAAC49HFACEZsaXBIb3Jpem9udGFsbHkAAAhGbGlwSG9yaXpvbnRhbGx5QXBwbGllZAAACEZsaXBWZXJ0aWNhbGx5AAAIRmxpcFZlcnRpY2FsbHlBcHBsaWVkAAABUm90YXRpb24AAAAAAAAAAAABWk9yZGVyAAAAAAAAwFR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Db25uZWN0b3JMaW5lAOEGAAADU3RhcnQAGwAAAAFYAAAAAIDsk3FAAVkAAAAA4IzOVkAAA0VuZAAbAAAAAVgAAAAAgOyTcUABWQAAAADgjM5WQAACU3RhcnRBcnJvd0hlYWQAEQAAAG1zb0Fycm93aGVhZE5vbmUAAkVuZEFycm93SGVhZAARAAAAbXNvQXJyb3doZWFkTm9uZQAFTWFuYWdlZElkABAAAAAESuqAJGJ3xEK1V3LsvMK9tQhIYXNDaGFuZ2VzAAAIVXNlTmFtZUluc3RlYWRPZlRhZ0FzSWQAAAhTaGFwZVByZXZpb3VzbHlDcmVhdGVkAAA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A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AAAAAAAAVdpZHRoAAAAAAAAAAAAAVRvcAAAAADgjM5WQAFMZWZ0AAAAAIDsk3FACEZsaXBIb3Jpem9udGFsbHkAAAhGbGlwSG9yaXpvbnRhbGx5QXBwbGllZAAACEZsaXBWZXJ0aWNhbGx5AAAIRmxpcFZlcnRpY2FsbHlBcHBsaWVkAAABUm90YXRpb24AAAAAAAAAAAABWk9yZGVyAAAAAAAAQFRAA0JvcmRlckNvbG9yAFUAAAAQQQD/AAAAEFIAAAAAABBHAJEAAAAQQgDfAAAAAVNjQQAAAAAAAADwPwFTY1IAAAAAAAAAAAABU2NHAAAAAAAcH9I/AVNjQgAAAABg9pznPwAQQm9yZGVyVGhlbWVDb2xvcgAAAAAAAUJvcmRlclRpbnRBbmRTaGFkZQAAAAAAAAAAABBCb3JkZXJTY2hlbWVDb2xvcgAAAAAAAUJvcmRlclRoaWNrbmVzcwAAAAAAAADg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ACTWlsZXN0b25lTGFiZWxQb3NpdGlvbgAJAAAAVG9wUmlnaHQAEEluZGV4AAQAAAACRGVzY3JpcHRpb24ADwAAAEZpbiBkZXNhcnJvbGxvAAJOYW1lAAoAAABNaWxlc3RvbmUACElzTGVhZGVyTGluZUluQXV0b01vZGUAAQlTdGFydFRpbWUAAMcihY8BAAAAAAJOYW1lAAgAAABDaWNsbyA0AAhJc0hpZ2hsaWdodGVkAAAISXNTZXBhcmF0b3JMaW5lVmlzaWJsZQABA1N0eWxlAHQEAAABRGVmYXVsdEZvbnRTaXplAAAAAAAAACRAAUZvbnRTaXplAAAAAAAAACRAA0ZvbnRDb2xvcgBVAAAAEEEA/wAAABBSABAAAAAQRwA4AAAAEEIATwAAAAFTY0EAAAAAAAAA8D8BU2NSAAAAAOA2OXU/AVNjRwAAAACAZz+kPwFTY0IAAAAAYBcEtD8AEEZvbnRUaGVtZUNvbG9yAAAAAAAQRm9udFNjaGVtZUNvbG9yAAAAAAABRm9udFRpbnRBbmRTaGFkZQAAAAAAAAAAAANQYXR0ZXJuQ29sb3IAVQAAABBBAAAAAAAQUgAAAAAAEEcAAAAAABBCAAAAAAABU2NBAAAAAAAAAAAAAVNjUgAAAAAAAAAAAAFTY0cAAAAAAAAAAAABU2NCAAAAAAAAAAAAABBQYXR0ZXJuVGhlbWVDb2xvcgAAAAAAAVBhdHRlcm5UaW50QW5kU2hhZGUAAAAAAAAAAAADRGF0YVN0eWxlRm9udENvbG9yVmFsdWUAVQAAABBBAP8AAAAQUgAQAAAAEEcAOAAAABBCAE8AAAABU2NBAAAAAAAAAPA/AVNjUgAAAADgNjl1PwFTY0cAAAAAgGc/pD8BU2NCAAAAAGAXBLQ/AAhEYXRhU3R5bGVGb250Q29sb3JIYXNWYWx1ZQABAUhlaWdodAAAAAAAAAAAAAJEYXNoU3R5bGUADQAAAG1zb0xpbmVTb2xpZAAISGFzV2lzaEZpbGxDb2xvcgABA0ZpbGxDb2xvcgBVAAAAEEEAAAAAABBSAP8AAAAQRwD/AAAAEEIA/wAAAAFTY0EAAAAAAAAAAAABU2NSAAAAAAAAAPA/AVNjRwAAAAAAAADwPwFTY0IAAAAAAAAA8D8AEEZpbGxTY2hlbWVDb2xvcgAAAAAAEEZpbGxUaGVtZUNvbG9yAAAAAAABRmlsbFRpbnRBbmRTaGFkZQAAAAAAAAAAAANCb3JkZXJDb2xvcgBVAAAAEEEA/wAAABBSAOMAAAAQRwDjAAAAEEIA4wAAAAFTY0EAAAAAAAAA8D8BU2NSAAAAAMCxlOg/AVNjRwAAAADAsZToPwFTY0IAAAAAwLGU6D8AEEJvcmRlclRoZW1lQ29sb3IAAAAAAAFCb3JkZXJUaW50QW5kU2hhZGUAAAAAAAAAAAAISXNGaWxsZWQAAQJQYXR0ZXJuABAAAABtc29QLQAAAAUsAAAALgAAAOcPAAAAAAAAAAAAAGF0dGVybk1peGVkAAJTaGFwZVR5cGUADgAAAG1zb1NoYXBlTWl4ZWQAA0xhYmVsT2Zmc2V0AEIAAAABWAAAAAAAAAAAAAFZAAAAAAAAAAAAAUxlbmd0aAAAAAAAAAAAAAFMZW5ndGhTcXVhcmVkAAAAAAAAAAAAAAFCb3JkZXJUaGlja25lc3MAAAAAAAAA8D8ISXNGb250Qm9sZAAACElzRm9udEl0YWxpYwAACElzRm9udFVuZGVybGluZWQAAAhMYWJlbEhhc0JhY2tncm91bmQAAAJUZXh0QWxpZ25tZW50AAUAAABMZWZ0AAABUm93VG9wALcaFRkVMVVAAVJvd0hlaWdodABuNSoyLQU5QANMZWZ0Tm90ZXMAxwQAAANUZXh0U3R5bGUAWwQAAAFEZWZhdWx0Rm9udFNpemUAAAAAAAAAJEABRm9udFNpemUAAAAAAAAAJEADRm9udENvbG9yAFUAAAAQQQD/AAAAEFIAEAAAABBHADgAAAAQQgBPAAAAAVNjQQAAAAAAAADwPwFTY1IAAAAA4DY5dT8BU2NHAAAAAIBnP6Q/AVNjQgAAAABgFwS0PwAQRm9udFRoZW1lQ29sb3IAAAAAABBGb250U2NoZW1lQ29sb3IAAAAAAAFGb250VGludEFuZFNoYWRlAAAAAAAAAAAAA1BhdHRlcm5Db2xvcgBVAAAAEEEAAAAAABBSAAAAAAAQRwAAAAAAEEIAAAAAAAFTY0EAAAAAAAAAAAABU2NSAAAAAAAAAAAAAVNjRwAAAAAAAAAAAAFTY0IAAAAAAAAAAAAAEFBhdHRlcm5UaGVtZUNvbG9yAAAAAAABUGF0dGVyblRpbnRBbmRTaGFkZQAAAAAAAAAAAANEYXRhU3R5bGVGb250Q29sb3JWYWx1ZQBVAAAAEEEA/wAAABBSABAAAAAQRwA4AAAAEEIATwAAAAFTY0EAAAAAAAAA8D8BU2NSAAAAAOA2OXU/AVNjRwAAAACAZz+kPwFTY0IAAAAAYBcEtD8ACERhdGFTdHlsZUZvbnRDb2xvckhhc1ZhbHVlAAEBSGVpZ2h0AAAAAAAAAAAAAkRhc2hTdHlsZQANAAAAbXNvTGluZVNvbGlkAAhIYXNXaXNoRmlsbENvbG9yAAADRmlsbENvbG9yAFUAAAAQQQD/AAAAEFIAAAAAABBHAAAAAAAQQgAAAAAAAVNjQQAAAAAAAADwPwFTY1IAAAAAAAAAAAABU2NHAAAAAAAAAAAAAVNjQgAAAAAAAAAAAAAQRmlsbFNjaGVtZUNvbG9yAAAAAAAQRmlsbFRoZW1lQ29sb3IAAAAAAAFGaWxsVGludEFuZFNoYWRlAAAAAAAAAAAAA0JvcmRlckNvbG9yAFUAAAAQQQAAAAAAEFIAAAAAABBHAAAAAAAQQgAAAAAAAVNjQQAAAAAAAAAAAAFTY1IAAAAAAAAAAAABU2NHAAAAAAAAAAAAAVNjQgAAAAAAAAAAAAAQQm9yZGVyVGhlbWVDb2xvcgAAAAAAAUJvcmRlclRpbnRBbmRTaGFkZQAAAAAAAAAAAAhJc0ZpbGxlZAABAlBhdHRlcm4AEAAAAG1zb1BhdHRlcm5NaXhlZAACU2hhcGVUeXBlAA4AAABtc29TaGFwZU1peGVkAANMYWJlbE9mZnNldABCAAAAAVgAAAAAAAAAAAABWQAAAAAAAAAAAAFMZW5ndGgAAAAAAAAAAAABTGVuZ3RoU3F1YXJlZAAAAAAAAAAAAAAISXNGb250Qm9sZAAACElzRm9udEl0YWxpYwAACElzRm9udFVuZGVybGluZWQAAAhMYWJlbEhhc0JhY2tncm91bmQAAAJUZXh0QWxpZ25tZW50AAUAAABMZWZ0AAAISGFydmV5QmFsbFZpc2libGUAARBIYXJ2ZXlCYWxsVmFsdWUAAAAAAAJDaGVja0JveFN0YXRlAAUAAABOb25lAAJUcmFmZmljTGlnaHRTdGF0ZQAEAAAAT2ZmAAADUmlnaHROb3RlcwDHBAAAA1RleHRTdHlsZQBbBAAAAURlZmF1bHRGb250U2l6ZQAAAAAAAAAkQAFGb250U2l6ZQAAAAAAAAAkQANGb250Q29sb3IAVQAAABBBAP8AAAAQUgAQAAAAEEcAOAAAABBCAE8AAAABU2NBAAAAAAAAAPA/AVNjUgAAAADgNjl1PwFTY0cAAAAAgGc/pD8BU2NCAAAAAGAXBLQ/ABBGb250VGhlbWVDb2xvcgAAAAAAEEZvbnRTY2hlbWVDb2xvcgAAAAAAAUZvbnRUaW50QW5kU2hhZGUAAAAAAAAAAAADUGF0dGVybkNvbG9yAFUAAAAQQQAAAAAAEFIAAAAAABBHAAAAAAAQQgAAAAAAAVNjQQAAAAAAAAAAAAFTY1IAAAAAAAAAAAABU2NHAAAAAAAAAAAAAVNjQgAAAAAAAAAAAAAQUGF0dGVyblRoZW1lQ29sb3IAAAAAAAFQYXR0ZXJuVGludEFuZFNoYWRlAAAAAAAAAAAAA0RhdGFTdHlsZUZvbnRDb2xvclZhbHVlAFUAAAAQQQD/AAAAEFIAEAAAABBHADgAAAAQQgBPAAAAAVNjQQAAAAAAAADwPwFTY1IAAAAA4DY5dT8BU2NHAAAAAIBnP6Q/AVNjQgAAAABgFwS0PwAIRGF0YVN0eWxlRm9udENvbG9ySGFzVmFsdWUAAQFIZWlnaHQAAAAAAAAAAAACRGFzaFN0eWxlAA0AAABtc29MaW5lU29saWQACEhhc1dpc2hGaWxsQ29sb3IAAANGaWxsQ29sb3IAVQAAABBBAP8AAAAQUgAAAAAAEEcAAAAAABBCAAAAAAABU2NBAAAAAAAAAPA/AVNjUgAAAAAAAAAAAAFTY0cAAAAAAAAAAAABU2NCAAAAAAAAAAAAABBGaWxsU2NoZW1lQ29sb3IAAAAAABBGaWxsVGhlbWVDb2xvcgAAAAAAAUZpbGxUaW50QW5kU2hhZGUAAAAAAAAAAAADQm9yZGVyQ29sb3IAVQAAABBBAAAAAAAQUgAAAAAAEEcAAAAAABBCAAAAAAABU2NBAAAAAAAAAAAAAVNjUgAAAAAAAAAAAAFTY0cAAAAAAAAAAAABU2NCAAAAAAAAAAAAABBCb3JkZXJUaGVtZUNvbG9yAAAAAAABQm9yZGVyVGludEFuZFNoYWRlAAAAAAAAAAAACElzRmlsbGVkAAECUGF0dGVybgAQAAAAbXNvUGF0dGVybk1peGVkAAJTaGFwZVR5cGUADgAAAG1zb1NoYXBlTWl4ZWQAA0xhYmVsT2Zmc2V0AEIAAAABWAAAAAAAAAAAAAFZAAAAAAAAAAAAAUxlbmd0aAAAAAAAAAAAAAFMZW5ndGhTcXVhcmVkAAAAAAAAAAAAAAhJc0ZvbnRCb2xkAAAISXNGb250SXRhbGljAAAISXNGb250VW5kZXJsaW5lZAAACExhYmVsSGFzQmFja2dyb3VuZAAAAlRleHRBbGlnbm1lbnQABQAAAExlZnQAAAhIYXJ2ZXlCYWxsVmlzaWJsZQABEEhhcnZleUJhbGxWYWx1ZQAAAAAAAkNoZWNrQm94U3RhdGUABQAAAE5vbmUAAlRyYWZmaWNMaWdodFN0YXRlAAQAAABPZmYAAANMZWZ0Tm90ZXNSZW5kZXJJbmZvAGEUAAADTGFiZWwAdAYAAAVNYW5hZ2VkSWQAEAAAAAQqvQ8zSIx+RajZOrZRm146CEhhc0NoYW5nZXMAAQhVc2VOYW1lSW5zdGVhZE9mVGFnQXNJZAAACFNoYXBlUHJldmlvdXNseUNyZWF0ZWQAAA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AAkZpbGxQYXR0ZXJuABAAAABtc29QYXR0ZXJuTWl4ZWQAAlRleHQAAQAAA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kRpc3BsYXlUZXh0AAEAAAAAAUhlaWdodAAAAAAAAADwPwFXaWR0aAAAAAAAAADwPwFUb3AAAAAAAIyWcUABTGVmdAAAAABAZfaNQAhGbGlwSG9yaXpvbnRhbGx5AAAIRmxpcEhvcml6b250YWxseUFwcGxpZWQAAAhGbGlwVmVydGljYWxseQAACEZsaXBWZXJ0aWNhbGx5QXBwbGllZAAAAVJvdGF0aW9uAAAAAAAAAAAAAVpPcmRlcgAAAAAAAAAAAANCb3JkZXJDb2xvcgBVAAAAEEEAAAAAABBSAAAAAAAQRwAAAAAAEEIAAAAAAAFTY0EAAAAAAAAAAAABU2NSAAAAAAAAAAAAAVNjRwAAAAAAAAAAAAFTYy4AAAAFLQAAAC8AAADnDwAAAAAAAAAAAAB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NlcGFyYXRvckxpbmUA4QYAAANTdGFydAAbAAAAAVgAzczMFjLzjUABWQAAAABgYFJbQAADRW5kABsAAAABWAAzMzN9mPmNQAFZAAAAAGBgUltAAAJTdGFydEFycm93SGVhZAARAAAAbXNvQXJyb3doZWFkTm9uZQACRW5kQXJyb3dIZWFkABEAAABtc29BcnJvd2hlYWROb25lAAVNYW5hZ2VkSWQAEAAAAAQgFITzk7MxT7Xq99zfZyZrCEhhc0NoYW5nZXMAAQhVc2VOYW1lSW5zdGVhZE9mVGFnQXNJZAAACFNoYXBlUHJldmlvdXNseUNyZWF0ZWQAAA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oJmZ6T8BVG9wAAAAAGBgUltAAUxlZnQAAAAAIDLzjUAIRmxpcEhvcml6b250YWxseQAACEZsaXBIb3Jpem9udGFsbHlBcHBsaWVkAAAIRmxpcFZlcnRpY2FsbHkAAAhGbGlwVmVydGljYWxseUFwcGxpZWQAAAFSb3RhdGlvbgAAAAAAAAAAAAFaT3JkZXIAAAAAAACAVUADQm9yZGVyQ29sb3IAVQAAABBBAP8AAAAQUgDjAAAAEEcA4wAAABBCAOMAAAABU2NBAAAAAAAAAPA/AVNjUgAAAADAsZToPwFTY0cAAAAAwLGU6D8BU2NCAAAAAMCxlOg/ABBCb3JkZXJUaGVtZUNvbG9yAAAAAAABQm9yZGVyVGludEFuZFNoYWRlAAAAAAAAAAAAEEJvcmRlclNjaGVtZUNvbG9yAAAAAAABQm9yZGVyVGhpY2tuZXNzAAAAAAAAAPA/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JlY3RhbmdsZQB0BgAAAkF1dG9TaGFwZVR5cGUACgAAAFJlY3RhbmdsZQAFTWFuYWdlZElkABAAAAAEoKoL94gUnUqnjV+CmtFwmQhIYXNDaGFuZ2VzAAEIVXNlTmFtZUluc3RlYWRPZlRhZ0FzSWQAAAhTaGFwZVByZXZpb3VzbHlDcmVhdGVkAAADRmlsbENvbG9yAFUAAAAQQQAAAAAAEFIA/wAAABBHAP8AAAAQQgD/AAAAAVNjQQAAAAAAAAAAAAFTY1IAAAAAAAAA8D8BU2NHAAAAAAAAAPA/AVNjQgAAAAAAAADwP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A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EAtBThAAVdpZHRoAAAAAAAAAAAAAVRvcAAAAAAgFVFVQAFMZWZ0AAAAAEBl7o1ACEZsaXBIb3Jpem9udGFsbHkAAAhGbGlwSG9yaXpvbnRhbGx5QXBwbGllZAAACEZsaXBWZXJ0aWNhbGx5AAAIRmxpcFZlcnRpY2FsbHlBcHBsaWVkAAABUm90YXRpb24AAAAAAAAAAAABWk9yZGVyAAAAAAAAQFV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RUcmFmZmljTGlnaHREYXRhAAUAAAAABEhhcnZleUJhbGxEYXRhAAUAAAAAAlRyYWZmaWNMaWdodFN0YXRlAAQAAABPZmYABENoZWNrQm94RGF0YQAFAAAAAAJDaGVja0JveFN0YXRlAAUAAABOb25lAAADUmlnaHROb3Rlc1JlbmRlckluZm8AYRQAAANMYWJlbAB0BgAABU1hbmFnZWRJZAAQAAAABIpPQpIoBj5FqPhn5ioPOLwISGFzQ2hhbmdlcwABCFVzZU5hbWVJbnN0ZWFkT2ZUYWdBc0lkAAAIU2hhcGVQcmV2aW91c2x5Q3JlYXRlZAAAA0ZpbGxDb2xvcgBVAAAAEEEAAAAAABBSAAAAAAAvAAAABS4AAAAwAAAA5w8AAAAAAA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AAkZpbGxQYXR0ZXJuABAAAABtc29QYXR0ZXJuTWl4ZWQAAlRleHQAAQAAA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kRpc3BsYXlUZXh0AAEAAAAAAUhlaWdodAAAAAAAAADwPwFXaWR0aAAAAAAAAADwPwFUb3AAAAAAAIyWcUABTGVmdAAAAABAZfaNQAhGbGlwSG9yaXpvbnRhbGx5AAAIRmxpcEhvcml6b250YWxseUFwcGxpZWQAAAhGbGlwVmVydGljYWxseQAACEZsaXBWZXJ0aWNhbGx5QXBwbGllZAAAAVJvdGF0aW9uAAAAAAAAAAAAAVpPcmRlcgAAAAAAAAAAA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2VwYXJhdG9yTGluZQDhBgAAA1N0YXJ0ABsAAAABWADNzMwWMvONQAFZAAAAAGBgUltAAANFbmQAGwAAAAFYADMzM32Y+Y1AAVkAAAAAYGBSW0AAAlN0YXJ0QXJyb3dIZWFkABEAAABtc29BcnJvd2hlYWROb25lAAJFbmRBcnJvd0hlYWQAEQAAAG1zb0Fycm93aGVhZE5vbmUABU1hbmFnZWRJZAAQAAAABGWKNursiHxKtb1SFO8QE2gISGFzQ2hhbmdlcwABCFVzZU5hbWVJbnN0ZWFkT2ZUYWdBc0lkAAAIU2hhcGVQcmV2aW91c2x5Q3JlYXRlZAAA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CgmZnpPwFUb3AAAAAAYGBSW0ABTGVmdAAAAAAgMvONQAhGbGlwSG9yaXpvbnRhbGx5AAAIRmxpcEhvcml6b250YWxseUFwcGxpZWQAAAhGbGlwVmVydGljYWxseQAACEZsaXBWZXJ0aWNhbGx5QXBwbGllZAAAAVJvdGF0aW9uAAAAAAAAAAAAAVpPcmRlcgAAAAAAAIBVQANCb3JkZXJDb2xvcgBVAAAAEEEA/wAAABBSAOMAAAAQRwDjAAAAEEIA4wAAAAFTY0EAAAAAAAAA8D8BU2NSAAAAAMCxlOg/AVNjRwAAAADAsZToPwFTY0IAAAAAwLGU6D8AEEJvcmRlclRoZW1lQ29sb3IAAAAAAAFCb3JkZXJUaW50QW5kU2hhZGUAAAAAAAAAAAAQQm9yZGVyU2NoZW1lQ29sb3IAAAAAAAFCb3JkZXJUaGlja25lc3MAAAAAAAAA8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mVjdGFuZ2xlAHQGAAACQXV0b1NoYXBlVHlwZQAKAAAAUmVjdGFuZ2xlAAVNYW5hZ2VkSWQAEAAAAASauYUio25GSKShjUji8d9ECEhhc0NoYW5nZXMAAQhVc2VOYW1lSW5zdGVhZE9mVGFnQXNJZAAACFNoYXBlUHJldmlvdXNseUNyZWF0ZWQAAANGaWxsQ29sb3IAVQAAABBBAAAAAAAQUgD/AAAAEEcA/wAAABBCAP8AAAABU2NBAAAAAAAAAAAAAVNjUgAAAAAAAADwPwFTY0cAAAAAAAAA8D8BU2NCAAAAAAAAAPA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A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MAAAAAUvAAAAMQAAAOcPAAAAAAAAAAAAAE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EAtBThAAVdpZHRoAAAAAAAAAAAAAVRvcAAAAAAgFVFVQAFMZWZ0AAAAAEBl7o1ACEZsaXBIb3Jpem9udGFsbHkAAAhGbGlwSG9yaXpvbnRhbGx5QXBwbGllZAAACEZsaXBWZXJ0aWNhbGx5AAAIRmxpcFZlcnRpY2FsbHlBcHBsaWVkAAABUm90YXRpb24AAAAAAAAAAAABWk9yZGVyAAAAAAAAQFV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RUcmFmZmljTGlnaHREYXRhAAUAAAAABEhhcnZleUJhbGxEYXRhAAUAAAAAAlRyYWZmaWNMaWdodFN0YXRlAAQAAABPZmYABENoZWNrQm94RGF0YQAFAAAAAAJDaGVja0JveFN0YXRlAAUAAABOb25lAAADTGVmdFNpZGVSZW5kZXJJbmZvAB8UAAADTGFiZWwApAYAAAVNYW5hZ2VkSWQAEAAAAARNkKKwAknxSL4KB2q59AwXCEhhc0NoYW5nZXMAAAhVc2VOYW1lSW5zdGVhZE9mVGFnQXNJZAAACFNoYXBlUHJldmlvdXNseUNyZWF0ZWQAAQ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QACAAAAENpY2xvIDQAAlRleHRIb3Jpem9udGFsQWxpZ25tZW50AA4AAABtc29BbmNob3JOb25lAAJQYXJhZ3JhcGhBbGlnbm1lbnQADQAAAG1zb0FsaWduTGVmdAACVGV4dFZlcnRpY2FsQWxpZ25tZW50ABAAAABtc29BbmNob3JNaWRkbGUAA0ZvbnRTdHlsZQBAAQAAEEZvbnRCYWNrZ3JvdW5kAAAAAAAIRm9udEJvbGQAAANGb250Q29sb3IAVQAAABBBAP8AAAAQUgAQAAAAEEcAOAAAABBCAE8AAAABU2NBAAAAAAAAAPA/AVNjUgAAAADgNjl1PwFTY0cAAAAAgGc/pD8BU2NCAAAAAGAXBLQ/ABBGb250VGhlbWVDb2xvcgAAAAAAAUZvbnRUaW50QW5kU2hhZGUAAAAAAAAAAAAQRm9udFNjaGVtZUNvbG9yAAAAAAAIRm9udEl0YWxpYwAAAkZvbnROYW1lAAYAAABBcmlhbAABRm9udFNpemUAAAAAAAAAJEAIRm9udFN0cmlrZXRocm91Z2gAAAhGb250U3Vic2NyaXB0AAAIRm9udFN1cGVyc2NyaXB0AAAIRm9udFVuZGVybGluZQAAAAhTaXplVG9UZXh0V2lkdGgAAAhTaXplVG9UZXh0SGVpZ2h0AAADVGV4dE1hcmdpbgA/AAAAAUxlZnQAAAAAAAAAAAABVG9wAAAAAAAAAAAAAVJpZ2h0AAAAAAAAAAAAAUJvdHRvbQAAAAAAAAAAAAACRGlzcGxheVRleHQACAAAAENpY2xvIDQAAUhlaWdodAAAAABg3wsnQAFXaWR0aAAAAACAiIhBQAFUb3AAAAAAwPzgVkABTGVmdAAAAABASVw3QAhGbGlwSG9yaXpvbnRhbGx5AAAIRmxpcEhvcml6b250YWxseUFwcGxpZWQAAAhGbGlwVmVydGljYWxseQAACEZsaXBWZXJ0aWNhbGx5QXBwbGllZAAAAVJvdGF0aW9uAAAAAAAAAAAAAVpPcmRlcgAAAAAAAAA+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mVjdGFuZ2xlAHQGAAACQXV0b1NoYXBlVHlwZQAKAAAAUmVjdGFuZ2xlAAVNYW5hZ2VkSWQAEAAAAAS+TbWRLtwoRLXcB2MoZE4kCEhhc0NoYW5nZXMAAAhVc2VOYW1lSW5zdGVhZE9mVGFnQXNJZAAACFNoYXBlUHJldmlvdXNseUNyZWF0ZWQAAANGaWxsQ29sb3IAVQAAABBBAAAAAAAQUgD/AAAAEEcA/wAAABBCAP8AAAABU2NBAAAAAAAAAAAAAVNjUgAAAAAAAADwPwFTY0cAAAAAAAAA8D8BU2NCAAAAAAAAAPA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A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QC0FOEABV2lkdGgAAAAAAIPbjUABVG9wAAAAACAVUVVAAUxlZnQAAAAAAEriCkAIRmxpcEhvcml6b250YWxseQAACEZsaXBIb3Jpem9udGFsbHlBcHBsaWVkAAAIRmxpcFZlcnRpY2FsbHkAAAhGbGlwVmVydGljYWxseUFwcGxpZWQAAAFSb3RhdGlvbgAAAAAAAAAAAAFaT3JkZXIAAAAAAAAAJkADQm9yZGVyQ29sb3IAVQAAABBBAAAAAAAQUgAAAAAAEEcAAAAAABBCAAAAAAABU2NBAAAAAAAAAAAAAVNjUgAAAAAAAAAAAAFTY0cAAAAAAAAAAAABU2NCAAAAAAAAAAAAABBCb3JkZXJUaGVtZUNvbDEAAAAFMAAAADIAAADnDwAAAAAAAAAAAAB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TZXBhcmF0b3JMaW5lAOEGAAADU3RhcnQAGwAAAAFYAM3MzMwWrwdAAVkAEqifZWBSW0AAA0VuZAAbAAAAAVgAMzMzfZj5jUABWQASqJ9lYFJbQAACU3RhcnRBcnJvd0hlYWQAEQAAAG1zb0Fycm93aGVhZE5vbmUAAkVuZEFycm93SGVhZAARAAAAbXNvQXJyb3doZWFkTm9uZQAFTWFuYWdlZElkABAAAAAEtjR+tbmE9EymOPuq1I/XuAhIYXNDaGFuZ2VzAAAIVXNlTmFtZUluc3RlYWRPZlRhZ0FzSWQAAAhTaGFwZVByZXZpb3VzbHlDcmVhdGVkAAA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AAAAAAAAVdpZHRoAAAAAGDp4Y1AAVRvcAAAAABgYFJbQAFMZWZ0AAAAAMAWrwdACEZsaXBIb3Jpem9udGFsbHkAAAhGbGlwSG9yaXpvbnRhbGx5QXBwbGllZAAACEZsaXBWZXJ0aWNhbGx5AAAIRmxpcFZlcnRpY2FsbHlBcHBsaWVkAAABUm90YXRpb24AAAAAAAAAAAABWk9yZGVyAAAAAAAAAChAA0JvcmRlckNvbG9yAFUAAAAQQQD/AAAAEFIA4wAAABBHAOMAAAAQQgDjAAAAAVNjQQAAAAAAAADwPwFTY1IAAAAAwLGU6D8BU2NHAAAAAMCxlOg/AVNjQgAAAADAsZToPwAQQm9yZGVyVGhlbWVDb2xvcgAAAAAAAUJvcmRlclRpbnRBbmRTaGFkZQAAAAAAAAAAABBCb3JkZXJTY2hlbWVDb2xvcgAAAAAAAUJvcmRlclRoaWNrbmVzcwAAAAAAAADw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AAAAJOYW1lAAgAAABPRUUgQXBwAAJTdW1tYXJ5TGFiZWwAHAAAADTigIsvMTQvMjAyNCAtIDUvMTcvMjAy4oCLNAAISXNMYWJlbEluc2lkZUJvdW5kcwABAkxhYmVsUG9zaXRpb24ABQAAAExlZnQACElzSGlnaGxpZ2h0ZWQAAAhJc1NlcGFyYXRvckxpbmVWaXNpYmxlAAEDTGVmdFNpZGVTdHlsZQB0BAAAAURlZmF1bHRGb250U2l6ZQAAAAAAAAAkQAFGb250U2l6ZQAAAAAAAAAoQANGb250Q29sb3IAVQAAABBBAP8AAAAQUgAQAAAAEEcAOAAAABBCAE8AAAABU2NBAAAAAAAAAPA/AVNjUgAAAADgNjl1PwFTY0cAAAAAgGc/pD8BU2NCAAAAAGAXBLQ/ABBGb250VGhlbWVDb2xvcgAAAAAAEEZvbnRTY2hlbWVDb2xvcgAAAAAAAUZvbnRUaW50QW5kU2hhZGUAAAAAAAAAAAADUGF0dGVybkNvbG9yAFUAAAAQQQAAAAAAEFIAAAAAABBHAAAAAAAQQgAAAAAAAVNjQQAAAAAAAAAAAAFTY1IAAAAAAAAAAAABU2NHAAAAAAAAAAAAAVNjQgAAAAAAAAAAAAAQUGF0dGVyblRoZW1lQ29sb3IAAAAAAAFQYXR0ZXJuVGludEFuZFNoYWRlAAAAAAAAAAAAA0RhdGFTdHlsZUZvbnRDb2xvclZhbHVlAFUAAAAQQQD/AAAAEFIAEAAAABBHADgAAAAQQgBPAAAAAVNjQQAAAAAAAADwPwFTY1IAAAAA4DY5dT8BU2NHAAAAAIBnP6Q/AVNjQgAAAABgFwS0PwAIRGF0YVN0eWxlRm9udENvbG9ySGFzVmFsdWUAAQFIZWlnaHQAAAAAAAAAAAACRGFzaFN0eWxlAA0AAABtc29MaW5lU29saWQACEhhc1dpc2hGaWxsQ29sb3IAAQNGaWxsQ29sb3IAVQAAABBBAAAAAAAQUgD/AAAAEEcA/wAAABBCAP8AAAABU2NBAAAAAAAAAAAAAVNjUgAAAAAAAADwPwFTY0cAAAAAAAAA8D8BU2NCAAAAAAAAAPA/ABBGaWxsU2NoZW1lQ29sb3IAAAAAABBGaWxsVGhlbWVDb2xvcgAAAAAAAUZpbGxUaW50QW5kU2hhZGUAAAAAAAAAAAADQm9yZGVyQ29sb3IAVQAAABBBAP8AAAAQUgDjAAAAEEcA4wAAABBCAOMAAAABU2NBAAAAAAAAAPA/AVNjUgAAAADAsZToPwFTY0cAAAAAwLGU6D8BU2NCAAAAAMCxlOg/ABBCb3JkZXJUaGVtZUNvbG9yAAAAAAABQm9yZGVyVGludEFuZFNoYWRlAAAAAAAAAAAACElzRmlsbGVkAAECUGF0dGVybgAQAAAAbXNvUGF0dGVybk1peGVkAAJTaGFwZVR5cGUADgAAAG1zb1NoYXBlTWl4ZWQAA0xhYmVsT2Zmc2V0AEIAAAABWAAAAAAAAAAAAAFZAAAAAAAAAAAAAUxlbmd0aAAAAAAAAAAAAAFMZW5ndGhTcXVhcmVkAAAAAAAAAAAAAAFCb3JkZXJUaGlja25lc3MAAAAAAAAA8D8ISXNGb250Qm9sZAAACElzRm9udEl0YWxpYwAACElzRm9udFVuZGVybGluZWQAAAhMYWJlbEhhc0JhY2tncm91bmQAAAJUZXh0QWxpZ25tZW50AAUAAABMZWZ0AAADU3VtbWFyeVN0eWxlAHQEAAABRGVmYXVsdEZvbnRTaXplAAAAAAAAACRAAUZvbnRTaXplAAAAAAAAACRAA0ZvbnRDb2xvcgBVAAAAEEEA/wAAABBSAP8AAAAQRwD/AAAAEEIA/wAAAAFTY0EAAAAAAAAA8D8BU2NSAAAAAAAAAPA/AVNjRwAAAAAAAADwPwFTY0IAAAAAAAAA8D8AEEZvbnRUaGVtZUNvbG9yAAAAAAAQRm9udFNjaGVtZUNvbG9yAAAAAAABRm9udFRpbnRBbmRTaGFkZQAAAAAAAAAAAANQYXR0ZXJuQ29sb3IAVQAAABBBAAAAAAAQUgAAAAAAEEcAAAAAABBCAAAAAAABU2NBAAAAAAAAAAAAAVNjUgAAAAAAAAAAAAFTY0cAAAAAAAAAAAABU2NCAAAAAAAAAAAAABBQYXR0ZXJuVGhlbWVDb2xvcgAAAAAAAVBhdHRlcm5UaW50QW5kU2hhZGUAAAAAAAAAAAADRGF0YVN0eWxlRm9udENvbG9yVmFsdWUAVQAAABBBAAAAAAAQUgAAAAAAEEcAAAAAABBCAAAAAAABU2NBAAAAAAAAAAAAAVNjUgAAAAAAAAAAAAFTY0cAAAAAAAAAAAABU2NCAAAAAAAAAAAAAAhEYXRhU3R5bGVGb250Q29sb3JIYXNWYWx1ZQAAAUhlaWdodAAAAADg3TIoQAJEYXNoU3R5bGUADQAAAG1zb0xpbmVTb2xpZAAISGFzV2lzaEZpbGxDb2xvcgAAA0ZpbGxDb2xvcgBVAAAAEEEA/wAAABBSAEAAAAAQRwBgAAAAEEIAcgAAAAFTY0EAAAAAAAAA8D8BU2NSAAAAAMD9P6o/AVNjRwAAAABAyvEyAAAABTEAAAAzAAAA5w8AAAAAAAAAAAAAvT8BU2NCAAAAAADaicU/ABBGaWxsU2NoZW1lQ29sb3IAAAAAABBGaWxsVGhlbWVDb2xvcgAAAAAAAUZpbGxUaW50QW5kU2hhZGUAAAAAAAAAAAADQm9yZGVyQ29sb3IAVQAAABBBAP8AAAAQUgBAAAAAEEcAYAAAABBCAHIAAAABU2NBAAAAAAAAAPA/AVNjUgAAAADA/T+qPwFTY0cAAAAAQMrxvT8BU2NCAAAAAADaicU/ABBCb3JkZXJUaGVtZUNvbG9yAAAAAAABQm9yZGVyVGludEFuZFNoYWRlAAAAAAAAAAAACElzRmlsbGVkAAECUGF0dGVybgAQAAAAbXNvUGF0dGVybk1peGVkAAJTaGFwZVR5cGUADgAAAG1zb1NoYXBlTWl4ZWQAA0xhYmVsT2Zmc2V0AEIAAAABWAAAAAAAAAAAAAFZAAAAAAAAAAAAAUxlbmd0aAAAAAAAAAAAAAFMZW5ndGhTcXVhcmVkAAAAAAAAAAAAAAFCb3JkZXJUaGlja25lc3MAAAAAAAAA8D8ISXNGb250Qm9sZAAACElzRm9udEl0YWxpYwAACElzRm9udFVuZGVybGluZWQAAAhMYWJlbEhhc0JhY2tncm91bmQAAAJUZXh0QWxpZ25tZW50AAUAAABMZWZ0AAAIRGlzcGxheUxhYmVsAAEISXNDb2xsYXBzZWQAAAhJc0xlYWRlckxpbmVJbkF1dG9Nb2RlAAEBU2VjdGlvblRvcAAAAAAA/VxBQAFTZWN0aW9uSGVpZ2h0ABKon+Xhw1JAA0xlZnROb3RlcwDHBAAAA1RleHRTdHlsZQBbBAAAAURlZmF1bHRGb250U2l6ZQAAAAAAAAAkQAFGb250U2l6ZQAAAAAAAAAkQANGb250Q29sb3IAVQAAABBBAP8AAAAQUgAQAAAAEEcAOAAAABBCAE8AAAABU2NBAAAAAAAAAPA/AVNjUgAAAADgNjl1PwFTY0cAAAAAgGc/pD8BU2NCAAAAAGAXBLQ/ABBGb250VGhlbWVDb2xvcgAAAAAAEEZvbnRTY2hlbWVDb2xvcgAAAAAAAUZvbnRUaW50QW5kU2hhZGUAAAAAAAAAAAADUGF0dGVybkNvbG9yAFUAAAAQQQAAAAAAEFIAAAAAABBHAAAAAAAQQgAAAAAAAVNjQQAAAAAAAAAAAAFTY1IAAAAAAAAAAAABU2NHAAAAAAAAAAAAAVNjQgAAAAAAAAAAAAAQUGF0dGVyblRoZW1lQ29sb3IAAAAAAAFQYXR0ZXJuVGludEFuZFNoYWRlAAAAAAAAAAAAA0RhdGFTdHlsZUZvbnRDb2xvclZhbHVlAFUAAAAQQQD/AAAAEFIAEAAAABBHADgAAAAQQgBPAAAAAVNjQQAAAAAAAADwPwFTY1IAAAAA4DY5dT8BU2NHAAAAAIBnP6Q/AVNjQgAAAABgFwS0PwAIRGF0YVN0eWxlRm9udENvbG9ySGFzVmFsdWUAAQFIZWlnaHQAAAAAAAAAAAACRGFzaFN0eWxlAA0AAABtc29MaW5lU29saWQACEhhc1dpc2hGaWxsQ29sb3IAAANGaWxsQ29sb3IAVQAAABBBAP8AAAAQUgAAAAAAEEcAAAAAABBCAAAAAAABU2NBAAAAAAAAAPA/AVNjUgAAAAAAAAAAAAFTY0cAAAAAAAAAAAABU2NCAAAAAAAAAAAAABBGaWxsU2NoZW1lQ29sb3IAAAAAABBGaWxsVGhlbWVDb2xvcgAAAAAAAUZpbGxUaW50QW5kU2hhZGUAAAAAAAAAAAADQm9yZGVyQ29sb3IAVQAAABBBAAAAAAAQUgAAAAAAEEcAAAAAABBCAAAAAAABU2NBAAAAAAAAAAAAAVNjUgAAAAAAAAAAAAFTY0cAAAAAAAAAAAABU2NCAAAAAAAAAAAAABBCb3JkZXJUaGVtZUNvbG9yAAAAAAABQm9yZGVyVGludEFuZFNoYWRlAAAAAAAAAAAACElzRmlsbGVkAAECUGF0dGVybgAQAAAAbXNvUGF0dGVybk1peGVkAAJTaGFwZVR5cGUADgAAAG1zb1NoYXBlTWl4ZWQAA0xhYmVsT2Zmc2V0AEIAAAABWAAAAAAAAAAAAAFZAAAAAAAAAAAAAUxlbmd0aAAAAAAAAAAAAAFMZW5ndGhTcXVhcmVkAAAAAAAAAAAAAAhJc0ZvbnRCb2xkAAAISXNGb250SXRhbGljAAAISXNGb250VW5kZXJsaW5lZAAACExhYmVsSGFzQmFja2dyb3VuZAAAAlRleHRBbGlnbm1lbnQABQAAAExlZnQAAAhIYXJ2ZXlCYWxsVmlzaWJsZQABEEhhcnZleUJhbGxWYWx1ZQAAAAAAAkNoZWNrQm94U3RhdGUABQAAAE5vbmUAAlRyYWZmaWNMaWdodFN0YXRlAAQAAABPZmYAAANSaWdodE5vdGVzAMcEAAADVGV4dFN0eWxlAFsEAAABRGVmYXVsdEZvbnRTaXplAAAAAAAAACRAAUZvbnRTaXplAAAAAAAAACRAA0ZvbnRDb2xvcgBVAAAAEEEA/wAAABBSABAAAAAQRwA4AAAAEEIATwAAAAFTY0EAAAAAAAAA8D8BU2NSAAAAAOA2OXU/AVNjRwAAAACAZz+kPwFTY0IAAAAAYBcEtD8AEEZvbnRUaGVtZUNvbG9yAAAAAAAQRm9udFNjaGVtZUNvbG9yAAAAAAABRm9udFRpbnRBbmRTaGFkZQAAAAAAAAAAAANQYXR0ZXJuQ29sb3IAVQAAABBBAAAAAAAQUgAAAAAAEEcAAAAAABBCAAAAAAABU2NBAAAAAAAAAAAAAVNjUgAAAAAAAAAAAAFTY0cAAAAAAAAAAAABU2NCAAAAAAAAAAAAABBQYXR0ZXJuVGhlbWVDb2xvcgAAAAAAAVBhdHRlcm5UaW50QW5kU2hhZGUAAAAAAAAAAAADRGF0YVN0eWxlRm9udENvbG9yVmFsdWUAVQAAABBBAP8AAAAQUgAQAAAAEEcAOAAAABBCAE8AAAABU2NBAAAAAAAAAPA/AVNjUgAAAADgNjl1PwFTY0cAAAAAgGc/pD8BU2NCAAAAAGAXBLQ/AAhEYXRhU3R5bGVGb250Q29sb3JIYXNWYWx1ZQABAUhlaWdodAAAAAAAAAAAAAJEYXNoU3R5bGUADQAAAG1zb0xpbmVTb2xpZAAISGFzV2lzaEZpbGxDb2xvcgAAA0ZpbGxDb2xvcgBVAAAAEEEA/wAAABBSAAAAAAAQRwAAAAAAEEIAAAAAAAFTY0EAAAAAAAAA8D8BU2NSAAAAAAAAAAAAAVNjRwAAAAAAAAAAAAFTY0IAAAAAAAAAAAAAEEZpbGxTY2hlbWVDb2xvcgAAAAAAEEZpbGxUaGVtZUNvbG9yAAAAAAABRmlsbFRpbnRBbmRTaGFkZQAAAAAAAAAAAANCb3JkZXJDb2xvcgBVAAAAEEEAAAAAABBSAAAAAAAQRwAAAAAAEEIAAAAAAAFTY0EAAAAAAAAAAAABU2NSAAAAAAAAAAAAAVNjRwAAAAAAAAAAAAFTY0IAAAAAAAAAAAAAEEJvcmRlclRoZW1lQ29sb3IAAAAAAAFCb3JkZXJUaW50QW5kU2hhZGUAAAAAAAAAAAAISXNGaWxsZWQAAQJQYXR0ZXJuABAAAABtc29QYXR0ZXJuTWl4ZWQAAlNoYXBlVHlwZQAOAAAAbXNvU2hhcGVNaXhlZAADTGFiZWxPZmZzZXQAQgAAAAFYAAAAAAAAAAAAAVkAAAAAAAAAAAABTGVuZ3RoAAAAAAAAAAAAAUxlbmd0aFNxdWFyZWQAAAAAAAAAAAAACElzRm9udEJvbGQAAAhJc0ZvbnRJdGFsaWMAAAhJc0ZvbnRVbmRlcmxpbmVkAAAITGFiZWxIYXNCYWNrZ3JvdW5kAAACVGV4dEFsaWdubWVudAAFAAAATGVmdAAACEhhcnZleUJhbGxWaXNpYmxlAAEQSGFydmV5QmFsbFZhbHVlAAAAAAACQ2hlY2tCb3hTdGF0ZQAFAAAATm9uZQACVHJhZmZpY0xpZ2h0U3RhdGUABAAAAE9mZgAAA0xlZnROb3Rlc1JlbmRlckluZm8AYRQAAANMYWJlbAB0BgAABU1hbmFnZWRJZAAQAAAABDRgdkRTj5dGi5ilbgScYdQISGFzQ2hhbmdlcwABCFVzZU5hbWVJbnN0ZWFkT2ZUYWdBc0lkAAAIU2hhcGVQcmV2aW91c2x5Q3JlYXRlZAAA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ACRmlsbFBhdHRlcm4AEAAAAG1zb1BhdHRlcm5NaXhlZAACVGV4dAABAAAA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MwAAAAUyAAAANAAAAOcPAAAAAAAAAAAAAAAAAAAAAAFSaWdodAAAAAAAAAAAAAFCb3R0b20AAAAAAAAAAAAAAkRpc3BsYXlUZXh0AAEAAAAAAUhlaWdodAAAAAAAAADwPwFXaWR0aAAAAAAAAADwPwFUb3AAAAAAAIyWcUABTGVmdAAAAABAZfaNQAhGbGlwSG9yaXpvbnRhbGx5AAAIRmxpcEhvcml6b250YWxseUFwcGxpZWQAAAhGbGlwVmVydGljYWxseQAACEZsaXBWZXJ0aWNhbGx5QXBwbGllZAAAAVJvdGF0aW9uAAAAAAAAAAAAAVpPcmRlcgAAAAAAAAAAA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2VwYXJhdG9yTGluZQDhBgAAA1N0YXJ0ABsAAAABWADNzMwWMvONQAFZAAAAAKCTn01AAANFbmQAGwAAAAFYADMzM32Y+Y1AAVkAAAAAoJOfTUAAAlN0YXJ0QXJyb3dIZWFkABEAAABtc29BcnJvd2hlYWROb25lAAJFbmRBcnJvd0hlYWQAEQAAAG1zb0Fycm93aGVhZE5vbmUABU1hbmFnZWRJZAAQAAAABJ+fbi33hCROlXfjWD39KaEISGFzQ2hhbmdlcwABCFVzZU5hbWVJbnN0ZWFkT2ZUYWdBc0lkAAAIU2hhcGVQcmV2aW91c2x5Q3JlYXRlZAAA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CgmZnpPwFUb3AAAAAAoJOfTUABTGVmdAAAAAAgMvONQAhGbGlwSG9yaXpvbnRhbGx5AAAIRmxpcEhvcml6b250YWxseUFwcGxpZWQAAAhGbGlwVmVydGljYWxseQAACEZsaXBWZXJ0aWNhbGx5QXBwbGllZAAAAVJvdGF0aW9uAAAAAAAAAAAAAVpPcmRlcgAAAAAAAIBVQANCb3JkZXJDb2xvcgBVAAAAEEEA/wAAABBSAOMAAAAQRwDjAAAAEEIA4wAAAAFTY0EAAAAAAAAA8D8BU2NSAAAAAMCxlOg/AVNjRwAAAADAsZToPwFTY0IAAAAAwLGU6D8AEEJvcmRlclRoZW1lQ29sb3IAAAAAAAFCb3JkZXJUaW50QW5kU2hhZGUAAAAAAAAAAAAQQm9yZGVyU2NoZW1lQ29sb3IAAAAAAAFCb3JkZXJUaGlja25lc3MAAAAAAAAA8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mVjdGFuZ2xlAHQGAAACQXV0b1NoYXBlVHlwZQAKAAAAUmVjdGFuZ2xlAAVNYW5hZ2VkSWQAEAAAAASFPqnzgzicT6ZS152x+QFTCEhhc0NoYW5nZXMAAQhVc2VOYW1lSW5zdGVhZE9mVGFnQXNJZAAACFNoYXBlUHJldmlvdXNseUNyZWF0ZWQAAANGaWxsQ29sb3IAVQAAABBBAAAAAAAQUgD/AAAAEEcA/wAAABBCAP8AAAABU2NBAAAAAAAAAAAAAVNjUgAAAAAAAADwPwFTY0cAAAAAAAAA8D8BU2NCAAAAAAAAAPA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A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QC2FOEABV2lkdGgAAAAAAAAAAAABVG9wAAAAAAD9XEFAAUxlZnQAAAAAQGXujUAIRmxpcEhvcml6b250YWxseQAACEZsaXBIb3Jpem9udGFsbHlBcHBsaWVkAAAIRmxpcFZlcnRpY2FsbHkAAAhGbGlwVmVydGljYWxseUFwcGxpZWQAAAFSb3RhdGlvbgAAAAAAAAAAAAFaT3JkZXIAAAAAAABAVU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DQAAAAFMwAAADUAAADnDwAAAAAAAAAAAAAAAVNwYWNlQmVmb3JlAAAAAAAAAAAAAVNwYWNlV2l0aGluAAAAAAAAAAAAAARUcmFmZmljTGlnaHREYXRhAAUAAAAABEhhcnZleUJhbGxEYXRhAAUAAAAAAlRyYWZmaWNMaWdodFN0YXRlAAQAAABPZmYABENoZWNrQm94RGF0YQAFAAAAAAJDaGVja0JveFN0YXRlAAUAAABOb25lAAADUmlnaHROb3Rlc1JlbmRlckluZm8AYRQAAANMYWJlbAB0BgAABU1hbmFnZWRJZAAQAAAABJoQqI3ye3dLtGYNgVSHvEgISGFzQ2hhbmdlcwABCFVzZU5hbWVJbnN0ZWFkT2ZUYWdBc0lkAAAIU2hhcGVQcmV2aW91c2x5Q3JlYXRlZAAA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ACRmlsbFBhdHRlcm4AEAAAAG1zb1BhdHRlcm5NaXhlZAACVGV4dAABAAAA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CRGlzcGxheVRleHQAAQAAAAABSGVpZ2h0AAAAAAAAAPA/AVdpZHRoAAAAAAAAAPA/AVRvcAAAAAAAjJZxQAFMZWZ0AAAAAEBl9o1ACEZsaXBIb3Jpem9udGFsbHkAAAhGbGlwSG9yaXpvbnRhbGx5QXBwbGllZAAACEZsaXBWZXJ0aWNhbGx5AAAIRmxpcFZlcnRpY2FsbHlBcHBsaWVkAAABUm90YXRpb24AAAAAAAAAAAABWk9yZGVyAAAAAAAAAAA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TZXBhcmF0b3JMaW5lAOEGAAADU3RhcnQAGwAAAAFYAM3MzBYy841AAVkAAAAAoJOfTUAAA0VuZAAbAAAAAVgAMzMzfZj5jUABWQAAAACgk59NQAACU3RhcnRBcnJvd0hlYWQAEQAAAG1zb0Fycm93aGVhZE5vbmUAAkVuZEFycm93SGVhZAARAAAAbXNvQXJyb3doZWFkTm9uZQAFTWFuYWdlZElkABAAAAAE7sIWszTm0EOnktD0yuhRqwhIYXNDaGFuZ2VzAAEIVXNlTmFtZUluc3RlYWRPZlRhZ0FzSWQAAAhTaGFwZVByZXZpb3VzbHlDcmVhdGVkAAA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AAAAAAAAVdpZHRoAAAAAKCZmek/AVRvcAAAAACgk59NQAFMZWZ0AAAAACAy841ACEZsaXBIb3Jpem9udGFsbHkAAAhGbGlwSG9yaXpvbnRhbGx5QXBwbGllZAAACEZsaXBWZXJ0aWNhbGx5AAAIRmxpcFZlcnRpY2FsbHlBcHBsaWVkAAABUm90YXRpb24AAAAAAAAAAAABWk9yZGVyAAAAAAAAgFVAA0JvcmRlckNvbG9yAFUAAAAQQQD/AAAAEFIA4wAAABBHAOMAAAAQQgDjAAAAAVNjQQAAAAAAAADwPwFTY1IAAAAAwLGU6D8BU2NHAAAAAMCxlOg/AVNjQgAAAADAsZToPwAQQm9yZGVyVGhlbWVDb2xvcgAAAAAAAUJvcmRlclRpbnRBbmRTaGFkZQAAAAAAAAAAABBCb3JkZXJTY2hlbWVDb2xvcgAAAAAAAUJvcmRlclRoaWNrbmVzcwAAAAAAAADw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SZWN0YW5nbGUAdAYAAAJBdXRvU2hhcGVUeXBlAAoAAABSZWN0YW5nbGUABU1hbmFnZWRJZAAQAAAABNpmVUIitO1Fu23NOdCZcrQISGFzQ2hhbmdlcwABCFVzZU5hbWVJbnN0ZWFkT2ZUYWdBc0lkAAAIU2hhcGVQcmV2aW91c2x5Q3JlYXRlZAAAA0ZpbGxDb2xvcgBVAAAAEEEAAAAAABBSAP8AAAAQRwD/AAAAEEIA/wAAAAFTY0EAAAAAAAAAAAABU2NSAAAAAAAAAPA/AVNjRwAAAAAAAADwPwFTY0IAAAAAAAAA8D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1AAAABTQAAAA2AAAA5w8AAAAAAAAAAAAAAAAACEZpbGxWaXNpYmxlAAEIVmlzaWJsZQAA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QC2FOEABV2lkdGgAAAAAAAAAAAABVG9wAAAAAAD9XEFAAUxlZnQAAAAAQGXujUAIRmxpcEhvcml6b250YWxseQAACEZsaXBIb3Jpem9udGFsbHlBcHBsaWVkAAAIRmxpcFZlcnRpY2FsbHkAAAhGbGlwVmVydGljYWxseUFwcGxpZWQAAAFSb3RhdGlvbgAAAAAAAAAAAAFaT3JkZXIAAAAAAABAVU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BFRyYWZmaWNMaWdodERhdGEABQAAAAAESGFydmV5QmFsbERhdGEABQAAAAACVHJhZmZpY0xpZ2h0U3RhdGUABAAAAE9mZgAEQ2hlY2tCb3hEYXRhAAUAAAAAAkNoZWNrQm94U3RhdGUABQAAAE5vbmUAAANMZWZ0U2lkZVJlbmRlckluZm8AHBQAAANMYWJlbAChBgAABU1hbmFnZWRJZAAQAAAABEy75uEO9tVBvXkByqbYJlsISGFzQ2hhbmdlcwAACFVzZU5hbWVJbnN0ZWFkT2ZUYWdBc0lkAAAIU2hhcGVQcmV2aW91c2x5Q3JlYXRlZAAB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AAIAAAAT0VFIEFwcAACVGV4dEhvcml6b250YWxBbGlnbm1lbnQADgAAAG1zb0FuY2hvck5vbmUAAlBhcmFncmFwaEFsaWdubWVudAANAAAAbXNvQWxpZ25MZWZ0AAJUZXh0VmVydGljYWxBbGlnbm1lbnQADQAAAG1zb0FuY2hvclRvcAADRm9udFN0eWxlAEABAAAQRm9udEJhY2tncm91bmQAAAAAAAhGb250Qm9sZAAAA0ZvbnRDb2xvcgBVAAAAEEEA/wAAABBSABAAAAAQRwA4AAAAEEIATwAAAAFTY0EAAAAAAAAA8D8BU2NSAAAAAOA2OXU/AVNjRwAAAACAZz+kPwFTY0IAAAAAYBcEtD8AEEZvbnRUaGVtZUNvbG9yAAAAAAABRm9udFRpbnRBbmRTaGFkZQAAAAAAAAAAABBGb250U2NoZW1lQ29sb3IAAAAAAAhGb250SXRhbGljAAACRm9udE5hbWUABgAAAEFyaWFsAAFGb250U2l6ZQAAAAAAAAAoQAhGb250U3RyaWtldGhyb3VnaAAACEZvbnRTdWJzY3JpcHQAAAhGb250U3VwZXJzY3JpcHQAAAhGb250VW5kZXJsaW5lAAAACFNpemVUb1RleHRXaWR0aAAACFNpemVUb1RleHRIZWlnaHQAAANUZXh0TWFyZ2luAD8AAAABTGVmdAAAAAAAAAAAAAFUb3AAAAAAAAAAAAABUmlnaHQAAAAAAAAAAAABQm90dG9tAAAAAAAAAAAAAAJEaXNwbGF5VGV4dAAIAAAAT0VFIEFwcAABSGVpZ2h0AAAAAMCouypAAVdpZHRoAAAAAMCB7kpAAVRvcAAAAABA01ZEQAFMZWZ0AAAAAICSuCpACEZsaXBIb3Jpem9udGFsbHkAAAhGbGlwSG9yaXpvbnRhbGx5QXBwbGllZAAACEZsaXBWZXJ0aWNhbGx5AAAIRmxpcFZlcnRpY2FsbHlBcHBsaWVkAAABUm90YXRpb24AAAAAAAAAAAABWk9yZGVyAAAAAAAAAD5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SZWN0YW5nbGUAdAYAAAJBdXRvU2hhcGVUeXBlAAoAAABSZWN0YW5nbGUABU1hbmFnZWRJZAAQAAAABEigDWXbxy1KvshIoRQAjx0ISGFzQ2hhbmdlcwAACFVzZU5hbWVJbnN0ZWFkT2ZUYWdBc0lkAAAIU2hhcGVQcmV2aW91c2x5Q3JlYXRlZAAAA0ZpbGxDb2xvcgBVAAAAEEEAAAAAABBSAP8AAAAQRwD/AAAAEEIA/wAAAAFTY0EAAAAAAAAAAAABU2NSAAAAAAAAAPA/AVNjRwAAAAAAAADwPwFTY0IAAAAAAAAA8D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A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NgAAAAU1AAAANwAAAOcPAAAAAAAAAAAAAHQAAAAAAAAAAAABQm90dG9tAAAAAAAAAAAAAAFIZWlnaHQAAAAAQC2FOEABV2lkdGgAAAAAAIPbjUABVG9wAAAAAAD9XEFAAUxlZnQAAAAAAEriCkAIRmxpcEhvcml6b250YWxseQAACEZsaXBIb3Jpem9udGFsbHlBcHBsaWVkAAAIRmxpcFZlcnRpY2FsbHkAAAhGbGlwVmVydGljYWxseUFwcGxpZWQAAAFSb3RhdGlvbgAAAAAAAAAAAAFaT3JkZXIAAAAAAAAAJk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NlcGFyYXRvckxpbmUA4QYAAANTdGFydAAbAAAAAVgAzczMzBavB0ABWQC3GhWZk59NQAADRW5kABsAAAABWAAzMzN9mPmNQAFZALcaFZmTn01AAAJTdGFydEFycm93SGVhZAARAAAAbXNvQXJyb3doZWFkTm9uZQACRW5kQXJyb3dIZWFkABEAAABtc29BcnJvd2hlYWROb25lAAVNYW5hZ2VkSWQAEAAAAARNuMqwSmA9TbSxhKIL9W2yCEhhc0NoYW5nZXMAAAhVc2VOYW1lSW5zdGVhZE9mVGFnQXNJZAAACFNoYXBlUHJldmlvdXNseUNyZWF0ZWQAAA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YOnhjUABVG9wAAAAAKCTn01AAUxlZnQAAAAAwBavB0AIRmxpcEhvcml6b250YWxseQAACEZsaXBIb3Jpem9udGFsbHlBcHBsaWVkAAAIRmxpcFZlcnRpY2FsbHkAAAhGbGlwVmVydGljYWxseUFwcGxpZWQAAAFSb3RhdGlvbgAAAAAAAAAAAAFaT3JkZXIAAAAAAAAAKEADQm9yZGVyQ29sb3IAVQAAABBBAP8AAAAQUgDjAAAAEEcA4wAAABBCAOMAAAABU2NBAAAAAAAAAPA/AVNjUgAAAADAsZToPwFTY0cAAAAAwLGU6D8BU2NCAAAAAMCxlOg/ABBCb3JkZXJUaGVtZUNvbG9yAAAAAAABQm9yZGVyVGludEFuZFNoYWRlAAAAAAAAAAAAEEJvcmRlclNjaGVtZUNvbG9yAAAAAAABQm9yZGVyVGhpY2tuZXNzAAAAAAAAAPA/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ANTdW1tYXJ5UmVuZGVySW5mbwAKFwAAA0ZyZWVmb3JtUmVjdGFuZ2xlAPwIAAAEVmVydGljZXMAmwIAAAMwACwAAAAQSW5kZXgwAAAAAAAQSW5kZXgxAAAAAAABVmFsdWUAAAAAoJUrXkAAAzEALAAAABBJbmRleDAAAAAAABBJbmRleDEAAQAAAAFWYWx1ZQAAAACg7JdEQAADMgAsAAAAEEluZGV4MAABAAAAEEluZGV4MQAAAAAAAVZhbHVlAAAAAKCVK15AAAMzACwAAAAQSW5kZXgwAAEAAAAQSW5kZXgxAAEAAAABVmFsdWUAAAAAYEieR0AAAzQALAAAABBJbmRleDAAAgAAABBJbmRleDEAAAAAAAFWYWx1ZQAAAACglSteQAADNQAsAAAAEEluZGV4MAACAAAAEEluZGV4MQABAAAAAVZhbHVlAAAAACCkpEpAAAM2ACwAAAAQSW5kZXgwAAMAAAAQSW5kZXgxAAAAAAABVmFsdWUAAAAAALikcUAAAzcALAAAABBJbmRleDAAAwAAABBJbmRleDEAAQAAAAFWYWx1ZQAAAAAgpKRKQAADOAAsAAAAEEluZGV4MAAEAAAAEEluZGV4MQAAAAAAAVZhbHVlAAAAAAC49HFAAAM5ACwAAAAQSW5kZXgwAAQAAAAQSW5kZXgxAAEAAAABVmFsdWUAAAAAYEieR0AAAzEwACwAAAAQSW5kZXgwAAUAAAAQSW5kZXgxAAAAAAABVmFsdWUAAAAAALikcUAAAzExACwAAAAQSW5kZXgwAAUAAAAQSW5kZXgxAAEAAAABVmFsdWUAAAAAoOyXREAAAzEyACwAAAAQSW5kZXgwAAYAAAAQSW5kZXgxAAAAAAABVmFsdWUAAAAAoJUrXkAAAzEzACwAAAAQSW5kZXgwAAYAAAAQSW5kZXgxAAEAAAABVmFsdWUAAAAAoOyXREAAAAVNYW5hZ2VkSWQAEAAAAAR2/yRyUDzFT6fcEVaz5fJgCEhhc0NoYW5nZXMAAAhVc2VOYW1lSW5zdGVhZE9mVGFnQXNJZAAACFNoYXBlUHJldmlvdXNseUNyZWF0ZWQAAANGaWxsQ29sb3IAVQAAABBBAP8AAAAQUgBAAAAAEEcAYAAAABBCAHIAAAABU2NBAAAAAAAAAPA/AVNjUgAAAADA/T+qPwFTY0cAAAAAQMrxvT8BU2NCAAAAAADaicU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DcAAAAFNgAAADgAAADnDwAAAAAAAAAAAAADVGV4dE1hcmdpbgA/AAAAAUxlZnQAAAAAAAAAAAABVG9wAAAAAAAAAAAAAVJpZ2h0AAAAAAAAAAAAAUJvdHRvbQAAAAAAAAAAAAABSGVpZ2h0AAAAAODdMihAAVdpZHRoAAAAACCl02RAAVRvcAAAAACg7JdEQAFMZWZ0AAAAAKCVK15ACEZsaXBIb3Jpem9udGFsbHkAAAhGbGlwSG9yaXpvbnRhbGx5QXBwbGllZAAACEZsaXBWZXJ0aWNhbGx5AAAIRmxpcFZlcnRpY2FsbHlBcHBsaWVkAAABUm90YXRpb24AAAAAAAAAAAABWk9yZGVyAAAAAAAAAE5AA0JvcmRlckNvbG9yAFUAAAAQQQD/AAAAEFIAQAAAABBHAGAAAAAQQgByAAAAAVNjQQAAAAAAAADwPwFTY1IAAAAAwP0/qj8BU2NHAAAAAEDK8b0/AVNjQgAAAAAA2onFPw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CYXJTdHlsZURhdGEAJQAAAAJCYXJTdHlsZVNoYXBlVHlwZQAJAAAAUGVudGFnb24AAANMYWJlbADMBgAABU1hbmFnZWRJZAAQAAAABK9JkrZAgiVIi2arWRl7AjkISGFzQ2hhbmdlcwAACFVzZU5hbWVJbnN0ZWFkT2ZUYWdBc0lkAAAIU2hhcGVQcmV2aW91c2x5Q3JlYXRlZAABA0ZpbGxDb2xvcgBVAAAAEEEA/wAAABBSAEAAAAAQRwBgAAAAEEIAcgAAAAFTY0EAAAAAAAAA8D8BU2NSAAAAAMD9P6o/AVNjRwAAAABAyvG9PwFTY0IAAAAAANqJxT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AAcAAAANOKAiy8xNC8yMDI0IC0gNS8xNy8yMDLigIs0AAJUZXh0SG9yaXpvbnRhbEFsaWdubWVudAAOAAAAbXNvQW5jaG9yTm9uZQACUGFyYWdyYXBoQWxpZ25tZW50AA0AAABtc29BbGlnbkxlZnQAAlRleHRWZXJ0aWNhbEFsaWdubWVudAAQAAAAbXNvQW5jaG9yTWlkZGxlAANGb250U3R5bGUAQAEAABBGb250QmFja2dyb3VuZAAAAAAACEZvbnRCb2xkAAADRm9udENvbG9yAFUAAAAQQQD/AAAAEFIA/wAAABBHAP8AAAAQQgD/AAAAAVNjQQAAAAAAAADwPwFTY1IAAAAAAAAA8D8BU2NHAAAAAAAAAPA/AVNjQgAAAAAAAADwPwAQRm9udFRoZW1lQ29sb3IAAAAAAAFGb250VGludEFuZFNoYWRlAAAAAAAAAAAAEEZvbnRTY2hlbWVDb2xvcgAAAAAACEZvbnRJdGFsaWMAAAJGb250TmFtZQAGAAAAQXJpYWwAAUZvbnRTaXplAAAAAAAAACRACEZvbnRTdHJpa2V0aHJvdWdoAAAIRm9udFN1YnNjcmlwdAAACEZvbnRTdXBlcnNjcmlwdAAACEZvbnRVbmRlcmxpbmUAAAAIU2l6ZVRvVGV4dFdpZHRoAAAIU2l6ZVRvVGV4dEhlaWdodAAAA1RleHRNYXJnaW4APwAAAAFMZWZ0AAAAAAAAAAAAAVRvcAAAAAAAAAAAAAFSaWdodAAAAAAAAAAAAAFCb3R0b20AAAAAAAAAAAAAAkRpc3BsYXlUZXh0ABwAAAA04oCLLzE0LzIwMjQgLSA1LzE3LzIwMuKAizQAAUhlaWdodAAAAABg3wsnQAFXaWR0aAAAAADAHnVYQAFUb3AAAAAAACm8REABTGVmdAAAAACglStfQAhGbGlwSG9yaXpvbnRhbGx5AAAIRmxpcEhvcml6b250YWxseUFwcGxpZWQAAAhGbGlwVmVydGljYWxseQAACEZsaXBWZXJ0aWNhbGx5QXBwbGllZAAAAVJvdGF0aW9uAAAAAAAAAAAAAVpPcmRlcgAAAAAAAIBO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Q29ubmVjdG9yTGluZQDhBgAAA1N0YXJ0ABsAAAABWAAAAACglSteQAFZAAAAAKDsl0RAAANFbmQAGwAAAAFYAAAAAKCVK15AAVkAAAAAoOyXREAAAlN0YXJ0QXJyb3dIZWFkABEAAABtc29BcnJvd2hlYWROb25lAAJFbmRBcnJvd0hlYWQAEQAAAG1zb0Fycm93aGVhZE5vbmUABU1hbmFnZWRJZAAQAAAABEHgdtICjLRNpGng+aA15iwISGFzQ2hhbmdlcwAACFVzZU5hbWVJbnN0ZWFkT2ZUYWdBc0lkAAAIU2hhcGVQcmV2aW91c2x5Q3JlYXRlZAAA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A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AAAAAAAAFUb3AAAAAAoOyXREABTGVmdAAAAACglSteQAhGbGlwSG9yaXpvbnRhbGx5AAAIRmxpcEhvcml6b250YWxseUFwcGxpZWQAAAhGbGlwVmVydGljYWxseQAACEZsaXBWZXJ0aWNhbGx5QXBwbGllZAAAAVJvdGF0aW9uAAAAAAAAAAAAAVpPcmRlcgAAAAAAAIBOQANCb3JkZXJDb2xvcgBVAAAAEEEA/wAAABBSAEAAAAAQRwBgAAAAEEIAcgAAAAFTY0EAAAAAAAAA8D8BU2NSAAAAAMD9P6o/AVNjRwAAAABAyvG9PwFTY0IAAAAAANqJxT8AEEJvcmRlclRoZW1lQ29sb3IAAAAAAAFCb3JkZXJUaW50QW5kU2hhZGUAAAAAAAAAAAAQQm9yZGVyU2NoZW1lQ29sb3IAAAAAAAFCb3JkZXJUaGlja25lc3MAAAAAAAAAAAACTGluZURhc2hTdHlsZQAKAAAATGluZVNvbGlkAAFGaXJzdExpbmVJbmRlbnQAAAA4AAAABTcAAAA5AAAA5w8AAAAAAAAAAAAAAAAAAAAACEhhbmdpbmdQdW5jdHVhdGlvbgAAEEluZGVudExldmVsAAAAAAABTGVmdEluZGVudAAAAAAAAAAAAAhMaW5lUnVsZUFmdGVyAAAITGluZVJ1bGVCZWZvcmUAAAhMaW5lUnVsZVdpdGhpbgAAAVJpZ2h0SW5kZW50AAAAAAAAAAAAAVNwYWNlQWZ0ZXIAAAAAAAAAAAABU3BhY2VCZWZvcmUAAAAAAAAAAAABU3BhY2VXaXRoaW4AAAAAAAAAAAAAAAJUZXh0SG9yaXpvbnRhbEFsaWdubWVudAACAAAAMAAAAzEA6CICABBfaWQABQAAAARSb3dzANG6AQADMAA9aAAAEF9pZAAGAAAABEl0ZW1zAIccAAADMAB/HAAAAl90eXBlAEsAAABlbXBvd2VyLkNoYXJ0cy5EYXRhLkdhbnR0LkNocm9ub2xvZ3kuRGF0YS5CYXJUYXNrRGF0YSwgZW1wb3dlci5DaGFydHMuRGF0YQACTGFiZWxQb3NpdGlvbgAHAAAAQ2VudGVyAAhJc0xhYmVsSW5zaWRlQm91bmRzAAEDU3R5bGUAWwQAAAFEZWZhdWx0Rm9udFNpemUAAAAAAAAAJEABRm9udFNpemUAAAAAAAAAIEADRm9udENvbG9yAFUAAAAQQQD/AAAAEFIAEAAAABBHADgAAAAQQgBPAAAAAVNjQQAAAAAAAADwPwFTY1IAAAAA4DY5dT8BU2NHAAAAAIBnP6Q/AVNjQgAAAABgFwS0PwAQRm9udFRoZW1lQ29sb3IAAAAAABBGb250U2NoZW1lQ29sb3IAAAAAAAFGb250VGludEFuZFNoYWRlAAAAAAAAAAAAA1BhdHRlcm5Db2xvcgBVAAAAEEEAAAAAABBSAAAAAAAQRwAAAAAAEEIAAAAAAAFTY0EAAAAAAAAAAAABU2NSAAAAAAAAAAAAAVNjRwAAAAAAAAAAAAFTY0IAAAAAAAAAAAAAEFBhdHRlcm5UaGVtZUNvbG9yAAAAAAABUGF0dGVyblRpbnRBbmRTaGFkZQAAAAAAAAAAAANEYXRhU3R5bGVGb250Q29sb3JWYWx1ZQBVAAAAEEEAAAAAABBSAAAAAAAQRwAAAAAAEEIAAAAAAAFTY0EAAAAAAAAAAAABU2NSAAAAAAAAAAAAAVNjRwAAAAAAAAAAAAFTY0IAAAAAAAAAAAAACERhdGFTdHlsZUZvbnRDb2xvckhhc1ZhbHVlAAABSGVpZ2h0AAAAAODdMihAAkRhc2hTdHlsZQANAAAAbXNvTGluZVNvbGlkAAhIYXNXaXNoRmlsbENvbG9yAAADRmlsbENvbG9yAFUAAAAQQQD/AAAAEFIAmQAAABBHANMAAAAQQgDyAAAAAVNjQQAAAAAAAADwPwFTY1IAAAAAIBJj1D8BU2NHAAAAAKBQ2OQ/AVNjQgAAAADA3WnsPwAQRmlsbFNjaGVtZUNvbG9yAAAAAAAQRmlsbFRoZW1lQ29sb3IAAAAAAAFGaWxsVGludEFuZFNoYWRlAAAAAAAAAAAAA0JvcmRlckNvbG9yAFUAAAAQQQAAAAAAEFIAAAAAABBHAAAAAAAQQgAAAAAAAVNjQQAAAAAAAAAAAAFTY1IAAAAAAAAAAAABU2NHAAAAAAAAAAAAAVNjQgAAAAAAAAAAAAAQQm9yZGVyVGhlbWVDb2xvcgAAAAAAAUJvcmRlclRpbnRBbmRTaGFkZQAAAAAAAAAAAAhJc0ZpbGxlZAABAlBhdHRlcm4AEAAAAG1zb1BhdHRlcm5NaXhlZAACU2hhcGVUeXBlAA4AAABtc29TaGFwZU1peGVkAANMYWJlbE9mZnNldABCAAAAAVgAAAAAAAAAAAABWQAAAAAAAAAAAAFMZW5ndGgAAAAAAAAAAAABTGVuZ3RoU3F1YXJlZAAAAAAAAAAAAAAISXNGb250Qm9sZAAACElzRm9udEl0YWxpYwAACElzRm9udFVuZGVybGluZWQAAAhMYWJlbEhhc0JhY2tncm91bmQAAAJUZXh0QWxpZ25tZW50AAUAAABMZWZ0AAAIRGlzcGxheUxhYmVsAAEDUmVuZGVySW5mbwD9FgAAA1JlY3RhbmdsZUZyZWVmb3JtAPwIAAAEVmVydGljZXMAmwIAAAMwACwAAAAQSW5kZXgwAAAAAAAQSW5kZXgxAAAAAAABVmFsdWUAAAAAALj0cUAAAzEALAAAABBJbmRleDAAAAAAABBJbmRleDEAAQAAAAFWYWx1ZQAAAADAkahhQAADMgAsAAAAEEluZGV4MAABAAAAEEluZGV4MQAAAAAAAVZhbHVlAAAAAAC49HFAAAMzACwAAAAQSW5kZXgwAAEAAAAQSW5kZXgxAAEAAAABVmFsdWUAAAAAoChqYkAAAzQALAAAABBJbmRleDAAAgAAABBJbmRleDEAAAAAAAFWYWx1ZQAAAAAAuPRxQAADNQAsAAAAEEluZGV4MAACAAAAEEluZGV4MQABAAAAAVZhbHVlAAAAAKC/K2NAAAM2ACwAAAAQSW5kZXgwAAMAAAAQSW5kZXgxAAAAAAABVmFsdWUAAAAAAJbzd0AAAzcALAAAABBJbmRleDAAAwAAABBJbmRleDEAAQAAAAFWYWx1ZQAAAACgvytjQAADOAAsAAAAEEluZGV4MAAEAAAAEEluZGV4MQAAAAAAAVZhbHVlAAAAAACW83dAAAM5ACwAAAAQSW5kZXgwAAQAAAAQSW5kZXgxAAEAAAABVmFsdWUAAAAAoChqYkAAAzEwACwAAAAQSW5kZXgwAAUAAAAQSW5kZXgxAAAAAAABVmFsdWUAAAAAAJbzd0AAAzExACwAAAAQSW5kZXgwAAUAAAAQSW5kZXgxAAEAAAABVmFsdWUAAAAAwJGoYUAAAzEyACwAAAAQSW5kZXgwAAYAAAAQSW5kZXgxAAAAAAABVmFsdWUAAAAAALj0cUAAAzEzACwAAAAQSW5kZXgwAAYAAAAQSW5kZXgxAAEAAAABVmFsdWUAAAAAwJGoYUAAAAVNYW5hZ2VkSWQAEAAAAARxQ7/5v+FZTqV++nQjJA7pCEhhc0NoYW5nZXMAAAhVc2VOYW1lSW5zdGVhZE9mVGFnQXNJZAAACFNoYXBlUHJldmlvdXNseUNyZWF0ZWQAAANGaWxsQ29sb3IAVQAAABBBAP8AAAAQUgCZAAAAEEcA0wAAABBCAPIAAAABU2NBAAAAAAAAAPA/AVNjUgAAAAAgEmPUPwFTY0cAAAAAoFDY5D8BU2NCAAAAAMDdaew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4N0yKEABV2lkdGgAAAAAQHj7V0ABVG9wAAAAAMCRqGFAAUxlZnQAAAAAALj0cUAIRmxpcEhvcml6b250YWxseQAACEZsaXBIb3Jpem9udGFsbHlBcHBsaWVkAAAIRmxpcFZlcnRpY2FsbHkAAAhGbGlwVmVydGljYWxseUFwcGxpZWQAAAFSb3RhdGlvbgAAAAAAAAAAAAFaT3JkZXIAAAAAAACAUUADQm9yZGVyQ29sb3IAVQAAABBBAP8AAAAQUgD/AAAAEEcA/wAAABBCAP8AAAABU2NBAAAAAAAAAPA/AVNjUgAAAAAAAADwPwFTY0cAAAAAAAAA8D8BU2NCAAAAAAAAAPA/ABBCb3JkZXJUaGVtZUNvbG9yAAAAAAABQm9yZGVyVGludEFuZFNoYWRlAAAAAAAAAAAAEEJvcmRlclNjaGVtZUNvbG9yAAAAAAABQm9yZGVyVGhpY2tuZXNzAAAAAAAAAPA/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JhclN0eWxlRGF0YQAmAAAAAkJhclN0eWxlU2hhcGVUeXBlAAoAAABSZWN0YW5nbGUAAANMYWJlbAC6BgAABU1hbmFnZWRJZAAQAAAABOO+eLoPSwpFsdQRKkl2Xu8ISGFzQ2hhbmdlcwAACFVzZU5hbWVJbnN0ZWFkT2ZUYWdBc0lkAAAIU2hhcGVQcmV2aW91c2x5Q3JlYXRlZAABA0ZpbGxDb2xvcgBVAAAAOQAAAAU4AAAAOgAAAOcPAAAAAAAAAAAAABBBAP8AAAAQUgCZAAAAEEcA0wAAABBCAPIAAAABU2NBAAAAAAAAAPA/AVNjUgAAAAAgEmPUPwFTY0cAAAAAoFDY5D8BU2NCAAAAAMDdaew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QAEgAAAEZhc2UgMSBEZXNhcnJvbGxvAAJUZXh0SG9yaXpvbnRhbEFsaWdubWVudAAOAAAAbXNvQW5jaG9yTm9uZQACUGFyYWdyYXBoQWxpZ25tZW50AA8AAABtc29BbGlnbkNlbnRlcgACVGV4dFZlcnRpY2FsQWxpZ25tZW50ABAAAABtc29BbmNob3JNaWRkbGUAA0ZvbnRTdHlsZQBAAQAAEEZvbnRCYWNrZ3JvdW5kAAAAAAAIRm9udEJvbGQAAANGb250Q29sb3IAVQAAABBBAP8AAAAQUgAQAAAAEEcAOAAAABBCAE8AAAABU2NBAAAAAAAAAPA/AVNjUgAAAADgNjl1PwFTY0cAAAAAgGc/pD8BU2NCAAAAAGAXBLQ/ABBGb250VGhlbWVDb2xvcgAAAAAAAUZvbnRUaW50QW5kU2hhZGUAAAAAAAAAAAAQRm9udFNjaGVtZUNvbG9yAAAAAAAIRm9udEl0YWxpYwAAAkZvbnROYW1lAAYAAABBcmlhbAABRm9udFNpemUAAAAAAAAAIEAIRm9udFN0cmlrZXRocm91Z2gAAAhGb250U3Vic2NyaXB0AAAIRm9udFN1cGVyc2NyaXB0AAAIRm9udFVuZGVybGluZQAAAAhTaXplVG9UZXh0V2lkdGgAAAhTaXplVG9UZXh0SGVpZ2h0AAADVGV4dE1hcmdpbgA/AAAAAUxlZnQAAAAAAAAAAAABVG9wAAAAAAAAAAAAAVJpZ2h0AAAAAAAAAAAAAUJvdHRvbQAAAAAAAAAAAAACRGlzcGxheVRleHQAEgAAAEZhc2UgMSBEZXNhcnJvbGxvAAFIZWlnaHQAAAAAABZcI0ABV2lkdGgAAAAAgOvRT0ABVG9wAAAAAABIz2FAAUxlZnQAAAAAYAj3ckAIRmxpcEhvcml6b250YWxseQAACEZsaXBIb3Jpem9udGFsbHlBcHBsaWVkAAAIRmxpcFZlcnRpY2FsbHkAAAhGbGlwVmVydGljYWxseUFwcGxpZWQAAAFSb3RhdGlvbgAAAAAAAAAAAAFaT3JkZXIAAAAAAAAAUk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Nvbm5lY3RvckxpbmVEYXRhAOEGAAADU3RhcnQAGwAAAAFYAAAAAAC49HFAAVkAAAAAwJGoYUAAA0VuZAAbAAAAAVgAAAAAALj0cUABWQAAAADAkahhQAACU3RhcnRBcnJvd0hlYWQAEQAAAG1zb0Fycm93aGVhZE5vbmUAAkVuZEFycm93SGVhZAARAAAAbXNvQXJyb3doZWFkTm9uZQAFTWFuYWdlZElkABAAAAAEjWuc2vYevE+JO1I9vQpyYAhIYXNDaGFuZ2VzAAAIVXNlTmFtZUluc3RlYWRPZlRhZ0FzSWQAAAhTaGFwZVByZXZpb3VzbHlDcmVhdGVkAAA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A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AAAAAAAAVdpZHRoAAAAAAAAAAAAAVRvcAAAAADAkahhQAFMZWZ0AAAAAAC49HFACEZsaXBIb3Jpem9udGFsbHkAAAhGbGlwSG9yaXpvbnRhbGx5QXBwbGllZAAACEZsaXBWZXJ0aWNhbGx5AAAIRmxpcFZlcnRpY2FsbHlBcHBsaWVkAAABUm90YXRpb24AAAAAAAAAAAABWk9yZGVyAAAAAAAAwFFAA0JvcmRlckNvbG9yAFUAAAAQQQD/AAAAEFIAmQAAABBHANMAAAAQQgDyAAAAAVNjQQAAAAAAAADwPwFTY1IAAAAAIBJj1D8BU2NHAAAAAKBQ2OQ/AVNjQgAAAADA3WnsPw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AJRW5kVGltZQAAm/vmjwEAABBJbmRleAABAAAAAkRlc2NyaXB0aW9uABIAAABGYXNlIDEgRGVzYXJyb2xsbwACTmFtZQAFAAAAVGFzawAISXNMZWFkZXJMaW5lSW5BdXRvTW9kZQABCVN0YXJ0VGltZQAAI0mKjwEAAAAAAk5hbWUACQAAAFNwcmludCAxAAhJc0hpZ2hsaWdodGVkAAAISXNTZXBhcmF0b3JMaW5lVmlzaWJsZQABA1N0eWxlAHQEAAABRGVmYXVsdEZvbnRTaXplAAAAAAAAACRAAUZvbnRTaXplAAAAAAAAACRAA0ZvbnRDb2xvcgBVAAAAEEEA/wAAABBSABAAAAAQRwA4AAAAEEIATwAAAAFTY0EAAAAAAAAA8D8BU2NSAAAAAOA2OXU/AVNjRwAAAACAZz+kPwFTY0IAAAAAYBcEtD8AEEZvbnRUaGVtZUNvbG9yAAAAAAAQRm9udFNjaGVtZUNvbG9yAAAAAAABRm9udFRpbnRBbmRTaGFkZQAAAAAAAAAAAANQYXR0ZXJuQ29sb3IAVQAAABBBAAAAAAAQUgAAAAAAEEcAAAAAABBCAAAAAAABU2NBAAAAAAAAAAAAAVNjUgAAAAAAAAAAAAFTY0cAAAAAAAAAAAABU2NCAAAAAAAAAAAAABBQYXR0ZXJuVGhlbWVDb2xvcgAAAAAAAVBhdHRlcm5UaW50QW5kU2hhZGUAAAAAAAAAAAADRGF0YVN0eWxlRm9udENvbG9yVmFsdWUAVQAAABBBAP8AAAAQUgAQAAAAEEcAOAAAABBCAE8AAAABU2NBAAAAAAAAAPA/AVNjUgAAAADgNjl1PwFTY0cAAAAAgGc/pD8BU2NCAAAAAGAXBLQ/AAhEYXRhU3R5bGVGb250Q29sb3JIYToAAAAFOQAAADsAAADnDwAAAAAAAAAAAABzVmFsdWUAAQFIZWlnaHQAAAAAAAAAAAACRGFzaFN0eWxlAA0AAABtc29MaW5lU29saWQACEhhc1dpc2hGaWxsQ29sb3IAAQNGaWxsQ29sb3IAVQAAABBBAAAAAAAQUgD/AAAAEEcA/wAAABBCAP8AAAABU2NBAAAAAAAAAAAAAVNjUgAAAAAAAADwPwFTY0cAAAAAAAAA8D8BU2NCAAAAAAAAAPA/ABBGaWxsU2NoZW1lQ29sb3IAAAAAABBGaWxsVGhlbWVDb2xvcgAAAAAAAUZpbGxUaW50QW5kU2hhZGUAAAAAAAAAAAADQm9yZGVyQ29sb3IAVQAAABBBAP8AAAAQUgDjAAAAEEcA4wAAABBCAOMAAAABU2NBAAAAAAAAAPA/AVNjUgAAAADAsZToPwFTY0cAAAAAwLGU6D8BU2NCAAAAAMCxlOg/ABBCb3JkZXJUaGVtZUNvbG9yAAAAAAABQm9yZGVyVGludEFuZFNoYWRlAAAAAAAAAAAACElzRmlsbGVkAAECUGF0dGVybgAQAAAAbXNvUGF0dGVybk1peGVkAAJTaGFwZVR5cGUADgAAAG1zb1NoYXBlTWl4ZWQAA0xhYmVsT2Zmc2V0AEIAAAABWAAAAAAAAAAAAAFZAAAAAAAAAAAAAUxlbmd0aAAAAAAAAAAAAAFMZW5ndGhTcXVhcmVkAAAAAAAAAAAAAAFCb3JkZXJUaGlja25lc3MAAAAAAAAA8D8ISXNGb250Qm9sZAAACElzRm9udEl0YWxpYwAACElzRm9udFVuZGVybGluZWQAAAhMYWJlbEhhc0JhY2tncm91bmQAAAJUZXh0QWxpZ25tZW50AAUAAABMZWZ0AAABUm93VG9wALcaFdnV2WBAAVJvd0hlaWdodABuNSoyLQU5QANMZWZ0Tm90ZXMAxwQAAANUZXh0U3R5bGUAWwQAAAFEZWZhdWx0Rm9udFNpemUAAAAAAAAAJEABRm9udFNpemUAAAAAAAAAJEADRm9udENvbG9yAFUAAAAQQQD/AAAAEFIAEAAAABBHADgAAAAQQgBPAAAAAVNjQQAAAAAAAADwPwFTY1IAAAAA4DY5dT8BU2NHAAAAAIBnP6Q/AVNjQgAAAABgFwS0PwAQRm9udFRoZW1lQ29sb3IAAAAAABBGb250U2NoZW1lQ29sb3IAAAAAAAFGb250VGludEFuZFNoYWRlAAAAAAAAAAAAA1BhdHRlcm5Db2xvcgBVAAAAEEEAAAAAABBSAAAAAAAQRwAAAAAAEEIAAAAAAAFTY0EAAAAAAAAAAAABU2NSAAAAAAAAAAAAAVNjRwAAAAAAAAAAAAFTY0IAAAAAAAAAAAAAEFBhdHRlcm5UaGVtZUNvbG9yAAAAAAABUGF0dGVyblRpbnRBbmRTaGFkZQAAAAAAAAAAAANEYXRhU3R5bGVGb250Q29sb3JWYWx1ZQBVAAAAEEEA/wAAABBSABAAAAAQRwA4AAAAEEIATwAAAAFTY0EAAAAAAAAA8D8BU2NSAAAAAOA2OXU/AVNjRwAAAACAZz+kPwFTY0IAAAAAYBcEtD8ACERhdGFTdHlsZUZvbnRDb2xvckhhc1ZhbHVlAAEBSGVpZ2h0AAAAAAAAAAAAAkRhc2hTdHlsZQANAAAAbXNvTGluZVNvbGlkAAhIYXNXaXNoRmlsbENvbG9yAAADRmlsbENvbG9yAFUAAAAQQQD/AAAAEFIAAAAAABBHAAAAAAAQQgAAAAAAAVNjQQAAAAAAAADwPwFTY1IAAAAAAAAAAAABU2NHAAAAAAAAAAAAAVNjQgAAAAAAAAAAAAAQRmlsbFNjaGVtZUNvbG9yAAAAAAAQRmlsbFRoZW1lQ29sb3IAAAAAAAFGaWxsVGludEFuZFNoYWRlAAAAAAAAAAAAA0JvcmRlckNvbG9yAFUAAAAQQQAAAAAAEFIAAAAAABBHAAAAAAAQQgAAAAAAAVNjQQAAAAAAAAAAAAFTY1IAAAAAAAAAAAABU2NHAAAAAAAAAAAAAVNjQgAAAAAAAAAAAAAQQm9yZGVyVGhlbWVDb2xvcgAAAAAAAUJvcmRlclRpbnRBbmRTaGFkZQAAAAAAAAAAAAhJc0ZpbGxlZAABAlBhdHRlcm4AEAAAAG1zb1BhdHRlcm5NaXhlZAACU2hhcGVUeXBlAA4AAABtc29TaGFwZU1peGVkAANMYWJlbE9mZnNldABCAAAAAVgAAAAAAAAAAAABWQAAAAAAAAAAAAFMZW5ndGgAAAAAAAAAAAABTGVuZ3RoU3F1YXJlZAAAAAAAAAAAAAAISXNGb250Qm9sZAAACElzRm9udEl0YWxpYwAACElzRm9udFVuZGVybGluZWQAAAhMYWJlbEhhc0JhY2tncm91bmQAAAJUZXh0QWxpZ25tZW50AAUAAABMZWZ0AAAISGFydmV5QmFsbFZpc2libGUAARBIYXJ2ZXlCYWxsVmFsdWUAAAAAAAJDaGVja0JveFN0YXRlAAUAAABOb25lAAJUcmFmZmljTGlnaHRTdGF0ZQAEAAAAT2ZmAAADUmlnaHROb3RlcwDHBAAAA1RleHRTdHlsZQBbBAAAAURlZmF1bHRGb250U2l6ZQAAAAAAAAAkQAFGb250U2l6ZQAAAAAAAAAkQANGb250Q29sb3IAVQAAABBBAP8AAAAQUgAQAAAAEEcAOAAAABBCAE8AAAABU2NBAAAAAAAAAPA/AVNjUgAAAADgNjl1PwFTY0cAAAAAgGc/pD8BU2NCAAAAAGAXBLQ/ABBGb250VGhlbWVDb2xvcgAAAAAAEEZvbnRTY2hlbWVDb2xvcgAAAAAAAUZvbnRUaW50QW5kU2hhZGUAAAAAAAAAAAADUGF0dGVybkNvbG9yAFUAAAAQQQAAAAAAEFIAAAAAABBHAAAAAAAQQgAAAAAAAVNjQQAAAAAAAAAAAAFTY1IAAAAAAAAAAAABU2NHAAAAAAAAAAAAAVNjQgAAAAAAAAAAAAAQUGF0dGVyblRoZW1lQ29sb3IAAAAAAAFQYXR0ZXJuVGludEFuZFNoYWRlAAAAAAAAAAAAA0RhdGFTdHlsZUZvbnRDb2xvclZhbHVlAFUAAAAQQQD/AAAAEFIAEAAAABBHADgAAAAQQgBPAAAAAVNjQQAAAAAAAADwPwFTY1IAAAAA4DY5dT8BU2NHAAAAAIBnP6Q/AVNjQgAAAABgFwS0PwAIRGF0YVN0eWxlRm9udENvbG9ySGFzVmFsdWUAAQFIZWlnaHQAAAAAAAAAAAACRGFzaFN0eWxlAA0AAABtc29MaW5lU29saWQACEhhc1dpc2hGaWxsQ29sb3IAAANGaWxsQ29sb3IAVQAAABBBAP8AAAAQUgAAAAAAEEcAAAAAABBCAAAAAAABU2NBAAAAAAAAAPA/AVNjUgAAAAAAAAAAAAFTY0cAAAAAAAAAAAABU2NCAAAAAAAAAAAAABBGaWxsU2NoZW1lQ29sb3IAAAAAABBGaWxsVGhlbWVDb2xvcgAAAAAAAUZpbGxUaW50QW5kU2hhZGUAAAAAAAAAAAADQm9yZGVyQ29sb3IAVQAAABBBAAAAAAAQUgAAAAAAEEcAAAAAABBCAAAAAAABU2NBAAAAAAAAAAAAAVNjUgAAAAAAAAAAAAFTY0cAAAAAAAAAAAABU2NCAAAAAAAAAAAAABBCb3JkZXJUaGVtZUNvbG9yAAAAAAABQm9yZGVyVGludEFuZFNoYWRlAAAAAAAAAAAACElzRmlsbGVkAAECUGF0dGVybgAQAAAAbXNvUGF0dGVybk1peGVkAAJTaGFwZVR5cGUADgAAAG1zb1NoYXBlTWl4ZWQAA0xhYmVsT2Zmc2V0AEIAAAABWAAAAAAAAAAAAAFZAAAAAAAAAAAAAUxlbmd0aAAAAAAAAAAAAAFMZW5ndGhTcXVhcmVkAAAAAAAAAAAAAAhJc0ZvbnRCb2xkAAAISXNGb250SXRhbGljAAAISXNGb250VW5kZXJsaW5lZAAACExhYmVsSGFzQmFja2dyb3VuZAAAAlRleHRBbGlnbm1lbnQABQAAAExlZnQAAAhIYXJ2ZXlCYWxsVmlzaWJsZQABEEhhcnZleUJhbGxWYWx1ZQAAAAAAAkNoZWNrQm94U3RhdGUABQAAAE5vbmUAAlRyYWZmaWNMaWdodFN0YXRlAAQAAABPZmYAAANMZWZ0Tm90ZXNSZW5kZXJJbmZvAGEUAAADTGFiZWwAdAYAAAVNYW5hZ2VkSWQAEAAAAAQ37Wv7UWQYSoeiZv1lnuePCEhhc0NoYW5nZXMAAQhVc2VOYW1lSW5zdGVhZE9mVGFnQXNJZAAACFNoYXBlUHJldmlvdXNseUNyZWF0ZWQAAA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AAkZpbGxQYXR0ZXJuABAAAABtc29QYXR0ZXJuTWl4ZWQAAlRleHQAAQAAA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Y7AAAABToAAAA8AAAA5w8AAAAAAAAAAAAAb250VW5kZXJsaW5lAAAACFNpemVUb1RleHRXaWR0aAAACFNpemVUb1RleHRIZWlnaHQAAANUZXh0TWFyZ2luAD8AAAABTGVmdAAAAAAAAAAAAAFUb3AAAAAAAAAAAAABUmlnaHQAAAAAAAAAAAABQm90dG9tAAAAAAAAAAAAAAJEaXNwbGF5VGV4dAABAAAAAAFIZWlnaHQAAAAAAAAA8D8BV2lkdGgAAAAAAAAA8D8BVG9wAAAAAACMlnFAAUxlZnQAAAAAQGX2jU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NlcGFyYXRvckxpbmUA4QYAAANTdGFydAAbAAAAAVgAzczMFjLzjUABWQAAAACAe+pjQAADRW5kABsAAAABWAAzMzN9mPmNQAFZAAAAAIB76mNAAAJTdGFydEFycm93SGVhZAARAAAAbXNvQXJyb3doZWFkTm9uZQACRW5kQXJyb3dIZWFkABEAAABtc29BcnJvd2hlYWROb25lAAVNYW5hZ2VkSWQAEAAAAARrevZizNPdRamrZFS07XXYCEhhc0NoYW5nZXMAAQhVc2VOYW1lSW5zdGVhZE9mVGFnQXNJZAAACFNoYXBlUHJldmlvdXNseUNyZWF0ZWQAAA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oJmZ6T8BVG9wAAAAAIB76mNAAUxlZnQAAAAAIDLzjUAIRmxpcEhvcml6b250YWxseQAACEZsaXBIb3Jpem9udGFsbHlBcHBsaWVkAAAIRmxpcFZlcnRpY2FsbHkAAAhGbGlwVmVydGljYWxseUFwcGxpZWQAAAFSb3RhdGlvbgAAAAAAAAAAAAFaT3JkZXIAAAAAAACAVUADQm9yZGVyQ29sb3IAVQAAABBBAP8AAAAQUgDjAAAAEEcA4wAAABBCAOMAAAABU2NBAAAAAAAAAPA/AVNjUgAAAADAsZToPwFTY0cAAAAAwLGU6D8BU2NCAAAAAMCxlOg/ABBCb3JkZXJUaGVtZUNvbG9yAAAAAAABQm9yZGVyVGludEFuZFNoYWRlAAAAAAAAAAAAEEJvcmRlclNjaGVtZUNvbG9yAAAAAAABQm9yZGVyVGhpY2tuZXNzAAAAAAAAAPA/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JlY3RhbmdsZQB0BgAAAkF1dG9TaGFwZVR5cGUACgAAAFJlY3RhbmdsZQAFTWFuYWdlZElkABAAAAAEVi+Zwq/u0E+QQjY4/Y2VXwhIYXNDaGFuZ2VzAAEIVXNlTmFtZUluc3RlYWRPZlRhZ0FzSWQAAAhTaGFwZVByZXZpb3VzbHlDcmVhdGVkAAADRmlsbENvbG9yAFUAAAAQQQAAAAAAEFIA/wAAABBHAP8AAAAQQgD/AAAAAVNjQQAAAAAAAAAAAAFTY1IAAAAAAAAA8D8BU2NHAAAAAAAAAPA/AVNjQgAAAAAAAADwP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A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EAtBThAAVdpZHRoAAAAAAAAAAAAAVRvcAAAAADg1elgQAFMZWZ0AAAAAEBl7o1ACEZsaXBIb3Jpem9udGFsbHkAAAhGbGlwSG9yaXpvbnRhbGx5QXBwbGllZAAACEZsaXBWZXJ0aWNhbGx5AAAIRmxpcFZlcnRpY2FsbHlBcHBsaWVkAAABUm90YXRpb24AAAAAAAAAAAABWk9yZGVyAAAAAAAAQFV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PAAAAAU7AAAAPQAAAOcPAAAAAAAAAAAAAExpbmVSdWxlQWZ0ZXIAAAhMaW5lUnVsZUJlZm9yZQAACExpbmVSdWxlV2l0aGluAAABUmlnaHRJbmRlbnQAAAAAAAAAAAABU3BhY2VBZnRlcgAAAAAAAAAAAAFTcGFjZUJlZm9yZQAAAAAAAAAAAAFTcGFjZVdpdGhpbgAAAAAAAAAAAAAEVHJhZmZpY0xpZ2h0RGF0YQAFAAAAAARIYXJ2ZXlCYWxsRGF0YQAFAAAAAAJUcmFmZmljTGlnaHRTdGF0ZQAEAAAAT2ZmAARDaGVja0JveERhdGEABQAAAAACQ2hlY2tCb3hTdGF0ZQAFAAAATm9uZQAAA1JpZ2h0Tm90ZXNSZW5kZXJJbmZvAGEUAAADTGFiZWwAdAYAAAVNYW5hZ2VkSWQAEAAAAATywSpw5fZ4Q7j6XCNqtArdCEhhc0NoYW5nZXMAAQhVc2VOYW1lSW5zdGVhZE9mVGFnQXNJZAAACFNoYXBlUHJldmlvdXNseUNyZWF0ZWQAAA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AAkZpbGxQYXR0ZXJuABAAAABtc29QYXR0ZXJuTWl4ZWQAAlRleHQAAQAAA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kRpc3BsYXlUZXh0AAEAAAAAAUhlaWdodAAAAAAAAADwPwFXaWR0aAAAAAAAAADwPwFUb3AAAAAAAIyWcUABTGVmdAAAAABAZfaNQAhGbGlwSG9yaXpvbnRhbGx5AAAIRmxpcEhvcml6b250YWxseUFwcGxpZWQAAAhGbGlwVmVydGljYWxseQAACEZsaXBWZXJ0aWNhbGx5QXBwbGllZAAAAVJvdGF0aW9uAAAAAAAAAAAAAVpPcmRlcgAAAAAAAAAAA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2VwYXJhdG9yTGluZQDhBgAAA1N0YXJ0ABsAAAABWADNzMwWMvONQAFZAAAAAIB76mNAAANFbmQAGwAAAAFYADMzM32Y+Y1AAVkAAAAAgHvqY0AAAlN0YXJ0QXJyb3dIZWFkABEAAABtc29BcnJvd2hlYWROb25lAAJFbmRBcnJvd0hlYWQAEQAAAG1zb0Fycm93aGVhZE5vbmUABU1hbmFnZWRJZAAQAAAABB4S+bFT8VxLgzODPHlcmFIISGFzQ2hhbmdlcwABCFVzZU5hbWVJbnN0ZWFkT2ZUYWdBc0lkAAAIU2hhcGVQcmV2aW91c2x5Q3JlYXRlZAAA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CgmZnpPwFUb3AAAAAAgHvqY0ABTGVmdAAAAAAgMvONQAhGbGlwSG9yaXpvbnRhbGx5AAAIRmxpcEhvcml6b250YWxseUFwcGxpZWQAAAhGbGlwVmVydGljYWxseQAACEZsaXBWZXJ0aWNhbGx5QXBwbGllZAAAAVJvdGF0aW9uAAAAAAAAAAAAAVpPcmRlcgAAAAAAAIBVQANCb3JkZXJDb2xvcgBVAAAAEEEA/wAAABBSAOMAAAAQRwDjAAAAEEIA4wAAAAFTY0EAAAAAAAAA8D8BU2NSAAAAAMCxlOg/AVNjRwAAAADAsZToPwFTY0IAAAAAwLGU6D8AEEJvcmRlclRoZW1lQ29sb3IAAAAAAAFCb3JkZXJUaW50QW5kU2hhZGUAAAAAAAAAAAAQQm9yZGVyU2NoZW1lQ29sb3IAAAAAAAFCb3JkZXJUaGlja25lc3MAAAAAAAAA8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mVjdGFuZ2xlAHQGAAACQXV0b1NoYXBlVHlwZQAKAAAAUmVjdGFuZ2xlAAVNYW5hZ2VkSWQAEAAAAAQQ0GapTdM8RpqUxWP24U9uCEhhc0NoYW5nZXMAAQhVc2VOYW1lSW5zdGVhZE9mVGFnQXNJZAAACFNoYXBlUHJldmlvdXNseUNyZWF0ZWQAAANGaWxsQ29sb3IAVQAAABBBAAAAAAAQUgD/AAAAEEcA/wAAABBCAP8AAAABU2NBAAAAAAAAAAAAAVNjUgAAAAAAAADwPwFTY0cAAAAAAAAA8D8BU2NCAAAAAAAAAPA/ABBGaWxsVGhlbWVDb2xvcgAAAAAAAUZpbGxUaW50QW5kU2hhZGUAAAAAAAAAAAAQRmlsbFNjaGVtZUNvbG9yAAAAAAADUGF0dGVybkNvbG9yAFUAAAAQQQAAAAAAEFIAAAAAABBHAAAAAAAQQgAAAAAAAVNjQQAAAAAAAAAAAD0AAAAFPAAAAD4AAADnDwAAAAAAAAAAAAABU2NSAAAAAAAAAAAAAVNjRwAAAAAAAAAAAAFTY0IAAAAAAAAAAAAAEFBhdHRlcm5UaGVtZUNvbG9yAAAAAAABUGF0dGVyblRpbnRBbmRTaGFkZQAAAAAAAAAAAAhGaWxsVmlzaWJsZQABCFZpc2libGUAAA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EAtBThAAVdpZHRoAAAAAAAAAAAAAVRvcAAAAADg1elgQAFMZWZ0AAAAAEBl7o1ACEZsaXBIb3Jpem9udGFsbHkAAAhGbGlwSG9yaXpvbnRhbGx5QXBwbGllZAAACEZsaXBWZXJ0aWNhbGx5AAAIRmxpcFZlcnRpY2FsbHlBcHBsaWVkAAABUm90YXRpb24AAAAAAAAAAAABWk9yZGVyAAAAAAAAQFV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RUcmFmZmljTGlnaHREYXRhAAUAAAAABEhhcnZleUJhbGxEYXRhAAUAAAAAAlRyYWZmaWNMaWdodFN0YXRlAAQAAABPZmYABENoZWNrQm94RGF0YQAFAAAAAAJDaGVja0JveFN0YXRlAAUAAABOb25lAAADTGVmdFNpZGVSZW5kZXJJbmZvACEUAAADTGFiZWwApgYAAAVNYW5hZ2VkSWQAEAAAAAS6py6czN21SIV9qYMRtDE9CEhhc0NoYW5nZXMAAAhVc2VOYW1lSW5zdGVhZE9mVGFnQXNJZAAACFNoYXBlUHJldmlvdXNseUNyZWF0ZWQAAQ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QACQAAAFNwcmludCAxAAJUZXh0SG9yaXpvbnRhbEFsaWdubWVudAAOAAAAbXNvQW5jaG9yTm9uZQACUGFyYWdyYXBoQWxpZ25tZW50AA0AAABtc29BbGlnbkxlZnQAAlRleHRWZXJ0aWNhbEFsaWdubWVudAAQAAAAbXNvQW5jaG9yTWlkZGxlAANGb250U3R5bGUAQAEAABBGb250QmFja2dyb3VuZAAAAAAACEZvbnRCb2xkAAADRm9udENvbG9yAFUAAAAQQQD/AAAAEFIAEAAAABBHADgAAAAQQgBPAAAAAVNjQQAAAAAAAADwPwFTY1IAAAAA4DY5dT8BU2NHAAAAAIBnP6Q/AVNjQgAAAABgFwS0PwAQRm9udFRoZW1lQ29sb3IAAAAAAAFGb250VGludEFuZFNoYWRlAAAAAAAAAAAAEEZvbnRTY2hlbWVDb2xvcgAAAAAACEZvbnRJdGFsaWMAAAJGb250TmFtZQAGAAAAQXJpYWwAAUZvbnRTaXplAAAAAAAAACRACEZvbnRTdHJpa2V0aHJvdWdoAAAIRm9udFN1YnNjcmlwdAAACEZvbnRTdXBlcnNjcmlwdAAACEZvbnRVbmRlcmxpbmUAAAAIU2l6ZVRvVGV4dFdpZHRoAAAIU2l6ZVRvVGV4dEhlaWdodAAAA1RleHRNYXJnaW4APwAAAAFMZWZ0AAAAAAAAAAAAAVRvcAAAAAAAAAAAAAFSaWdodAAAAAAAAAAAAAFCb3R0b20AAAAAAAAAAAAAAkRpc3BsYXlUZXh0AAkAAABTcHJpbnQgMQABSGVpZ2h0AAAAAGDfCydAAVdpZHRoAAAAAAB0ekNAAVRvcAAAAADAybFhQAFMZWZ0AAAAAEBJXDdACEZsaXBIb3Jpem9udGFsbHkAAAhGbGlwSG9yaXpvbnRhbGx5QXBwbGllZAAACEZsaXBWZXJ0aWNhbGx5AAAIRmxpcFZlcnRpY2FsbHlBcHBsaWVkAAABUm90YXRpb24AAAAAAAAAAAABWk9yZGVyAAAAAAAAAD5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SZWN0YW5nbGUAdAYAAAJBdXRvU2hhcGVUeXBlAAoAAABSZWN0YW5nbGUABU1hbmFnZWRJZAAQAAAABP6In/otfKZOscYU+knadd0ISGFzQ2hhbmdlcwAACFVzZU5hbWVJbnN0ZWFkT2ZUYWdBc0lkAAAIU2hhcGVQcmV2aW91c2x5Q3JlYXRlZAAAA0ZpbGxDb2xvcgBVAAAAEEEAAAAAABBSAP8AAAAQRwD/AAAAEEIA/wAAAAFTY0EAAAAAAAAAAAABU2NSAAAAAAAAAPA/AVNjRwAAAAAAAADwPwFTY0IAAAAAAAAA8D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A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Q+AAAABT0AAAA/AAAA5w8AAAAAAAAAAAAAZXJsaW5lAAAACFNpemVUb1RleHRXaWR0aAAACFNpemVUb1RleHRIZWlnaHQAAANUZXh0TWFyZ2luAD8AAAABTGVmdAAAAAAAAAAAAAFUb3AAAAAAAAAAAAABUmlnaHQAAAAAAAAAAAABQm90dG9tAAAAAAAAAAAAAAFIZWlnaHQAAAAAQC0FOEABV2lkdGgAAAAAAIPbjUABVG9wAAAAAODV6WBAAUxlZnQAAAAAAEriCkAIRmxpcEhvcml6b250YWxseQAACEZsaXBIb3Jpem9udGFsbHlBcHBsaWVkAAAIRmxpcFZlcnRpY2FsbHkAAAhGbGlwVmVydGljYWxseUFwcGxpZWQAAAFSb3RhdGlvbgAAAAAAAAAAAAFaT3JkZXIAAAAAAAAAJk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NlcGFyYXRvckxpbmUA4QYAAANTdGFydAAbAAAAAVgAzczMzBavB0ABWQBlYVp/e+pjQAADRW5kABsAAAABWAAzMzN9mPmNQAFZAGVhWn976mNAAAJTdGFydEFycm93SGVhZAARAAAAbXNvQXJyb3doZWFkTm9uZQACRW5kQXJyb3dIZWFkABEAAABtc29BcnJvd2hlYWROb25lAAVNYW5hZ2VkSWQAEAAAAATQpa4aXLViSLScGljoz6aVCEhhc0NoYW5nZXMAAAhVc2VOYW1lSW5zdGVhZE9mVGFnQXNJZAAACFNoYXBlUHJldmlvdXNseUNyZWF0ZWQAAA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YOnhjUABVG9wAAAAAIB76mNAAUxlZnQAAAAAwBavB0AIRmxpcEhvcml6b250YWxseQAACEZsaXBIb3Jpem9udGFsbHlBcHBsaWVkAAAIRmxpcFZlcnRpY2FsbHkAAAhGbGlwVmVydGljYWxseUFwcGxpZWQAAAFSb3RhdGlvbgAAAAAAAAAAAAFaT3JkZXIAAAAAAAAAKEADQm9yZGVyQ29sb3IAVQAAABBBAP8AAAAQUgDjAAAAEEcA4wAAABBCAOMAAAABU2NBAAAAAAAAAPA/AVNjUgAAAADAsZToPwFTY0cAAAAAwLGU6D8BU2NCAAAAAMCxlOg/ABBCb3JkZXJUaGVtZUNvbG9yAAAAAAABQm9yZGVyVGludEFuZFNoYWRlAAAAAAAAAAAAEEJvcmRlclNjaGVtZUNvbG9yAAAAAAABQm9yZGVyVGhpY2tuZXNzAAAAAAAAAPA/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AADMQA9aAAAEF9pZAAHAAAABEl0ZW1zAIccAAADMAB/HAAAAl90eXBlAEsAAABlbXBvd2VyLkNoYXJ0cy5EYXRhLkdhbnR0LkNocm9ub2xvZ3kuRGF0YS5CYXJUYXNrRGF0YSwgZW1wb3dlci5DaGFydHMuRGF0YQACTGFiZWxQb3NpdGlvbgAHAAAAQ2VudGVyAAhJc0xhYmVsSW5zaWRlQm91bmRzAAEDU3R5bGUAWwQAAAFEZWZhdWx0Rm9udFNpemUAAAAAAAAAJEABRm9udFNpemUAAAAAAAAAIEADRm9udENvbG9yAFUAAAAQQQD/AAAAEFIAEAAAABBHADgAAAAQQgBPAAAAAVNjQQAAAAAAAADwPwFTY1IAAAAA4DY5dT8BU2NHAAAAAIBnP6Q/AVNjQgAAAABgFwS0PwAQRm9udFRoZW1lQ29sb3IAAAAAABBGb250U2NoZW1lQ29sb3IAAAAAAAFGb250VGludEFuZFNoYWRlAAAAAAAAAAAAA1BhdHRlcm5Db2xvcgBVAAAAEEEAAAAAABBSAAAAAAAQRwAAAAAAEEIAAAAAAAFTY0EAAAAAAAAAAAABU2NSAAAAAAAAAAAAAVNjRwAAAAAAAAAAAAFTY0IAAAAAAAAAAAAAEFBhdHRlcm5UaGVtZUNvbG9yAAAAAAABUGF0dGVyblRpbnRBbmRTaGFkZQAAAAAAAAAAAANEYXRhU3R5bGVGb250Q29sb3JWYWx1ZQBVAAAAEEEAAAAAABBSAAAAAAAQRwAAAAAAEEIAAAAAAAFTY0EAAAAAAAAAAAABU2NSAAAAAAAAAAAAAVNjRwAAAAAAAAAAAAFTY0IAAAAAAAAAAAAACERhdGFTdHlsZUZvbnRDb2xvckhhc1ZhbHVlAAABSGVpZ2h0AAAAAODdMihAAkRhc2hTdHlsZQANAAAAbXNvTGluZVNvbGlkAAhIYXNXaXNoRmlsbENvbG9yAAADRmlsbENvbG9yAFUAAAAQQQD/AAAAEFIAmQAAABBHANMAAAAQQgDyAAAAAVNjQQAAAAAAAADwPwFTY1IAAAAAIBJj1D8BU2NHAAAAAKBQ2OQ/AVNjQgAAAADA3WnsPwAQRmlsbFNjaGVtZUNvbG9yAAAAAAAQRmlsbFRoZW1lQ29sb3IAAAAAAAFGaWxsVGludEFuZFNoYWRlAAAAAAAAAAAAA0JvcmRlckNvbG9yAFUAAAAQQQAAAAAAEFIAAAAAABBHAAAAAAAQQgAAAAAAAVNjQQAAAAAAAAAAAAFTY1IAAAAAAAAAAAABU2NHAAAAAAAAAAAAAVNjQgAAAAAAAAAAAAAQQm9yZGVyVGhlbWVDb2xvcgAAAAAAAUJvcmRlclRpbnRBbmRTaGFkZQAAAAAAAAAAAAhJc0ZpbGxlZAABAlBhdHRlcm4AEAAAAG1zb1BhdHRlcm5NaXhlZAACU2hhcGVUeXBlAA4AAABtc29TaGFwZU1peGVkAANMYWJlbE9mZnNldABCAAAAAVgAAAAAAAAAAAABWQAAAAAAAAAAAAFMZW5ndGgAAAAAAAAAAAABTGVuZ3RoU3F1YXJlZAAAAAAAAAAAAAAISXNGb250Qm9sZAAACElzRm9udEl0YWxpYwAACElzRm9udFVuZGVybGluZWQAAAhMYWJlbEhhc0JhY2tncm91bmQAAAJUZXh0QWxpZ25tZW50AAUAAABMZWZ0AAAIRGlzcGxheUxhYmVsAAEDUmVuZGVySW5mbwD9FgAAA1JlY3RhbmdsZUZyZWVmb3JtAPwIAAAEVmVydGljZXMAmwIAAAMwACwAAAAQSW5kZXgwAAAAAAAQSW5kZXgxAAAAAAABVmFsdWUAAAAAAJbzd0AAAzEALAAAABBJbmRleDAAAAAAABBJbmRleDEAAQAAAAFWYWx1ZQAAAABgN8lkQAADMgAsAAAAEEluZGV4MAABAAAAEEluZGV4MQAAAAAAAVZhbHVlAAAAAACW83dAAAMzACwAAAAQSW5kZXgwAAEAAAAQSW5kZXgxAAEAAAABVmFsdWUAAAAAQM6KZUAAAzQALAAAPwAAAAU+AAAAQAAAAOcPAAAAAAAAAAAAAAAQSW5kZXgwAAIAAAAQSW5kZXgxAAAAAAABVmFsdWUAAAAAAJbzd0AAAzUALAAAABBJbmRleDAAAgAAABBJbmRleDEAAQAAAAFWYWx1ZQAAAABAZUxmQAADNgAsAAAAEEluZGV4MAADAAAAEEluZGV4MQAAAAAAAVZhbHVlAAAAAEAbAH1AAAM3ACwAAAAQSW5kZXgwAAMAAAAQSW5kZXgxAAEAAAABVmFsdWUAAAAAQGVMZkAAAzgALAAAABBJbmRleDAABAAAABBJbmRleDEAAAAAAAFWYWx1ZQAAAABAGwB9QAADOQAsAAAAEEluZGV4MAAEAAAAEEluZGV4MQABAAAAAVZhbHVlAAAAAEDOimVAAAMxMAAsAAAAEEluZGV4MAAFAAAAEEluZGV4MQAAAAAAAVZhbHVlAAAAAEAbAH1AAAMxMQAsAAAAEEluZGV4MAAFAAAAEEluZGV4MQABAAAAAVZhbHVlAAAAAGA3yWRAAAMxMgAsAAAAEEluZGV4MAAGAAAAEEluZGV4MQAAAAAAAVZhbHVlAAAAAACW83dAAAMxMwAsAAAAEEluZGV4MAAGAAAAEEluZGV4MQABAAAAAVZhbHVlAAAAAGA3yWRAAAAFTWFuYWdlZElkABAAAAAEnY2Cb+1vsEuiHNp9jjKDKwhIYXNDaGFuZ2VzAAAIVXNlTmFtZUluc3RlYWRPZlRhZ0FzSWQAAAhTaGFwZVByZXZpb3VzbHlDcmVhdGVkAAADRmlsbENvbG9yAFUAAAAQQQD/AAAAEFIAmQAAABBHANMAAAAQQgDyAAAAAVNjQQAAAAAAAADwPwFTY1IAAAAAIBJj1D8BU2NHAAAAAKBQ2OQ/AVNjQgAAAADA3WnsP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MDdMihAAVdpZHRoAAAAAMAUMlRAAVRvcAAAAABgN8lkQAFMZWZ0AAAAAACW83dACEZsaXBIb3Jpem9udGFsbHkAAAhGbGlwSG9yaXpvbnRhbGx5QXBwbGllZAAACEZsaXBWZXJ0aWNhbGx5AAAIRmxpcFZlcnRpY2FsbHlBcHBsaWVkAAABUm90YXRpb24AAAAAAAAAAAABWk9yZGVyAAAAAAAAgFFAA0JvcmRlckNvbG9yAFUAAAAQQQD/AAAAEFIA/wAAABBHAP8AAAAQQgD/AAAAAVNjQQAAAAAAAADwPwFTY1IAAAAAAAAA8D8BU2NHAAAAAAAAAPA/AVNjQgAAAAAAAADwPwAQQm9yZGVyVGhlbWVDb2xvcgAAAAAAAUJvcmRlclRpbnRBbmRTaGFkZQAAAAAAAAAAABBCb3JkZXJTY2hlbWVDb2xvcgAAAAAAAUJvcmRlclRoaWNrbmVzcwAAAAAAAADw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CYXJTdHlsZURhdGEAJgAAAAJCYXJTdHlsZVNoYXBlVHlwZQAKAAAAUmVjdGFuZ2xlAAADTGFiZWwAugYAAAVNYW5hZ2VkSWQAEAAAAATTr6qPO7aZR4AvsLH8Yk74CEhhc0NoYW5nZXMAAAhVc2VOYW1lSW5zdGVhZE9mVGFnQXNJZAAACFNoYXBlUHJldmlvdXNseUNyZWF0ZWQAAQNGaWxsQ29sb3IAVQAAABBBAP8AAAAQUgCZAAAAEEcA0wAAABBCAPIAAAABU2NBAAAAAAAAAPA/AVNjUgAAAAAgEmPUPwFTY0cAAAAAoFDY5D8BU2NCAAAAAMDdaew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QAEgAAAEZhc2UgMiBEZXNhcnJvbGxvAAJUZXh0SG9yaXpvbnRhbEFsaWdubWVudAAOAAAAbXNvQW5jaG9yTm9uZQACUGFyYWdyYXBoQWxpZ25tZW50AA8AAABtc29BbGlnbkNlbnRlcgACVGV4dFZlcnRpY2FsQWxpZ25tZW50ABAAAABtc29BbmNob3JNaWRkbGUAA0ZvbnRTdHlsZQBAAQAAEEZvbnRCYWNrZ3JvdW5kAAAAAAAIRm9udEJvbGQAAANGb250Q29sb3IAVQAAABBBAP8AAAAQUgAQAAAAEEcAOAAAABBCAE8AAAABU2NBAAAAAAAAAPA/AVNjUgAAAADgNjl1PwFTY0cAAAAAgGc/pD8BU2NCAAAAAGAXBLQ/ABBGb250VGhlbWVDb2xvcgAAAAAAAUZvbnRUaW50QW5kU2hhZGUAAAAAAAAAAAAQRm9udFNjaGVtZUNvbG9yAAAAAAAIRm9udEl0YWxpYwAAAkZvbnROYW1lAAYAAABBcmlhbAABRm9udFNpemUAAAAAAAAAIEAIRm9udFN0cmlrZXRocm91Z2gAAAhGb250U3Vic2NyaXB0AAAIRm9udFN1cGVyc2NyaXB0AAAIRm9udFVuZGVybGluZQAAAAhTaXplVG9UZXh0V2lkdGgAAAhTaXplVG9UZXh0SGVpZ2h0AAADVGV4dE1hcmdpbgA/AAAAAUxlZnQAAAAAAAAAAAABVG9wAAAAAAAAAAAAAVJpZ2h0AAAAAAAAAAAAAUJvdHRvbQAAAAAAAAAAAAACRGlzcGxheVRleHQAEgAAAEZhc2UgMiBEZXNhcnJvbGxvAAFIZWlnaHQAAAAAABZcI0ABV2lkdGgAAAAAgOvRT0ABVG9wAAAAAKDt72RAAUxlZnQAAAAA4Ll8eEAIRmxpcEhvcml6b250YWxseQAACEZsaXBIb3Jpem9udGFsbHlBcHBsaWVkAAAIRmxpcFZlcnRpY2FsbHkAAAhGbGlwVmVydGljYWxseUFwcGxpZWQAAAFSb3RhdGlvbgAAAAAAAAAAAAFaT3JkZXIAAAAAAAAAUk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Nvbm5lY3RvckxpbmVEYXRhAOEGAAADU3RhcnQAGwAAAAFYAAAAAACW83dAAVkAAAAAYDfJZEAAA0VuZAAbAAAAAVgAAAAAAJbzd0ABWQAAAABgN8lkQAACU3RhcnRBcnJvd0hlYWQAEQAAAG1zb0Fycm93aGVhZE5vbmUAAkVuZEFycm93SGVhZAARAAAAbXNvQXJyb3doZWFkTm9uZQAFTWFuYWdlZElkABAAAAAEDMQwK+tFPEmiF2Z0ZPCHoghIYXNDaGFuZ0AAAAAFPwAAAEEAAADnDwAAAAAAAAAAAABlcwAACFVzZU5hbWVJbnN0ZWFkT2ZUYWdBc0lkAAAIU2hhcGVQcmV2aW91c2x5Q3JlYXRlZAAA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A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AAAAAAAAFUb3AAAAAAYDfJZEABTGVmdAAAAAAAlvN3QAhGbGlwSG9yaXpvbnRhbGx5AAAIRmxpcEhvcml6b250YWxseUFwcGxpZWQAAAhGbGlwVmVydGljYWxseQAACEZsaXBWZXJ0aWNhbGx5QXBwbGllZAAAAVJvdGF0aW9uAAAAAAAAAAAAAVpPcmRlcgAAAAAAAMBRQANCb3JkZXJDb2xvcgBVAAAAEEEA/wAAABBSAJkAAAAQRwDTAAAAEEIA8gAAAAFTY0EAAAAAAAAA8D8BU2NSAAAAACASY9Q/AVNjRwAAAACgUNjkPwFTY0IAAAAAwN1p7D8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ACUVuZFRpbWUAAFthOZABAAAQSW5kZXgAAQAAAAJEZXNjcmlwdGlvbgASAAAARmFzZSAyIERlc2Fycm9sbG8AAk5hbWUABQAAAFRhc2sACElzTGVhZGVyTGluZUluQXV0b01vZGUAAQlTdGFydFRpbWUAAPch7I8BAAAAAAJOYW1lAAkAAABTcHJpbnQgMgAISXNIaWdobGlnaHRlZAAACElzU2VwYXJhdG9yTGluZVZpc2libGUAAQNTdHlsZQB0BAAAAURlZmF1bHRGb250U2l6ZQAAAAAAAAAkQAFGb250U2l6ZQAAAAAAAAAkQANGb250Q29sb3IAVQAAABBBAP8AAAAQUgAQAAAAEEcAOAAAABBCAE8AAAABU2NBAAAAAAAAAPA/AVNjUgAAAADgNjl1PwFTY0cAAAAAgGc/pD8BU2NCAAAAAGAXBLQ/ABBGb250VGhlbWVDb2xvcgAAAAAAEEZvbnRTY2hlbWVDb2xvcgAAAAAAAUZvbnRUaW50QW5kU2hhZGUAAAAAAAAAAAADUGF0dGVybkNvbG9yAFUAAAAQQQAAAAAAEFIAAAAAABBHAAAAAAAQQgAAAAAAAVNjQQAAAAAAAAAAAAFTY1IAAAAAAAAAAAABU2NHAAAAAAAAAAAAAVNjQgAAAAAAAAAAAAAQUGF0dGVyblRoZW1lQ29sb3IAAAAAAAFQYXR0ZXJuVGludEFuZFNoYWRlAAAAAAAAAAAAA0RhdGFTdHlsZUZvbnRDb2xvclZhbHVlAFUAAAAQQQD/AAAAEFIAEAAAABBHADgAAAAQQgBPAAAAAVNjQQAAAAAAAADwPwFTY1IAAAAA4DY5dT8BU2NHAAAAAIBnP6Q/AVNjQgAAAABgFwS0PwAIRGF0YVN0eWxlRm9udENvbG9ySGFzVmFsdWUAAQFIZWlnaHQAAAAAAAAAAAACRGFzaFN0eWxlAA0AAABtc29MaW5lU29saWQACEhhc1dpc2hGaWxsQ29sb3IAAQNGaWxsQ29sb3IAVQAAABBBAAAAAAAQUgD/AAAAEEcA/wAAABBCAP8AAAABU2NBAAAAAAAAAAAAAVNjUgAAAAAAAADwPwFTY0cAAAAAAAAA8D8BU2NCAAAAAAAAAPA/ABBGaWxsU2NoZW1lQ29sb3IAAAAAABBGaWxsVGhlbWVDb2xvcgAAAAAAAUZpbGxUaW50QW5kU2hhZGUAAAAAAAAAAAADQm9yZGVyQ29sb3IAVQAAABBBAP8AAAAQUgDjAAAAEEcA4wAAABBCAOMAAAABU2NBAAAAAAAAAPA/AVNjUgAAAADAsZToPwFTY0cAAAAAwLGU6D8BU2NCAAAAAMCxlOg/ABBCb3JkZXJUaGVtZUNvbG9yAAAAAAABQm9yZGVyVGludEFuZFNoYWRlAAAAAAAAAAAACElzRmlsbGVkAAECUGF0dGVybgAQAAAAbXNvUGF0dGVybk1peGVkAAJTaGFwZVR5cGUADgAAAG1zb1NoYXBlTWl4ZWQAA0xhYmVsT2Zmc2V0AEIAAAABWAAAAAAAAAAAAAFZAAAAAAAAAAAAAUxlbmd0aAAAAAAAAAAAAAFMZW5ndGhTcXVhcmVkAAAAAAAAAAAAAAFCb3JkZXJUaGlja25lc3MAAAAAAAAA8D8ISXNGb250Qm9sZAAACElzRm9udEl0YWxpYwAACElzRm9udFVuZGVybGluZWQAAAhMYWJlbEhhc0JhY2tncm91bmQAAAJUZXh0QWxpZ25tZW50AAUAAABMZWZ0AAABUm93VG9wAGVhWn97+mNAAVJvd0hlaWdodABuNSoyLQU5QANMZWZ0Tm90ZXMAxwQAAANUZXh0U3R5bGUAWwQAAAFEZWZhdWx0Rm9udFNpemUAAAAAAAAAJEABRm9udFNpemUAAAAAAAAAJEADRm9udENvbG9yAFUAAAAQQQD/AAAAEFIAEAAAABBHADgAAAAQQgBPAAAAAVNjQQAAAAAAAADwPwFTY1IAAAAA4DY5dT8BU2NHAAAAAIBnP6Q/AVNjQgAAAABgFwS0PwAQRm9udFRoZW1lQ29sb3IAAAAAABBGb250U2NoZW1lQ29sb3IAAAAAAAFGb250VGludEFuZFNoYWRlAAAAAAAAAAAAA1BhdHRlcm5Db2xvcgBVAAAAEEEAAAAAABBSAAAAAAAQRwAAAAAAEEIAAAAAAAFTY0EAAAAAAAAAAAABU2NSAAAAAAAAAAAAAVNjRwAAAAAAAAAAAAFTY0IAAAAAAAAAAAAAEFBhdHRlcm5UaGVtZUNvbG9yAAAAAAABUGF0dGVyblRpbnRBbmRTaGFkZQAAAAAAAAAAAANEYXRhU3R5bGVGb250Q29sb3JWYWx1ZQBVAAAAEEEA/wAAABBSABAAAAAQRwA4AAAAEEIATwAAAAFTY0EAAAAAAAAA8D8BU2NSAAAAAOA2OXU/AVNjRwAAAACAZz+kPwFTY0IAAAAAYBcEtD8ACERhdGFTdHlsZUZvbnRDb2xvckhhc1ZhbHVlAAEBSGVpZ2h0AAAAAAAAAAAAAkRhc2hTdHlsZQANAAAAbXNvTGluZVNvbGlkAAhIYXNXaXNoRmlsbENvbG9yAAADRmlsbENvbG9yAFUAAAAQQQD/AAAAEFIAAAAAABBHAAAAAAAQQgAAAAAAAVNjQQAAAAAAAADwPwFTY1IAAAAAAAAAAAABU2NHAAAAAAAAAAAAAVNjQgAAAAAAAAAAAAAQRmlsbFNjaGVtZUNvbG9yAAAAAAAQRmlsbFRoZW1lQ29sb3IAAAAAAAFGaWxsVGludEFuZFNoYWRlAAAAAAAAAAAAA0JvcmRlckNvbG9yAFUAAAAQQQAAAAAAEFIAAAAAABBHAAAAAAAQQgAAAAAAAVNjQQAAAAAAAAAAAAFTY1IAAAAAAAAAAAABU2NHAAAAAAAAAAAAAVNjQgAAAAAAAAAAAAAQQm9yZGVyVGhlbWVDb2xvcgAAAAAAAUJvcmRlclRpbnRBbmRTaGFkZQAAAAAAAAAAAAhJc0ZpbGxlZAABAlBhdHRlcm4AEAAAAG1zb1BhdHRlcm5NaXhlZAACU2hhcGVUeXBlAA4AAABtc29TaGFwZU1peGVkAANMYWJlbE9mZnNldABCAAAAAVgAAAAAAAAAAAABWQAAAAAAAAAAAAFMZW5ndGgAAAAAAAAAAAABTGVuZ3RoU3F1YXJlZAAAAAAAAAAAAAAISXNGb250Qm9sZAAACElzRm9udEl0YWxpYwAACElzRm9udFVuZGVybGluZWQAAAhMYWJlbEhhc0JhY2tncm91bmQAAAJUZXh0QWxpZ25BAAAABUAAAABCAAAA5w8AAAAAAAAAAAAAbWVudAAFAAAATGVmdAAACEhhcnZleUJhbGxWaXNpYmxlAAEQSGFydmV5QmFsbFZhbHVlAAAAAAACQ2hlY2tCb3hTdGF0ZQAFAAAATm9uZQACVHJhZmZpY0xpZ2h0U3RhdGUABAAAAE9mZgAAA1JpZ2h0Tm90ZXMAxwQAAANUZXh0U3R5bGUAWwQAAAFEZWZhdWx0Rm9udFNpemUAAAAAAAAAJEABRm9udFNpemUAAAAAAAAAJEADRm9udENvbG9yAFUAAAAQQQD/AAAAEFIAEAAAABBHADgAAAAQQgBPAAAAAVNjQQAAAAAAAADwPwFTY1IAAAAA4DY5dT8BU2NHAAAAAIBnP6Q/AVNjQgAAAABgFwS0PwAQRm9udFRoZW1lQ29sb3IAAAAAABBGb250U2NoZW1lQ29sb3IAAAAAAAFGb250VGludEFuZFNoYWRlAAAAAAAAAAAAA1BhdHRlcm5Db2xvcgBVAAAAEEEAAAAAABBSAAAAAAAQRwAAAAAAEEIAAAAAAAFTY0EAAAAAAAAAAAABU2NSAAAAAAAAAAAAAVNjRwAAAAAAAAAAAAFTY0IAAAAAAAAAAAAAEFBhdHRlcm5UaGVtZUNvbG9yAAAAAAABUGF0dGVyblRpbnRBbmRTaGFkZQAAAAAAAAAAAANEYXRhU3R5bGVGb250Q29sb3JWYWx1ZQBVAAAAEEEA/wAAABBSABAAAAAQRwA4AAAAEEIATwAAAAFTY0EAAAAAAAAA8D8BU2NSAAAAAOA2OXU/AVNjRwAAAACAZz+kPwFTY0IAAAAAYBcEtD8ACERhdGFTdHlsZUZvbnRDb2xvckhhc1ZhbHVlAAEBSGVpZ2h0AAAAAAAAAAAAAkRhc2hTdHlsZQANAAAAbXNvTGluZVNvbGlkAAhIYXNXaXNoRmlsbENvbG9yAAADRmlsbENvbG9yAFUAAAAQQQD/AAAAEFIAAAAAABBHAAAAAAAQQgAAAAAAAVNjQQAAAAAAAADwPwFTY1IAAAAAAAAAAAABU2NHAAAAAAAAAAAAAVNjQgAAAAAAAAAAAAAQRmlsbFNjaGVtZUNvbG9yAAAAAAAQRmlsbFRoZW1lQ29sb3IAAAAAAAFGaWxsVGludEFuZFNoYWRlAAAAAAAAAAAAA0JvcmRlckNvbG9yAFUAAAAQQQAAAAAAEFIAAAAAABBHAAAAAAAQQgAAAAAAAVNjQQAAAAAAAAAAAAFTY1IAAAAAAAAAAAABU2NHAAAAAAAAAAAAAVNjQgAAAAAAAAAAAAAQQm9yZGVyVGhlbWVDb2xvcgAAAAAAAUJvcmRlclRpbnRBbmRTaGFkZQAAAAAAAAAAAAhJc0ZpbGxlZAABAlBhdHRlcm4AEAAAAG1zb1BhdHRlcm5NaXhlZAACU2hhcGVUeXBlAA4AAABtc29TaGFwZU1peGVkAANMYWJlbE9mZnNldABCAAAAAVgAAAAAAAAAAAABWQAAAAAAAAAAAAFMZW5ndGgAAAAAAAAAAAABTGVuZ3RoU3F1YXJlZAAAAAAAAAAAAAAISXNGb250Qm9sZAAACElzRm9udEl0YWxpYwAACElzRm9udFVuZGVybGluZWQAAAhMYWJlbEhhc0JhY2tncm91bmQAAAJUZXh0QWxpZ25tZW50AAUAAABMZWZ0AAAISGFydmV5QmFsbFZpc2libGUAARBIYXJ2ZXlCYWxsVmFsdWUAAAAAAAJDaGVja0JveFN0YXRlAAUAAABOb25lAAJUcmFmZmljTGlnaHRTdGF0ZQAEAAAAT2ZmAAADTGVmdE5vdGVzUmVuZGVySW5mbwBhFAAAA0xhYmVsAHQGAAAFTWFuYWdlZElkABAAAAAES9M1G9ad2U6e3aY3+G5G3AhIYXNDaGFuZ2VzAAEIVXNlTmFtZUluc3RlYWRPZlRhZ0FzSWQAAAhTaGFwZVByZXZpb3VzbHlDcmVhdGVkAAA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AJGaWxsUGF0dGVybgAQAAAAbXNvUGF0dGVybk1peGVkAAJUZXh0AAEAAAA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JEaXNwbGF5VGV4dAABAAAAAAFIZWlnaHQAAAAAAAAA8D8BV2lkdGgAAAAAAAAA8D8BVG9wAAAAAACMlnFAAUxlZnQAAAAAQGX2jU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NlcGFyYXRvckxpbmUA4QYAAANTdGFydAAbAAAAAVgAzczMFjLzjUABWQAAAAAgIQtnQAADRW5kABsAAAABWAAzMzN9mPmNQAFZAAAAACAhC2dAAAJTdGFydEFycm93SGVhZAARAAAAbXNvQXJyb3doZWFkTm9uZQACRW5kQXJyb3dIZWFkABEAAABtc29BcnJvd2hlYWROb25lAAVNYW5hZ2VkSWQAEAAAAAQDXN+YgOd+Rp+CPf2EeUMDCEhhc0NoYW5nZXMAAQhVc2VOYW1lSW5zdGVhZE9mVGFnQXNJZAAACFNoYXBlUHJldmlvdXNseUNyZWF0ZWQAAA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QgAAAAVBAAAAbQAAAOcPAAAAAAAAAAAAAAhTaXplVG9UZXh0V2lkdGgAAAhTaXplVG9UZXh0SGVpZ2h0AAADVGV4dE1hcmdpbgA/AAAAAUxlZnQAAAAAAAAAAAABVG9wAAAAAAAAAAAAAVJpZ2h0AAAAAAAAAAAAAUJvdHRvbQAAAAAAAAAAAAABSGVpZ2h0AAAAAAAAAAAAAVdpZHRoAAAAAKCZmek/AVRvcAAAAAAgIQtnQAFMZWZ0AAAAACAy841ACEZsaXBIb3Jpem9udGFsbHkAAAhGbGlwSG9yaXpvbnRhbGx5QXBwbGllZAAACEZsaXBWZXJ0aWNhbGx5AAAIRmxpcFZlcnRpY2FsbHlBcHBsaWVkAAABUm90YXRpb24AAAAAAAAAAAABWk9yZGVyAAAAAAAAgFVAA0JvcmRlckNvbG9yAFUAAAAQQQD/AAAAEFIA4wAAABBHAOMAAAAQQgDjAAAAAVNjQQAAAAAAAADwPwFTY1IAAAAAwLGU6D8BU2NHAAAAAMCxlOg/AVNjQgAAAADAsZToPwAQQm9yZGVyVGhlbWVDb2xvcgAAAAAAAUJvcmRlclRpbnRBbmRTaGFkZQAAAAAAAAAAABBCb3JkZXJTY2hlbWVDb2xvcgAAAAAAAUJvcmRlclRoaWNrbmVzcwAAAAAAAADw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SZWN0YW5nbGUAdAYAAAJBdXRvU2hhcGVUeXBlAAoAAABSZWN0YW5nbGUABU1hbmFnZWRJZAAQAAAABDr9XbaSL71EgEfabjODXyoISGFzQ2hhbmdlcwABCFVzZU5hbWVJbnN0ZWFkT2ZUYWdBc0lkAAAIU2hhcGVQcmV2aW91c2x5Q3JlYXRlZAAAA0ZpbGxDb2xvcgBVAAAAEEEAAAAAABBSAP8AAAAQRwD/AAAAEEIA/wAAAAFTY0EAAAAAAAAAAAABU2NSAAAAAAAAAPA/AVNjRwAAAAAAAADwPwFTY0IAAAAAAAAA8D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A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BALQU4QAFXaWR0aAAAAAAAAAAAAAFUb3AAAAAAgHsKZEABTGVmdAAAAABAZe6NQAhGbGlwSG9yaXpvbnRhbGx5AAAIRmxpcEhvcml6b250YWxseUFwcGxpZWQAAAhGbGlwVmVydGljYWxseQAACEZsaXBWZXJ0aWNhbGx5QXBwbGllZAAAAVJvdGF0aW9uAAAAAAAAAAAAAVpPcmRlcgAAAAAAAEBV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EVHJhZmZpY0xpZ2h0RGF0YQAFAAAAAARIYXJ2ZXlCYWxsRGF0YQAFAAAAAAJUcmFmZmljTGlnaHRTdGF0ZQAEAAAAT2ZmAARDaGVja0JveERhdGEABQAAAAACQ2hlY2tCb3hTdGF0ZQAFAAAATm9uZQAAA1JpZ2h0Tm90ZXNSZW5kZXJJbmZvAGEUAAADTGFiZWwAdAYAAAVNYW5hZ2VkSWQAEAAAAAR7cJgwB5MoS7IVPz7C4rlOCEhhc0NoYW5nZXMAAQhVc2VOYW1lSW5zdGVhZE9mVGFnQXNJZAAACFNoYXBlUHJldmlvdXNseUNyZWF0ZWQAAA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AAkZpbGxQYXR0ZXJuABAAAABtc29QYXR0ZXJuTWl4ZWQAAlRleHQAAQAAA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kRpc3BsYXlUZXh0AAEAAAAAAUhlaWdodAAAAAAAAADwPwFXaWR0aAAAAAAAAADwPwFUb3AAAAAAAIyWcUABTGVmdAAAAABAZfaNQAhGbGlwSG9yaXpvbnRhbGx5AAAIRmxpcEhvcml6b250YWxseUFwcGxpZWQAAAhGbGlwVmVydGljYWxseQAACEZsaXBWZXJ0aWNhbGx5QXBwbGllZAAAAVJvdGF0aW9uAAAAAAAAAAAAAVpPcmRlcgAAAAAAAAAAA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UMAAAAF/////0QAAADnDwAAAAAAAAAAAAA74wkABV9pZAAQAAAABPCfq+X6zLJNtKsITXVKSd8ERGF0YQDj4gkAAzAAre0BABBfaWQAAQAAAARSb3dzAKaFAQADMACgzwAAEF9pZAACAAAABEl0ZW1zAO2DAAADMABnHAAAAl90eXBlAEsAAABlbXBvd2VyLkNoYXJ0cy5EYXRhLkdhbnR0LkNocm9ub2xvZ3kuRGF0YS5CYXJUYXNrRGF0YSwgZW1wb3dlci5DaGFydHMuRGF0YQACTGFiZWxQb3NpdGlvbgAHAAAAQ2VudGVyAAhJc0xhYmVsSW5zaWRlQm91bmRzAAEDU3R5bGUAWwQAAAFEZWZhdWx0Rm9udFNpemUAAAAAAAAAJEABRm9udFNpemUAAAAAAAAAIEADRm9udENvbG9yAFUAAAAQQQD/AAAAEFIAEAAAABBHADgAAAAQQgBPAAAAAVNjQQAAAAAAAADwPwFTY1IAAAAA4DY5dT8BU2NHAAAAAIBnP6Q/AVNjQgAAAABgFwS0PwAQRm9udFRoZW1lQ29sb3IAAAAAABBGb250U2NoZW1lQ29sb3IAAAAAAAFGb250VGludEFuZFNoYWRlAAAAAAAAAAAAA1BhdHRlcm5Db2xvcgBVAAAAEEEAAAAAABBSAAAAAAAQRwAAAAAAEEIAAAAAAAFTY0EAAAAAAAAAAAABU2NSAAAAAAAAAAAAAVNjRwAAAAAAAAAAAAFTY0IAAAAAAAAAAAAAEFBhdHRlcm5UaGVtZUNvbG9yAAAAAAABUGF0dGVyblRpbnRBbmRTaGFkZQAAAAAAAAAAAANEYXRhU3R5bGVGb250Q29sb3JWYWx1ZQBVAAAAEEEAAAAAABBSAAAAAAAQRwAAAAAAEEIAAAAAAAFTY0EAAAAAAAAAAAABU2NSAAAAAAAAAAAAAVNjRwAAAAAAAAAAAAFTY0IAAAAAAAAAAAAACERhdGFTdHlsZUZvbnRDb2xvckhhc1ZhbHVlAAABSGVpZ2h0AAAAAODdMihAAkRhc2hTdHlsZQANAAAAbXNvTGluZVNvbGlkAAhIYXNXaXNoRmlsbENvbG9yAAADRmlsbENvbG9yAFUAAAAQQQD/AAAAEFIAmQAAABBHANMAAAAQQgDyAAAAAVNjQQAAAAAAAADwPwFTY1IAAAAAIBJj1D8BU2NHAAAAAKBQ2OQ/AVNjQgAAAADA3WnsPwAQRmlsbFNjaGVtZUNvbG9yAAAAAAAQRmlsbFRoZW1lQ29sb3IAAAAAAAFGaWxsVGludEFuZFNoYWRlAAAAAAAAAAAAA0JvcmRlckNvbG9yAFUAAAAQQQAAAAAAEFIAAAAAABBHAAAAAAAQQgAAAAAAAVNjQQAAAAAAAAAAAAFTY1IAAAAAAAAAAAABU2NHAAAAAAAAAAAAAVNjQgAAAAAAAAAAAAAQQm9yZGVyVGhlbWVDb2xvcgAAAAAAAUJvcmRlclRpbnRBbmRTaGFkZQAAAAAAAAAAAAhJc0ZpbGxlZAABAlBhdHRlcm4AEAAAAG1zb1BhdHRlcm5NaXhlZAACU2hhcGVUeXBlAA4AAABtc29TaGFwZU1peGVkAANMYWJlbE9mZnNldABCAAAAAVgAAAAAAAAAAAABWQAAAAAAAAAAAAFMZW5ndGgAAAAAAAAAAAABTGVuZ3RoU3F1YXJlZAAAAAAAAAAAAAAISXNGb250Qm9sZAAACElzRm9udEl0YWxpYwAACElzRm9udFVuZGVybGluZWQAAAhMYWJlbEhhc0JhY2tncm91bmQAAAJUZXh0QWxpZ25tZW50AAUAAABMZWZ0AAAIRGlzcGxheUxhYmVsAAEDUmVuZGVySW5mbwDtFgAAA1JlY3RhbmdsZUZyZWVmb3JtAPwIAAAEVmVydGljZXMAmwIAAAMwACwAAAAQSW5kZXgwAAAAAAAQSW5kZXgxAAAAAAABVmFsdWUAAAAAwHz6YEAAAzEALAAAABBJbmRleDAAAAAAABBJbmRleDEAAQAAAAFWYWx1ZQAAAACgQY1QQAADMgAsAAAAEEluZGV4MAABAAAAEEluZGV4MQAAAAAAAVZhbHVlAAAAAMB8+mBAAAMzACwAAAAQSW5kZXgwAAEAAAAQSW5kZXgxAAEAAAABVmFsdWUAAAAAgG8QUkAAAzQALAAAABBJbmRleDAAAgAAABBJbmRleDEAAAAAAAFWYWx1ZQAAAADAfPpgQAADNQAsAAAAEEluZGV4MAACAAAAEEluZGV4MQABAAAAAVZhbHVlAAAAAGCdk1NAAAM2ACwAAAAQSW5kZXgwAAMAAAAQSW5kZXgxAAAAAAABVmFsdWUAAAAAQHFlZUAAAzcALAAAABBJbmRleDAAAwAAABBJbmRleDEAAQAAAAFWYWx1ZQAAAABgnZNTQAADOAAsAAAAEEluZGV4MAAEAAAAEEluZGV4MQAAAAAAAVZhbHVlAAAAAEBxZWVAAAM5ACwAAAAQSW5kZXgwAAQAAAAQSW5kZXgxAAEAAAABVmFsdWUAAAAAgG8QUkAAAzEwACwAAAAQSW5kZXgwAAUAAAAQSW5kZXgxAAAAAAABVmFsdWUAAAAAQHFlZUAAAzExACwAAAAQSW5kZXgwAAUAAAAQSW5kZXgxAAEAAAABVmFsdWUAAAAAoEGNUEAAAzEyACwAAAAQSW5kZXgwAAYAAAAQSW5kZXgxAAAAAAABVmFsdWUAAAAAwHz6YEAAAzEzACwAAAAQSW5kZXgwAAYAAAAQSW5kZXgxAAEAAAABVmFsdWUAAAAAoEGNUEAAAAVNYW5hZ2VkSWQAEAAAAASRu1fGTB7BTac/eo4cKVv6CEhhc0NoYW5nZXMAAAhVc2VOYW1lSW5zdGVhZE9mVGFnQXNJZAAACFNoYXBlUHJldmlvdXNseUNyZWF0ZWQAAANGaWxsQ29sb3IAVQAAABBBAP8AAAAQUgCZAAAAEEcA0wAAABBCAPIAAAABU2NBAAAAAAAAAPA/AVNjUgAAAAAgEmPUPwFTY0cAAAAAoFDY5D8BU2NCAAAAAMDdaew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4N0yKEABV2lkdGgAAAAAANKrQUABVG9wAAAAAKBBjVBAAUxlZnQAAAAAwHz6YEAIRmxpcEhvcml6b250YWxseQAACEZsaXBIb3Jpem9udGFsbHlBcHBsaWVkAAAIRmxpcFZlcnRpY2FsbHkAAAhGbGlwVmVydGljYWxseUFwcGxpZWQAAAFSb3RhdGlvbgAAAAAAAAAAAAFaT3JkZXIAAAAAAACAUUADQm9yZGVyQ29sb3IAVQAAABBBAP8AAAAQUgD/AAAAEEcA/wAAABBCAP8AAAABU2NBAAAAAAAAAPA/AVNjUgAAAAAAAADwPwFTY0cAAAAAAAAA8D8BU2NCAAAAAAAAAPA/ABBCb3JkZXJUaGVtZUNvbG9yAAAAAAABQm9yZGVyVGludEFuZFNoYWRlAAAAAAAAAAAAEEJvcmRlclNjaGVtZUNvbG9yAAAAAAABQm9yZGVyVGhpY2tuZXNzAAAAAAAAAPA/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JhclN0eWxlRGF0YQAmAAAAAkJhclN0eWxlU2hhcGVUeXBlAAoAAABSZWN0YW5nbGUAAANMYWJlbACqBgAABU1hbmFnZWRJZAAQAAAABEUsjUJ2grdEkfvYyCp7OjQISGFzQ2hhbmdlcwAACFVzZU5hbWVJbnN0ZWFkT2ZUYWdBc0lkAAAIU2hhcGVQcmV2aW91c2x5Q3JlYXRlZAABA0ZpbGxDb2xvcgBVAAAAEEEA/wAAABBSAJkAAAAQRwDTAAAAEEIA8gAAAAFTY0EAAAAAAAAA8D8BU2NSAAAAACASY9Q/AVNjRwAAAACgUNjkPwFTY0IAAAAAwN1p7D8AEEZpbGxUaGVtZUNvbG9yAAAAAAABRmlsbFRpbnRBbmRTaGFkZQAAAAAAAAAAABBGaWxsU2NoZW1lQ29sb3IAAAAAAANQYXR0ZXJuQ29sb3IAVQAAABBBAAAAAAAQUgAAAAAAEEcAAAAAABBCAABEAAAABUMAAABFAAAA5w8AAAAAAAAAAAAAAAAAAVNjQQAAAAAAAAAAAAFTY1IAAAAAAAAAAAABU2NHAAAAAAAAAAAAAVNjQgAAAAAAAAAAAAAQUGF0dGVyblRoZW1lQ29sb3IAAAAAAAFQYXR0ZXJuVGludEFuZFNoYWRlAAAAAAAAAAAACEZpbGxWaXNpYmxlAAAIVmlzaWJsZQABAkZpbGxQYXR0ZXJuABAAAABtc29QYXR0ZXJuTWl4ZWQAAlRleHQACgAAAEh5cGVyY2FyZQACVGV4dEhvcml6b250YWxBbGlnbm1lbnQADgAAAG1zb0FuY2hvck5vbmUAAlBhcmFncmFwaEFsaWdubWVudAAPAAAAbXNvQWxpZ25DZW50ZXIAAlRleHRWZXJ0aWNhbEFsaWdubWVudAAQAAAAbXNvQW5jaG9yTWlkZGxlAANGb250U3R5bGUAQAEAABBGb250QmFja2dyb3VuZAAAAAAACEZvbnRCb2xkAAADRm9udENvbG9yAFUAAAAQQQD/AAAAEFIAEAAAABBHADgAAAAQQgBPAAAAAVNjQQAAAAAAAADwPwFTY1IAAAAA4DY5dT8BU2NHAAAAAIBnP6Q/AVNjQgAAAABgFwS0PwAQRm9udFRoZW1lQ29sb3IAAAAAAAFGb250VGludEFuZFNoYWRlAAAAAAAAAAAAEEZvbnRTY2hlbWVDb2xvcgAAAAAACEZvbnRJdGFsaWMAAAJGb250TmFtZQAGAAAAQXJpYWwAAUZvbnRTaXplAAAAAAAAACBACEZvbnRTdHJpa2V0aHJvdWdoAAAIRm9udFN1YnNjcmlwdAAACEZvbnRTdXBlcnNjcmlwdAAACEZvbnRVbmRlcmxpbmUAAAAIU2l6ZVRvVGV4dFdpZHRoAAAIU2l6ZVRvVGV4dEhlaWdodAAAA1RleHRNYXJnaW4APwAAAAFMZWZ0AAAAAAAAAAAAAVRvcAAAAAAAAAAAAAFSaWdodAAAAAAAAAAAAAFCb3R0b20AAAAAAAAAAAAAAkRpc3BsYXlUZXh0AAoAAABIeXBlcmNhcmUAAUhlaWdodAAAAAAAFlwjQAFXaWR0aAAAAABgoLNCQAFUb3AAAAAAIK7aUEABTGVmdAAAAAAAg9lgQAhGbGlwSG9yaXpvbnRhbGx5AAAIRmxpcEhvcml6b250YWxseUFwcGxpZWQAAAhGbGlwVmVydGljYWxseQAACEZsaXBWZXJ0aWNhbGx5QXBwbGllZAAAAVJvdGF0aW9uAAAAAAAAAAAAAVpPcmRlcgAAAAAAAABS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Q29ubmVjdG9yTGluZURhdGEA4QYAAANTdGFydAAbAAAAAVgAAAAAwHz6YEABWQAAAACgQY1QQAADRW5kABsAAAABWAAAAADAfPpgQAFZAAAAAKBBjVBAAAJTdGFydEFycm93SGVhZAARAAAAbXNvQXJyb3doZWFkTm9uZQACRW5kQXJyb3dIZWFkABEAAABtc29BcnJvd2hlYWROb25lAAVNYW5hZ2VkSWQAEAAAAAQThJMRyKTTQ79LU1Z0dLHKCEhhc0NoYW5nZXMAAAhVc2VOYW1lSW5zdGVhZE9mVGFnQXNJZAAACFNoYXBlUHJldmlvdXNseUNyZWF0ZWQAAA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A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AAAAAAABVG9wAAAAAKBBjVBAAUxlZnQAAAAAwHz6YEAIRmxpcEhvcml6b250YWxseQAACEZsaXBIb3Jpem9udGFsbHlBcHBsaWVkAAAIRmxpcFZlcnRpY2FsbHkAAAhGbGlwVmVydGljYWxseUFwcGxpZWQAAAFSb3RhdGlvbgAAAAAAAAAAAAFaT3JkZXIAAAAAAADAUUADQm9yZGVyQ29sb3IAVQAAABBBAP8AAAAQUgCZAAAAEEcA0wAAABBCAPIAAAABU2NBAAAAAAAAAPA/AVNjUgAAAAAgEmPUPwFTY0cAAAAAoFDY5D8BU2NCAAAAAMDdaew/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AlFbmRUaW1lAACDsA6PAQAAEEluZGV4AAEAAAACRGVzY3JpcHRpb24ACgAAAEh5cGVyY2FyZQACTmFtZQAFAAAAVGFzawAISXNMZWFkZXJMaW5lSW5BdXRvTW9kZQABCVN0YXJ0VGltZQAAW8rvjgEAAAADMQC6GQAAAl90eXBlAE0AAABlbXBvd2VyLkNoYXJ0cy5EYXRhLkdhbnR0LkNocm9ub2xvZ3kuRGF0YS5NaWxlc3RvbmVEYXRhLCBlbXBvd2VyLkNoYXJ0cy5EYXRhAANTdHlsZQB2BAAAAURlZmF1bHRGb250U2l6ZQAAAAAAAAAkQAFGb250U2l6ZQAAAAAAAAAkQANGb250Q29sb3IAVQAAABBBAP8AAAAQUgAQAAAAEEcAOAAAABBCAE8AAAABU2NBAAAAAAAAAPA/AVNjUgAAAADgNjl1PwFTY0cAAAAAgGc/pD8BU2NCAAAAAGAXBLQ/ABBGb250VGhlbWVDb2xvcgAAAAAAEEZvbnRTY2hlbWVDb2xvcgAAAAAAAUZvbnRUaW50QW5kU2hhZGUAAAAAAAAAAAADUGF0dGVybkNvbG9yAFUAAAAQQQAAAAAAEFIAAAAAABBHAAAAAAAQQgAAAAAAAVNjQQAAAAAAAAAAAAFTY1IAAAAAAAAAAAABU2NHAAAAAAAAAAAAAVNjQgAAAAAAAAAAAAAQUGF0dGVyblRoZW1lQ29sb3IAAAAAAAFQYXR0ZXJuVGludEFuZFNoYWRlAAAAAAAAAAAAA0RhdGFTdHlsZUZvbnRDb2xvclZhbHVlAFUAAAAQQQAAAAAAEFIAAAAAABBHAAAAAAAQQgAAAAAAAVNjQQAAAAAAAAAAAAFTY1IAAAAAAAAAAAABU2NHAAAAAAAAAAAAAVNjQgAAAAAAAAAAAAAIRGF0YVN0eWxlRm9udENvbG9ySGFzVmFsdWUAAAFIZWlnaHQAAAAA4N0yKEACRGFzaFN0eWxlAA0AAABtc29MaW5lU29saWQACEhhc1dpc2hGaWxsQ29sb3IAAANGaWxsQ29sb3IAVQAAABBBAP8AAAAQUgAAAAAAEEcAkQAAABBCAN8AAAABU2NBAAAAAAAAAPA/AVNjUgAAAAAAAAAAAAFTY0cAAAAAABwf0j8BU2NCAAAAAGD2nOc/ABBGaWxsU2NoZW1lQ29sRQAAAAVEAAAARgAAAOcPAAAAAAAAAAAAAG9yAAAAAAAQRmlsbFRoZW1lQ29sb3IAAAAAAAFGaWxsVGludEFuZFNoYWRlAAAAAAAAAAAAA0JvcmRlckNvbG9yAFUAAAAQQQD/AAAAEFIA/wAAABBHAP8AAAAQQgD/AAAAAVNjQQAAAAAAAADwPwFTY1IAAAAAAAAA8D8BU2NHAAAAAAAAAPA/AVNjQgAAAAAAAADwPwAQQm9yZGVyVGhlbWVDb2xvcgAAAAAAAUJvcmRlclRpbnRBbmRTaGFkZQAAAAAAAAAAAAhJc0ZpbGxlZAABAlBhdHRlcm4AEAAAAG1zb1BhdHRlcm5NaXhlZAACU2hhcGVUeXBlABAAAABtc29TaGFwZURpYW1vbmQAA0xhYmVsT2Zmc2V0AEIAAAABWAAAAAAAAAAAAAFZAORJW42luTXAAUxlbmd0aADkSVuNpbk1QAFMZW5ndGhTcXVhcmVkAF95JZ68f31AAAFCb3JkZXJUaGlja25lc3MAAAAAAAAA8D8ISXNGb250Qm9sZAAACElzRm9udEl0YWxpYwAACElzRm9udFVuZGVybGluZWQAAAhMYWJlbEhhc0JhY2tncm91bmQAAAJUZXh0QWxpZ25tZW50AAUAAABMZWZ0AAAIRGlzcGxheUxhYmVsAAEITGFiZWxIYXNCYWNrZ3JvdW5kAAADUmVuZGVySW5mbwAfFAAAA1N5bWJvbAByBgAAAkF1dG9TaGFwZVR5cGUACAAAAERpYW1vbmQABU1hbmFnZWRJZAAQAAAABEA9bQDLyulKlNMwXG0N8AYISGFzQ2hhbmdlcwAACFVzZU5hbWVJbnN0ZWFkT2ZUYWdBc0lkAAAIU2hhcGVQcmV2aW91c2x5Q3JlYXRlZAAAA0ZpbGxDb2xvcgBVAAAAEEEA/wAAABBSAAAAAAAQRwCRAAAAEEIA3wAAAAFTY0EAAAAAAAAA8D8BU2NSAAAAAAAAAAAAAVNjRwAAAAAAHB/SPwFTY0IAAAAAYPac5z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Dg3TIoQAFXaWR0aAAAAADg3TIoQAFUb3AAAAAAoDqdX0ABTGVmdAAAAAAAAWdwQAhGbGlwSG9yaXpvbnRhbGx5AAAIRmxpcEhvcml6b250YWxseUFwcGxpZWQAAAhGbGlwVmVydGljYWxseQAACEZsaXBWZXJ0aWNhbGx5QXBwbGllZAAAAVJvdGF0aW9uAAAAAAAAAAAAAVpPcmRlcgAAAAAAAIBUQANCb3JkZXJDb2xvcgBVAAAAEEEA/wAAABBSAP8AAAAQRwD/AAAAEEIA/wAAAAFTY0EAAAAAAAAA8D8BU2NSAAAAAAAAAPA/AVNjRwAAAAAAAADwPwFTY0IAAAAAAAAA8D8AEEJvcmRlclRoZW1lQ29sb3IAAAAAAAFCb3JkZXJUaW50QW5kU2hhZGUAAAAAAAAAAAAQQm9yZGVyU2NoZW1lQ29sb3IAAAAAAAFCb3JkZXJUaGlja25lc3MAAAAAAAAA8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TGFiZWwAqQYAAAVNYW5hZ2VkSWQAEAAAAARDD6NpBa0tT5/4R9/NCd2mCEhhc0NoYW5nZXMAAAhVc2VOYW1lSW5zdGVhZE9mVGFnQXNJZAAACFNoYXBlUHJldmlvdXNseUNyZWF0ZWQAAQNGaWxsQ29sb3IAVQAAABBBAP8AAAAQUgAAAAAAEEcAkQAAABBCAN8AAAABU2NBAAAAAAAAAPA/AVNjUgAAAAAAAAAAAAFTY0cAAAAAABwf0j8BU2NCAAAAAGD2nO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QAEAAAADTigIsvMzAvMjAy4oCLNAACVGV4dEhvcml6b250YWxBbGlnbm1lbnQADgAAAG1zb0FuY2hvck5vbmUAAlBhcmFncmFwaEFsaWdubWVudAACAAAAMAACVGV4dFZlcnRpY2FsQWxpZ25tZW50ABAAAABtc29BbmNob3JNaWRkbGUAA0ZvbnRTdHlsZQBAAQAAEEZvbnRCYWNrZ3JvdW5kAAAAAAAIRm9udEJvbGQAAANGb250Q29sb3IAVQAAABBBAP8AAAAQUgAQAAAAEEcAOAAAABBCAE8AAAABU2NBAAAAAAAAAPA/AVNjUgAAAADgNjl1PwFTY0cAAAAAgGc/pD8BU2NCAAAAAGAXBLQ/ABBGb250VGhlbWVDb2xvcgAAAAAAAUZvbnRUaW50QW5kU2hhZGUAAAAAAAAAAAAQRm9udFNjaGVtZUNvbG9yAAAAAAAIRm9udEl0YWxpYwAAAkZvbnROYW1lAAYAAABBcmlhbAABRm9udFNpemUAAAAAAAAAJEAIRm9udFN0cmlrZXRocm91Z2gAAAhGb250U3Vic2NyaXB0AAAIRm9udFN1cGVyc2NyaXB0AAAIRm9udFVuZGVybGluZQAAAAhTaXplVG9UZXh0V2lkdGgAAAhTaXplVG9UZXh0SGVpZ2h0AAADVGV4dE1hcmdpbgA/AAAAAUxlZnQAAAAAAAAAAAABVG9wAAAAAAAAAAAAAVJpZ2h0AAAAAAAAAAAAAUJvdHRvbQAAAAAAAAAAAAACRGlzcGxheVRleHQAEAAAADTigIsvMzAvMjAy4oCLNAABSGVpZ2h0AAAAACDcWSlAAVdpZHRoAAAAAGDYdUhAAVRvcAAAAAAg/7FbQAFMZWZ0AAAAAIDMx3BACEZsaXBIb3Jpem9udGFsbHkAAAhGbGlwSG9yaXpvbnRhbGx5QXBwbGllZAAACEZsaXBWZXJ0aWNhbGx5AAAIRmxpcFZlcnRpY2FsbHlBcHBsaWVkAAABUm90YXRpb24AAAAAAAAAAAABWk9yZGVyAAAAAAAAwFR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Db25uZWN0b3JMaW5lAOEGAAADU3RhcnQAGwAAAAFYAAAAAAABZ3BAAVkAAAAAoDqdX0AAA0VuZAAbAAAAAVgAAAAAAAFncEABWQAAAACgOp1fQAACU3RhcnRBcnJvd0hlYWQAEQAAAG1zb0Fycm93aGVhZE5vbmUAAkVuZEFycm93SGVhZAARAAAAbXNvQXJyb3doZWFkTm9uZQAFTWFuYWdlZElkABAAAAAEdW3qotAVP0YAAAAFRQAAAEcAAADnDwAAAAAAAAAAAABHj1IlaviiKCkISGFzQ2hhbmdlcwAACFVzZU5hbWVJbnN0ZWFkT2ZUYWdBc0lkAAAIU2hhcGVQcmV2aW91c2x5Q3JlYXRlZAAA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A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AAAAAAAAFUb3AAAAAAoDqdX0ABTGVmdAAAAAAAAWdwQAhGbGlwSG9yaXpvbnRhbGx5AAAIRmxpcEhvcml6b250YWxseUFwcGxpZWQAAAhGbGlwVmVydGljYWxseQAACEZsaXBWZXJ0aWNhbGx5QXBwbGllZAAAAVJvdGF0aW9uAAAAAAAAAAAAAVpPcmRlcgAAAAAAAEBUQANCb3JkZXJDb2xvcgBVAAAAEEEA/wAAABBSAAAAAAAQRwCRAAAAEEIA3wAAAAFTY0EAAAAAAAAA8D8BU2NSAAAAAAAAAAAAAVNjRwAAAAAAHB/SPwFTY0IAAAAAYPac5z8AEEJvcmRlclRoZW1lQ29sb3IAAAAAAAFCb3JkZXJUaW50QW5kU2hhZGUAAAAAAAAAAAAQQm9yZGVyU2NoZW1lQ29sb3IAAAAAAAFCb3JkZXJUaGlja25lc3MAAAAAAAAA4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AAk1pbGVzdG9uZUxhYmVsUG9zaXRpb24ACQAAAFRvcFJpZ2h0ABBJbmRleAACAAAAAkRlc2NyaXB0aW9uABAAAAA04oCLLzE0LzIwMuKAizQAAk5hbWUACgAAAE1pbGVzdG9uZQAISXNMZWFkZXJMaW5lSW5BdXRvTW9kZQABCVN0YXJ0VGltZQAA6zDbjgEAAAADMgC6GQAAAl90eXBlAE0AAABlbXBvd2VyLkNoYXJ0cy5EYXRhLkdhbnR0LkNocm9ub2xvZ3kuRGF0YS5NaWxlc3RvbmVEYXRhLCBlbXBvd2VyLkNoYXJ0cy5EYXRhAANTdHlsZQB2BAAAAURlZmF1bHRGb250U2l6ZQAAAAAAAAAkQAFGb250U2l6ZQAAAAAAAAAkQANGb250Q29sb3IAVQAAABBBAP8AAAAQUgAQAAAAEEcAOAAAABBCAE8AAAABU2NBAAAAAAAAAPA/AVNjUgAAAADgNjl1PwFTY0cAAAAAgGc/pD8BU2NCAAAAAGAXBLQ/ABBGb250VGhlbWVDb2xvcgAAAAAAEEZvbnRTY2hlbWVDb2xvcgAAAAAAAUZvbnRUaW50QW5kU2hhZGUAAAAAAAAAAAADUGF0dGVybkNvbG9yAFUAAAAQQQAAAAAAEFIAAAAAABBHAAAAAAAQQgAAAAAAAVNjQQAAAAAAAAAAAAFTY1IAAAAAAAAAAAABU2NHAAAAAAAAAAAAAVNjQgAAAAAAAAAAAAAQUGF0dGVyblRoZW1lQ29sb3IAAAAAAAFQYXR0ZXJuVGludEFuZFNoYWRlAAAAAAAAAAAAA0RhdGFTdHlsZUZvbnRDb2xvclZhbHVlAFUAAAAQQQAAAAAAEFIAAAAAABBHAAAAAAAQQgAAAAAAAVNjQQAAAAAAAAAAAAFTY1IAAAAAAAAAAAABU2NHAAAAAAAAAAAAAVNjQgAAAAAAAAAAAAAIRGF0YVN0eWxlRm9udENvbG9ySGFzVmFsdWUAAAFIZWlnaHQAAAAA4N0yKEACRGFzaFN0eWxlAA0AAABtc29MaW5lU29saWQACEhhc1dpc2hGaWxsQ29sb3IAAANGaWxsQ29sb3IAVQAAABBBAP8AAAAQUgAAAAAAEEcAkQAAABBCAN8AAAABU2NBAAAAAAAAAPA/AVNjUgAAAAAAAAAAAAFTY0cAAAAAABwf0j8BU2NCAAAAAGD2nOc/ABBGaWxsU2NoZW1lQ29sb3IAAAAAABBGaWxsVGhlbWVDb2xvcgAAAAAAAUZpbGxUaW50QW5kU2hhZGUAAAAAAAAAAAADQm9yZGVyQ29sb3IAVQAAABBBAP8AAAAQUgD/AAAAEEcA/wAAABBCAP8AAAABU2NBAAAAAAAAAPA/AVNjUgAAAAAAAADwPwFTY0cAAAAAAAAA8D8BU2NCAAAAAAAAAPA/ABBCb3JkZXJUaGVtZUNvbG9yAAAAAAABQm9yZGVyVGludEFuZFNoYWRlAAAAAAAAAAAACElzRmlsbGVkAAECUGF0dGVybgAQAAAAbXNvUGF0dGVybk1peGVkAAJTaGFwZVR5cGUAEAAAAG1zb1NoYXBlRGlhbW9uZAADTGFiZWxPZmZzZXQAQgAAAAFYAAAAAAAAAAAAAVkA5ElbjaW5NcABTGVuZ3RoAORJW42luTVAAUxlbmd0aFNxdWFyZWQAX3klnrx/fUAAAUJvcmRlclRoaWNrbmVzcwAAAAAAAADwPwhJc0ZvbnRCb2xkAAAISXNGb250SXRhbGljAAAISXNGb250VW5kZXJsaW5lZAAACExhYmVsSGFzQmFja2dyb3VuZAAAAlRleHRBbGlnbm1lbnQABQAAAExlZnQAAAhEaXNwbGF5TGFiZWwAAQhMYWJlbEhhc0JhY2tncm91bmQAAANSZW5kZXJJbmZvAB8UAAADU3ltYm9sAHIGAAACQXV0b1NoYXBlVHlwZQAIAAAARGlhbW9uZAAFTWFuYWdlZElkABAAAAAEb2ADn4qVZkm4ay3eXQe48QhIYXNDaGFuZ2VzAAAIVXNlTmFtZUluc3RlYWRPZlRhZ0FzSWQAAAhTaGFwZVByZXZpb3VzbHlDcmVhdGVkAAADRmlsbENvbG9yAFUAAAAQQQD/AAAAEFIAAAAAABBHAJEAAAAQQgDfAAAAAVNjQQAAAAAAAADwPwFTY1IAAAAAAAAAAAABU2NHAAAAAAAcH9I/AVNjQgAAAABg9pznP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BHAAAABUYAAABIAAAA5w8AAAAAAAAAAAAAAAAAAAAAAUhlaWdodAAAAADg3TIoQAFXaWR0aAAAAADg3TIoQAFUb3AAAAAAoDqdX0ABTGVmdAAAAAAAAWdwQAhGbGlwSG9yaXpvbnRhbGx5AAAIRmxpcEhvcml6b250YWxseUFwcGxpZWQAAAhGbGlwVmVydGljYWxseQAACEZsaXBWZXJ0aWNhbGx5QXBwbGllZAAAAVJvdGF0aW9uAAAAAAAAAAAAAVpPcmRlcgAAAAAAAIBUQANCb3JkZXJDb2xvcgBVAAAAEEEA/wAAABBSAP8AAAAQRwD/AAAAEEIA/wAAAAFTY0EAAAAAAAAA8D8BU2NSAAAAAAAAAPA/AVNjRwAAAAAAAADwPwFTY0IAAAAAAAAA8D8AEEJvcmRlclRoZW1lQ29sb3IAAAAAAAFCb3JkZXJUaW50QW5kU2hhZGUAAAAAAAAAAAAQQm9yZGVyU2NoZW1lQ29sb3IAAAAAAAFCb3JkZXJUaGlja25lc3MAAAAAAAAA8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TGFiZWwAqQYAAAVNYW5hZ2VkSWQAEAAAAARXpLGDROd3Q7GlJMW7h6bBCEhhc0NoYW5nZXMAAAhVc2VOYW1lSW5zdGVhZE9mVGFnQXNJZAAACFNoYXBlUHJldmlvdXNseUNyZWF0ZWQAAQNGaWxsQ29sb3IAVQAAABBBAP8AAAAQUgAAAAAAEEcAkQAAABBCAN8AAAABU2NBAAAAAAAAAPA/AVNjUgAAAAAAAAAAAAFTY0cAAAAAABwf0j8BU2NCAAAAAGD2nO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QAEAAAADTigIsvMzAvMjAy4oCLNAACVGV4dEhvcml6b250YWxBbGlnbm1lbnQADgAAAG1zb0FuY2hvck5vbmUAAlBhcmFncmFwaEFsaWdubWVudAACAAAAMAACVGV4dFZlcnRpY2FsQWxpZ25tZW50ABAAAABtc29BbmNob3JNaWRkbGUAA0ZvbnRTdHlsZQBAAQAAEEZvbnRCYWNrZ3JvdW5kAAAAAAAIRm9udEJvbGQAAANGb250Q29sb3IAVQAAABBBAP8AAAAQUgAQAAAAEEcAOAAAABBCAE8AAAABU2NBAAAAAAAAAPA/AVNjUgAAAADgNjl1PwFTY0cAAAAAgGc/pD8BU2NCAAAAAGAXBLQ/ABBGb250VGhlbWVDb2xvcgAAAAAAAUZvbnRUaW50QW5kU2hhZGUAAAAAAAAAAAAQRm9udFNjaGVtZUNvbG9yAAAAAAAIRm9udEl0YWxpYwAAAkZvbnROYW1lAAYAAABBcmlhbAABRm9udFNpemUAAAAAAAAAJEAIRm9udFN0cmlrZXRocm91Z2gAAAhGb250U3Vic2NyaXB0AAAIRm9udFN1cGVyc2NyaXB0AAAIRm9udFVuZGVybGluZQAAAAhTaXplVG9UZXh0V2lkdGgAAAhTaXplVG9UZXh0SGVpZ2h0AAADVGV4dE1hcmdpbgA/AAAAAUxlZnQAAAAAAAAAAAABVG9wAAAAAAAAAAAAAVJpZ2h0AAAAAAAAAAAAAUJvdHRvbQAAAAAAAAAAAAACRGlzcGxheVRleHQAEAAAADTigIsvMzAvMjAy4oCLNAABSGVpZ2h0AAAAACDcWSlAAVdpZHRoAAAAAGDYdUhAAVRvcAAAAAAg/7FbQAFMZWZ0AAAAAIDMx3BACEZsaXBIb3Jpem9udGFsbHkAAAhGbGlwSG9yaXpvbnRhbGx5QXBwbGllZAAACEZsaXBWZXJ0aWNhbGx5AAAIRmxpcFZlcnRpY2FsbHlBcHBsaWVkAAABUm90YXRpb24AAAAAAAAAAAABWk9yZGVyAAAAAAAAwFR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Db25uZWN0b3JMaW5lAOEGAAADU3RhcnQAGwAAAAFYAAAAAAABZ3BAAVkAAAAAoDqdX0AAA0VuZAAbAAAAAVgAAAAAAAFncEABWQAAAACgOp1fQAACU3RhcnRBcnJvd0hlYWQAEQAAAG1zb0Fycm93aGVhZE5vbmUAAkVuZEFycm93SGVhZAARAAAAbXNvQXJyb3doZWFkTm9uZQAFTWFuYWdlZElkABAAAAAENeOj/1tc+Uy6b6wMC+oM6ghIYXNDaGFuZ2VzAAAIVXNlTmFtZUluc3RlYWRPZlRhZ0FzSWQAAAhTaGFwZVByZXZpb3VzbHlDcmVhdGVkAAA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A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AAAAAAAAVdpZHRoAAAAAAAAAAAAAVRvcAAAAACgOp1fQAFMZWZ0AAAAAAABZ3BACEZsaXBIb3Jpem9udGFsbHkAAAhGbGlwSG9yaXpvbnRhbGx5QXBwbGllZAAACEZsaXBWZXJ0aWNhbGx5AAAIRmxpcFZlcnRpY2FsbHlBcHBsaWVkAAABUm90YXRpb24AAAAAAAAAAAABWk9yZGVyAAAAAAAAQFRAA0JvcmRlckNvbG9yAFUAAAAQQQD/AAAAEFIAAAAAABBHAJEAAAAQQgDfAAAAAVNjQQAAAAAAAADwPwFTY1IAAAAAAAAAAAABU2NHAAAAAAAcH9I/AVNjQgAAAABg9pznPwAQQm9yZGVyVGhlbWVDb2xvcgAAAAAAAUJvcmRlclRpbnRBbmRTaGFkZQAAAAAAAAAAABBCb3JkZXJTY2hlbWVDb2xvcgAAAAAAAUJvcmRlclRoaWNrbmVzcwAAAAAAAADgPwJMaW5lRGFzaFN0eWxlAAoAAABMaW5lU29saWQAAUZpcnN0TGluZUluZGVudAAAAAAAAAAAAAhIYW5naW5nUHVuY3R1YXRpb24AABBJbmRlbnRMZXZlbAAAAAAAAUxlZnRJbmRlbnQAAAAAAAAAAAAITGluZVJ1bGVBZnRlcgAACExpbmVSdWxlQmVmb3JlAAAITGluZVJ1bGVXaXRoaW4AAAFSaWdodEluZGVudAAAAAAAAAAAAAFTcGFjZUFmdGVyAAAAAAAAAAAASAAAAAVHAAAASQAAAOcPAAAAAAAAAAAAAAFTcGFjZUJlZm9yZQAAAAAAAAAAAAFTcGFjZVdpdGhpbgAAAAAAAAAAAAAAAk1pbGVzdG9uZUxhYmVsUG9zaXRpb24ACQAAAFRvcFJpZ2h0ABBJbmRleAADAAAAAkRlc2NyaXB0aW9uABAAAAA04oCLLzE0LzIwMuKAizQAAk5hbWUACgAAAE1pbGVzdG9uZQAISXNMZWFkZXJMaW5lSW5BdXRvTW9kZQABCVN0YXJ0VGltZQAA6zDbjgEAAAADMwAdGgAAAl90eXBlAE0AAABlbXBvd2VyLkNoYXJ0cy5EYXRhLkdhbnR0LkNocm9ub2xvZ3kuRGF0YS5NaWxlc3RvbmVEYXRhLCBlbXBvd2VyLkNoYXJ0cy5EYXRhAANTdHlsZQB2BAAAAURlZmF1bHRGb250U2l6ZQAAAAAAAAAkQAFGb250U2l6ZQAAAAAAAAAgQANGb250Q29sb3IAVQAAABBBAP8AAAAQUgAQAAAAEEcAOAAAABBCAE8AAAABU2NBAAAAAAAAAPA/AVNjUgAAAADgNjl1PwFTY0cAAAAAgGc/pD8BU2NCAAAAAGAXBLQ/ABBGb250VGhlbWVDb2xvcgAAAAAAEEZvbnRTY2hlbWVDb2xvcgAAAAAAAUZvbnRUaW50QW5kU2hhZGUAAAAAAAAAAAADUGF0dGVybkNvbG9yAFUAAAAQQQAAAAAAEFIAAAAAABBHAAAAAAAQQgAAAAAAAVNjQQAAAAAAAAAAAAFTY1IAAAAAAAAAAAABU2NHAAAAAAAAAAAAAVNjQgAAAAAAAAAAAAAQUGF0dGVyblRoZW1lQ29sb3IAAAAAAAFQYXR0ZXJuVGludEFuZFNoYWRlAAAAAAAAAAAAA0RhdGFTdHlsZUZvbnRDb2xvclZhbHVlAFUAAAAQQQAAAAAAEFIAAAAAABBHAAAAAAAQQgAAAAAAAVNjQQAAAAAAAAAAAAFTY1IAAAAAAAAAAAABU2NHAAAAAAAAAAAAAVNjQgAAAAAAAAAAAAAIRGF0YVN0eWxlRm9udENvbG9ySGFzVmFsdWUAAAFIZWlnaHQAAAAA4N0yKEACRGFzaFN0eWxlAA0AAABtc29MaW5lU29saWQACEhhc1dpc2hGaWxsQ29sb3IAAANGaWxsQ29sb3IAVQAAABBBAP8AAAAQUgAAAAAAEEcAkQAAABBCAN8AAAABU2NBAAAAAAAAAPA/AVNjUgAAAAAAAAAAAAFTY0cAAAAAABwf0j8BU2NCAAAAAGD2nOc/ABBGaWxsU2NoZW1lQ29sb3IAAAAAABBGaWxsVGhlbWVDb2xvcgAAAAAAAUZpbGxUaW50QW5kU2hhZGUAAAAAAAAAAAADQm9yZGVyQ29sb3IAVQAAABBBAP8AAAAQUgD/AAAAEEcA/wAAABBCAP8AAAABU2NBAAAAAAAAAPA/AVNjUgAAAAAAAADwPwFTY0cAAAAAAAAA8D8BU2NCAAAAAAAAAPA/ABBCb3JkZXJUaGVtZUNvbG9yAAAAAAABQm9yZGVyVGludEFuZFNoYWRlAAAAAAAAAAAACElzRmlsbGVkAAECUGF0dGVybgAQAAAAbXNvUGF0dGVybk1peGVkAAJTaGFwZVR5cGUAEAAAAG1zb1NoYXBlRGlhbW9uZAADTGFiZWxPZmZzZXQAQgAAAAFYAAAAAAAAAAAAAVkAFsS2Y5CyM8ABTGVuZ3RoABbEtmOQsjNAAUxlbmd0aFNxdWFyZWQAhrmTvt8/eEAAAUJvcmRlclRoaWNrbmVzcwAAAAAAAADwPwhJc0ZvbnRCb2xkAAAISXNGb250SXRhbGljAAAISXNGb250VW5kZXJsaW5lZAAACExhYmVsSGFzQmFja2dyb3VuZAAAAlRleHRBbGlnbm1lbnQABQAAAExlZnQAAAhEaXNwbGF5TGFiZWwAAQhMYWJlbEhhc0JhY2tncm91bmQAAANSZW5kZXJJbmZvAGEUAAADU3ltYm9sAHIGAAACQXV0b1NoYXBlVHlwZQAIAAAARGlhbW9uZAAFTWFuYWdlZElkABAAAAAEnQo0+e3BqEmGJeuuSAFuOghIYXNDaGFuZ2VzAAAIVXNlTmFtZUluc3RlYWRPZlRhZ0FzSWQAAAhTaGFwZVByZXZpb3VzbHlDcmVhdGVkAAADRmlsbENvbG9yAFUAAAAQQQD/AAAAEFIAAAAAABBHAJEAAAAQQgDfAAAAAVNjQQAAAAAAAADwPwFTY1IAAAAAAAAAAAABU2NHAAAAAAAcH9I/AVNjQgAAAABg9pznP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ODdMihAAVdpZHRoAAAAAODdMihAAVRvcAAAAACgQY1QQAFMZWZ0AAAAAODlOGBACEZsaXBIb3Jpem9udGFsbHkAAAhGbGlwSG9yaXpvbnRhbGx5QXBwbGllZAAACEZsaXBWZXJ0aWNhbGx5AAAIRmxpcFZlcnRpY2FsbHlBcHBsaWVkAAABUm90YXRpb24AAAAAAAAAAAABWk9yZGVyAAAAAAAAgFRAA0JvcmRlckNvbG9yAFUAAAAQQQD/AAAAEFIA/wAAABBHAP8AAAAQQgD/AAAAAVNjQQAAAAAAAADwPwFTY1IAAAAAAAAA8D8BU2NHAAAAAAAAAPA/AVNjQgAAAAAAAADwPwAQQm9yZGVyVGhlbWVDb2xvcgAAAAAAAUJvcmRlclRpbnRBbmRTaGFkZQAAAAAAAAAAABBCb3JkZXJTY2hlbWVDb2xvcgAAAAAAAUJvcmRlclRoaWNrbmVzcwAAAAAAAADw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MYWJlbADrBgAABU1hbmFnZWRJZAAQAAAABObT0RQUoF5CvTXgcyfjeoEISGFzQ2hhbmdlcwAACFVzZU5hbWVJbnN0ZWFkT2ZUYWdBc0lkAAAIU2hhcGVQcmV2aW91c2x5Q3JlYXRlZAABA0ZpbGxDb2xvcgBVAAAAEEEA/wAAABBSAAAAAAAQRwCRAAAAEEIA3wAAAAFTY0EAAAAAAAAA8D8BU2NSAAAAAAAAAAAAAVNjRwAAAAAAHB/SPwFTY0IAAAAAYPac5z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AAxAAAANOKAiy8xNy8yMDLigIs0IEFjdGl2YWNpw7NuIGVuIHRvZGFzIGxhcyBsaW5lYXMgAAJUZXh0SG9yaXpvbnRhbEFsaWdubWVudAAOAAAAbXNvQW5jaG9yTm9uZQACUGFyYWdyYXBoQWxpZ25tZW50AAIAAAAwAAJUZXh0VmVydGljYWxBbGlnbm1lbnQAEAAAAG1zb0FuY2hvck1pZGRsZQADRm9udFN0eWxlAEABAAAQRm9udEJhY2tncm91bmQAAAAAAAhGb250Qm9sZAAAA0ZvbnRDb2xvcgBVAAAAEEEA/wAAABBSABAAAAAQRwA4AAAAEEIATwAAAAFTY0EAAAAAAAAA8D8BU2NSAAAAAOA2OXU/AVNjRwAAAACAZz+kPwFTY0IAAAAAYBcEtD8AEEZvbnRUaGVtZUNvbG9yAAAAAAABRm9udFRpbnRBbmRTaGFkZQAAAAAAAAAAABBGb250U2NoZW1lQ29sb3IAAAAAAAhGb250SXRhbGljAAACRm9udE5hbWUABgAAAEFyaWFsAAFGb250U2l6ZQAAAAAAAAAgQAhGb250U3RyaWtldGhyb3VnaEkAAAAFSAAAAEoAAADnDwAAAAAAAAAAAAAAAAhGb250U3Vic2NyaXB0AAAIRm9udFN1cGVyc2NyaXB0AAAIRm9udFVuZGVybGluZQAAAAhTaXplVG9UZXh0V2lkdGgAAAhTaXplVG9UZXh0SGVpZ2h0AAADVGV4dE1hcmdpbgA/AAAAAUxlZnQAAAAAAAAAAAABVG9wAAAAAAAAAAAAAVJpZ2h0AAAAAAAAAAAAAUJvdHRvbQAAAAAAAAAAAAACRGlzcGxheVRleHQAMQAAADTigIsvMTcvMjAy4oCLNCBBY3RpdmFjacOzbiBlbiB0b2RhcyBsYXMgbGluZWFzIAABSGVpZ2h0AAAAAOCxSyVAAVdpZHRoAAAAACCD4GNAAVRvcAAAAADAlkdKQAFMZWZ0AAAAAMB8+mBACEZsaXBIb3Jpem9udGFsbHkAAAhGbGlwSG9yaXpvbnRhbGx5QXBwbGllZAAACEZsaXBWZXJ0aWNhbGx5AAAIRmxpcFZlcnRpY2FsbHlBcHBsaWVkAAABUm90YXRpb24AAAAAAAAAAAABWk9yZGVyAAAAAAAAwFR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Db25uZWN0b3JMaW5lAOEGAAADU3RhcnQAGwAAAAFYAAAAAODlOGBAAVkAAAAAoEGNUEAAA0VuZAAbAAAAAVgAAAAA4OU4YEABWQAAAACgQY1QQAACU3RhcnRBcnJvd0hlYWQAEQAAAG1zb0Fycm93aGVhZE5vbmUAAkVuZEFycm93SGVhZAARAAAAbXNvQXJyb3doZWFkTm9uZQAFTWFuYWdlZElkABAAAAAECvQbyTkaEk6HPICIvMzogQhIYXNDaGFuZ2VzAAAIVXNlTmFtZUluc3RlYWRPZlRhZ0FzSWQAAAhTaGFwZVByZXZpb3VzbHlDcmVhdGVkAAA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A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AAAAAAAAVdpZHRoAAAAAAAAAAAAAVRvcAAAAACgQY1QQAFMZWZ0AAAAAODlOGBACEZsaXBIb3Jpem9udGFsbHkAAAhGbGlwSG9yaXpvbnRhbGx5QXBwbGllZAAACEZsaXBWZXJ0aWNhbGx5AAAIRmxpcFZlcnRpY2FsbHlBcHBsaWVkAAABUm90YXRpb24AAAAAAAAAAAABWk9yZGVyAAAAAAAAQFRAA0JvcmRlckNvbG9yAFUAAAAQQQD/AAAAEFIAAAAAABBHAJEAAAAQQgDfAAAAAVNjQQAAAAAAAADwPwFTY1IAAAAAAAAAAAABU2NHAAAAAAAcH9I/AVNjQgAAAABg9pznPwAQQm9yZGVyVGhlbWVDb2xvcgAAAAAAAUJvcmRlclRpbnRBbmRTaGFkZQAAAAAAAAAAABBCb3JkZXJTY2hlbWVDb2xvcgAAAAAAAUJvcmRlclRoaWNrbmVzcwAAAAAAAADg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ACTWlsZXN0b25lTGFiZWxQb3NpdGlvbgAJAAAAVG9wUmlnaHQAEEluZGV4AAQAAAACRGVzY3JpcHRpb24AMQAAADTigIsvMTcvMjAy4oCLNCBBY3RpdmFjacOzbiBlbiB0b2RhcyBsYXMgbGluZWFzIAACTmFtZQAKAAAATWlsZXN0b25lAAhJc0xlYWRlckxpbmVJbkF1dG9Nb2RlAAEJU3RhcnRUaW1lAAD/o+qOAQAAAAM0AOEZAAACX3R5cGUATQAAAGVtcG93ZXIuQ2hhcnRzLkRhdGEuR2FudHQuQ2hyb25vbG9neS5EYXRhLk1pbGVzdG9uZURhdGEsIGVtcG93ZXIuQ2hhcnRzLkRhdGEAA1N0eWxlAHYEAAABRGVmYXVsdEZvbnRTaXplAAAAAAAAACRAAUZvbnRTaXplAAAAAAAAACBAA0ZvbnRDb2xvcgBVAAAAEEEA/wAAABBSABAAAAAQRwA4AAAAEEIATwAAAAFTY0EAAAAAAAAA8D8BU2NSAAAAAOA2OXU/AVNjRwAAAACAZz+kPwFTY0IAAAAAYBcEtD8AEEZvbnRUaGVtZUNvbG9yAAAAAAAQRm9udFNjaGVtZUNvbG9yAAAAAAABRm9udFRpbnRBbmRTaGFkZQAAAAAAAAAAAANQYXR0ZXJuQ29sb3IAVQAAABBBAAAAAAAQUgAAAAAAEEcAAAAAABBCAAAAAAABU2NBAAAAAAAAAAAAAVNjUgAAAAAAAAAAAAFTY0cAAAAAAAAAAAABU2NCAAAAAAAAAAAAABBQYXR0ZXJuVGhlbWVDb2xvcgAAAAAAAVBhdHRlcm5UaW50QW5kU2hhZGUAAAAAAAAAAAADRGF0YVN0eWxlRm9udENvbG9yVmFsdWUAVQAAABBBAAAAAAAQUgAAAAAAEEcAAAAAABBCAAAAAAABU2NBAAAAAAAAAAAAAVNjUgAAAAAAAAAAAAFTY0cAAAAAAAAAAAABU2NCAAAAAAAAAAAAAAhEYXRhU3R5bGVGb250Q29sb3JIYXNWYWx1ZQAAAUhlaWdodAAAAADg3TIoQAJEYXNoU3R5bGUADQAAAG1zb0xpbmVTb2xpZAAISGFzV2lzaEZpbGxDb2xvcgAAA0ZpbGxDb2xvcgBVAAAAEEEA/wAAABBSAAAAAAAQRwCRAAAAEEIA3wAAAAFTY0EAAAAAAAAA8D8BU2NSAAAAAAAAAAAAAVNjRwAAAAAAHB/SPwFTY0IAAAAAYPac5z8AEEZpbGxTY2hlbWVDb2xvcgAAAAAAEEZpbGxUaGVtZUNvbG9yAAAAAAABRmlsbFRpbnRBbmRTaGFkZQAAAAAAAAAAAANCb3JkZXJDb2xvcgBVAAAAEEEA/wAAABBSAP8AAAAQRwD/AAAAEEIA/wAAAAFTY0EAAAAAAAAA8D8BU2NSAAAAAAAAAPA/AVNjRwAAAAAAAADwPwFTY0IAAAAAAAAA8D8AEEJvcmRlclRoZW1lQ29sb3IAAAAAAAFCb3JkZXJUaW50QW5kU2hhZGUAAAAAAAAAAAAISXNGaWxsZWQAAQJQYXR0ZXJuABAAAABtc29QYXR0ZXJuTWl4ZWQAAlNoYXBlVHlwZQAQAAAAbXNvU2hhcGVEaWFtb25kAANMYWJlbE9mZnNldABCAAAAAVgAAAAA8G4ZIkABWQAwiG3XsUsVwAFMZW5ndGgAGKipMsb/JEABTGVuZ3RoU3F1YXJlZACSKs5FaI9bQAABQm9yZGVyVGhpY2tuZXNzAAAAAAAAAPA/CElzRm9udEJvbGQAAAhJc0ZvbnRJdGFsaWMAAAhJc0ZvbnRVbmRlcmxpbmVkAAAITGFiZWxIYXNCYWNrZ3JvdW5kAAACVGV4dEFsaWdubWVudAAFAAAATGVmdAAACERpc3BsYXlMYWJlbAABCExhYmVKAAAABUkAAABLAAAA5w8AAAAAAAAAAAAAbEhhc0JhY2tncm91bmQAAANSZW5kZXJJbmZvADsUAAADU3ltYm9sAHIGAAACQXV0b1NoYXBlVHlwZQAIAAAARGlhbW9uZAAFTWFuYWdlZElkABAAAAAEk24mkCf4VUKfD6EhMtfg6QhIYXNDaGFuZ2VzAAAIVXNlTmFtZUluc3RlYWRPZlRhZ0FzSWQAAAhTaGFwZVByZXZpb3VzbHlDcmVhdGVkAAADRmlsbENvbG9yAFUAAAAQQQD/AAAAEFIAAAAAABBHAJEAAAAQQgDfAAAAAVNjQQAAAAAAAADwPwFTY1IAAAAAAAAAAAABU2NHAAAAAAAcH9I/AVNjQgAAAABg9pznP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ODdMihAAVdpZHRoAAAAAODdMihAAVRvcAAAAACgQY1QQAFMZWZ0AAAAAGDao2RACEZsaXBIb3Jpem9udGFsbHkAAAhGbGlwSG9yaXpvbnRhbGx5QXBwbGllZAAACEZsaXBWZXJ0aWNhbGx5AAAIRmxpcFZlcnRpY2FsbHlBcHBsaWVkAAABUm90YXRpb24AAAAAAAAAAAABWk9yZGVyAAAAAAAAgFRAA0JvcmRlckNvbG9yAFUAAAAQQQD/AAAAEFIA/wAAABBHAP8AAAAQQgD/AAAAAVNjQQAAAAAAAADwPwFTY1IAAAAAAAAA8D8BU2NHAAAAAAAAAPA/AVNjQgAAAAAAAADwPwAQQm9yZGVyVGhlbWVDb2xvcgAAAAAAAUJvcmRlclRpbnRBbmRTaGFkZQAAAAAAAAAAABBCb3JkZXJTY2hlbWVDb2xvcgAAAAAAAUJvcmRlclRoaWNrbmVzcwAAAAAAAADw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MYWJlbADFBgAABU1hbmFnZWRJZAAQAAAABM2okVOdJO9KmUhOHec+AVwISGFzQ2hhbmdlcwAACFVzZU5hbWVJbnN0ZWFkT2ZUYWdBc0lkAAAIU2hhcGVQcmV2aW91c2x5Q3JlYXRlZAABA0ZpbGxDb2xvcgBVAAAAEEEA/wAAABBSAAAAAAAQRwCRAAAAEEIA3wAAAAFTY0EAAAAAAAAA8D8BU2NSAAAAAAAAAAAAAVNjRwAAAAAAHB/SPwFTY0IAAAAAYPac5z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AAeAAAARmluIEh5cGVyY2FyZSA04oCLLzI0LzIwMuKAizQAAlRleHRIb3Jpem9udGFsQWxpZ25tZW50AA4AAABtc29BbmNob3JOb25lAAJQYXJhZ3JhcGhBbGlnbm1lbnQAAgAAADAAAlRleHRWZXJ0aWNhbEFsaWdubWVudAAQAAAAbXNvQW5jaG9yTWlkZGxlAANGb250U3R5bGUAQAEAABBGb250QmFja2dyb3VuZAAAAAAACEZvbnRCb2xkAAADRm9udENvbG9yAFUAAAAQQQD/AAAAEFIAEAAAABBHADgAAAAQQgBPAAAAAVNjQQAAAAAAAADwPwFTY1IAAAAA4DY5dT8BU2NHAAAAAIBnP6Q/AVNjQgAAAABgFwS0PwAQRm9udFRoZW1lQ29sb3IAAAAAAAFGb250VGludEFuZFNoYWRlAAAAAAAAAAAAEEZvbnRTY2hlbWVDb2xvcgAAAAAACEZvbnRJdGFsaWMAAAJGb250TmFtZQAGAAAAQXJpYWwAAUZvbnRTaXplAAAAAAAAACBACEZvbnRTdHJpa2V0aHJvdWdoAAAIRm9udFN1YnNjcmlwdAAACEZvbnRTdXBlcnNjcmlwdAAACEZvbnRVbmRlcmxpbmUAAAAIU2l6ZVRvVGV4dFdpZHRoAAAIU2l6ZVRvVGV4dEhlaWdodAAAA1RleHRNYXJnaW4APwAAAAFMZWZ0AAAAAAAAAAAAAVRvcAAAAAAAAAAAAAFSaWdodAAAAAAAAAAAAAFCb3R0b20AAAAAAAAAAAAAAkRpc3BsYXlUZXh0AB4AAABGaW4gSHlwZXJjYXJlIDTigIsvMjQvMjAy4oCLNAABSGVpZ2h0AAAAAOCxSyVAAVdpZHRoAAAAAIBsN1hAAVRvcAAAAABgtLtQQAFMZWZ0AAAAAEAIh2ZACEZsaXBIb3Jpem9udGFsbHkAAAhGbGlwSG9yaXpvbnRhbGx5QXBwbGllZAAACEZsaXBWZXJ0aWNhbGx5AAAIRmxpcFZlcnRpY2FsbHlBcHBsaWVkAAABUm90YXRpb24AAAAAAAAAAAABWk9yZGVyAAAAAAAAwFR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Db25uZWN0b3JMaW5lAOEGAAADU3RhcnQAGwAAAAFYAAAAAGDao2RAAVkAAAAAoEGNUEAAA0VuZAAbAAAAAVgAAAAAYNqjZEABWQAAAACgQY1QQAACU3RhcnRBcnJvd0hlYWQAEQAAAG1zb0Fycm93aGVhZE5vbmUAAkVuZEFycm93SGVhZAARAAAAbXNvQXJyb3doZWFkTm9uZQAFTWFuYWdlZElkABAAAAAE3Yo5y3CoYEauiVx+XATxmghIYXNDaGFuZ2VzAAAIVXNlTmFtZUluc3RlYWRPZlRhZ0FzSWQAAAhTaGFwZVByZXZpb3VzbHlDcmVhdGVkAAA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AJGaWxsUGF0dGVybgAQAAAAbXNvUGF0dGVybk1peGVkAAJUZXh0SG9yaXpvbnRhbEFsSwAAAAVKAAAATAAAAOcPAAAAAAAAAAAAA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AAAAAAAAFUb3AAAAAAoEGNUEABTGVmdAAAAABg2qNkQAhGbGlwSG9yaXpvbnRhbGx5AAAIRmxpcEhvcml6b250YWxseUFwcGxpZWQAAAhGbGlwVmVydGljYWxseQAACEZsaXBWZXJ0aWNhbGx5QXBwbGllZAAAAVJvdGF0aW9uAAAAAAAAAAAAAVpPcmRlcgAAAAAAAEBUQANCb3JkZXJDb2xvcgBVAAAAEEEA/wAAABBSAAAAAAAQRwCRAAAAEEIA3wAAAAFTY0EAAAAAAAAA8D8BU2NSAAAAAAAAAAAAAVNjRwAAAAAAHB/SPwFTY0IAAAAAYPac5z8AEEJvcmRlclRoZW1lQ29sb3IAAAAAAAFCb3JkZXJUaW50QW5kU2hhZGUAAAAAAAAAAAAQQm9yZGVyU2NoZW1lQ29sb3IAAAAAAAFCb3JkZXJUaGlja25lc3MAAAAAAAAA4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AAk1pbGVzdG9uZUxhYmVsUG9zaXRpb24ABgAAAFJpZ2h0ABBJbmRleAAFAAAAAkRlc2NyaXB0aW9uAB4AAABGaW4gSHlwZXJjYXJlIDTigIsvMjQvMjAy4oCLNAACTmFtZQAKAAAATWlsZXN0b25lAAhJc0xlYWRlckxpbmVJbkF1dG9Nb2RlAAEJU3RhcnRUaW1lAACDsA6PAQAAAAACTmFtZQAIAAAAQ2ljbG8gMwAISXNIaWdobGlnaHRlZAAACElzU2VwYXJhdG9yTGluZVZpc2libGUAAQNTdHlsZQB0BAAAAURlZmF1bHRGb250U2l6ZQAAAAAAAAAkQAFGb250U2l6ZQAAAAAAAAAkQANGb250Q29sb3IAVQAAABBBAP8AAAAQUgAQAAAAEEcAOAAAABBCAE8AAAABU2NBAAAAAAAAAPA/AVNjUgAAAADgNjl1PwFTY0cAAAAAgGc/pD8BU2NCAAAAAGAXBLQ/ABBGb250VGhlbWVDb2xvcgAAAAAAEEZvbnRTY2hlbWVDb2xvcgAAAAAAAUZvbnRUaW50QW5kU2hhZGUAAAAAAAAAAAADUGF0dGVybkNvbG9yAFUAAAAQQQAAAAAAEFIAAAAAABBHAAAAAAAQQgAAAAAAAVNjQQAAAAAAAAAAAAFTY1IAAAAAAAAAAAABU2NHAAAAAAAAAAAAAVNjQgAAAAAAAAAAAAAQUGF0dGVyblRoZW1lQ29sb3IAAAAAAAFQYXR0ZXJuVGludEFuZFNoYWRlAAAAAAAAAAAAA0RhdGFTdHlsZUZvbnRDb2xvclZhbHVlAFUAAAAQQQD/AAAAEFIAEAAAABBHADgAAAAQQgBPAAAAAVNjQQAAAAAAAADwPwFTY1IAAAAA4DY5dT8BU2NHAAAAAIBnP6Q/AVNjQgAAAABgFwS0PwAIRGF0YVN0eWxlRm9udENvbG9ySGFzVmFsdWUAAQFIZWlnaHQAAAAAAAAAAAACRGFzaFN0eWxlAA0AAABtc29MaW5lU29saWQACEhhc1dpc2hGaWxsQ29sb3IAAQNGaWxsQ29sb3IAVQAAABBBAAAAAAAQUgD/AAAAEEcA/wAAABBCAP8AAAABU2NBAAAAAAAAAAAAAVNjUgAAAAAAAADwPwFTY0cAAAAAAAAA8D8BU2NCAAAAAAAAAPA/ABBGaWxsU2NoZW1lQ29sb3IAAAAAABBGaWxsVGhlbWVDb2xvcgAAAAAAAUZpbGxUaW50QW5kU2hhZGUAAAAAAAAAAAADQm9yZGVyQ29sb3IAVQAAABBBAP8AAAAQUgDjAAAAEEcA4wAAABBCAOMAAAABU2NBAAAAAAAAAPA/AVNjUgAAAADAsZToPwFTY0cAAAAAwLGU6D8BU2NCAAAAAMCxlOg/ABBCb3JkZXJUaGVtZUNvbG9yAAAAAAABQm9yZGVyVGludEFuZFNoYWRlAAAAAAAAAAAACElzRmlsbGVkAAECUGF0dGVybgAQAAAAbXNvUGF0dGVybk1peGVkAAJTaGFwZVR5cGUADgAAAG1zb1NoYXBlTWl4ZWQAA0xhYmVsT2Zmc2V0AEIAAAABWAAAAAAAAAAAAAFZAAAAAAAAAAAAAUxlbmd0aAAAAAAAAAAAAAFMZW5ndGhTcXVhcmVkAAAAAAAAAAAAAAFCb3JkZXJUaGlja25lc3MAAAAAAAAA8D8ISXNGb250Qm9sZAAACElzRm9udEl0YWxpYwAACElzRm9udFVuZGVybGluZWQAAAhMYWJlbEhhc0JhY2tncm91bmQAAAJUZXh0QWxpZ25tZW50AAUAAABMZWZ0AAABUm93VG9wALcaFZmT301AAVJvd0hlaWdodABuNSoyLQU5QANMZWZ0Tm90ZXMAxwQAAANUZXh0U3R5bGUAWwQAAAFEZWZhdWx0Rm9udFNpemUAAAAAAAAAJEABRm9udFNpemUAAAAAAAAAJEADRm9udENvbG9yAFUAAAAQQQD/AAAAEFIAEAAAABBHADgAAAAQQgBPAAAAAVNjQQAAAAAAAADwPwFTY1IAAAAA4DY5dT8BU2NHAAAAAIBnP6Q/AVNjQgAAAABgFwS0PwAQRm9udFRoZW1lQ29sb3IAAAAAABBGb250U2NoZW1lQ29sb3IAAAAAAAFGb250VGludEFuZFNoYWRlAAAAAAAAAAAAA1BhdHRlcm5Db2xvcgBVAAAAEEEAAAAAABBSAAAAAAAQRwAAAAAAEEIAAAAAAAFTY0EAAAAAAAAAAAABU2NSAAAAAAAAAAAAAVNjRwAAAAAAAAAAAAFTY0IAAAAAAAAAAAAAEFBhdHRlcm5UaGVtZUNvbG9yAAAAAAABUGF0dGVyblRpbnRBbmRTaGFkZQAAAAAAAAAAAANEYXRhU3R5bGVGb250Q29sb3JWYWx1ZQBVAAAAEEEA/wAAABBSABAAAAAQRwA4AAAAEEIATwAAAAFTY0EAAAAAAAAA8D8BU2NSAAAAAOA2OXU/AVNjRwAAAACAZz+kPwFTY0IAAAAAYBcEtD8ACERhdGFTdHlsZUZvbnRDb2xvckhhc1ZhbHVlAAEBSGVpZ2h0AAAAAAAAAAAAAkRhc2hTdHlsZQANAAAAbXNvTGluZVNvbGlkAAhIYXNXaXNoRmlsbENvbG9yAAADRmlsbENvbG9yAFUAAAAQQQD/AAAAEFIAAAAAABBHAAAAAAAQQgAAAAAAAVNjQQAAAAAAAADwPwFTY1IAAAAAAAAAAAABU2NHAAAAAAAAAAAAAVNjQgAAAAAAAAAAAAAQRmlsbFNjaGVtZUNvbG9yAAAAAAAQRmlsbFRoZW1lQ29sb3IAAAAAAAFGaWxsVGludEFuZFNoYWRlAAAAAAAAAAAAA0JvcmRlckNvbG9yAFUAAAAQQQAAAAAAEFIAAAAAABBHAAAAAAAQQgAAAAAAAVNjQQAAAAAAAAAAAAFTY1IAAAAAAAAAAAABU2NHAAAAAAAAAAAAAVNjQgAAAAAAAAAAAAAQQm9yZGVyVGhlbWVDb2xvcgAAAAAAAUJvcmRlclRpbnRBbmRTaGFkZQAAAAAAAAAAAAhJc0ZpbGxlZAABAlBhdHRlcm4AEAAAAG1zb1BhdHRlcm5NaXhlZAACU2hhcGVUeXBlAA4AAABtc29TaGFwZU1peGVkAANMYWJlbE9mZnNldABCAAAAAVgAAAAAAAAAAAABWQAAAAAAAAAAAAFMZW5ndGgAAAAAAAAAAAABTGVuZ3RoU3F1YXJlZAAAAAAAAAAAAAAISXNGb250Qm9sZAAACElzRm9udEl0YWxpYwAACElzRm9udFVuZGVybGluZWQAAAhMYWJlbEhhc0JhY2tncm91bmQAAAJUZXh0QWxpZ25tZW50AAUAAABMZWZ0AAAISGFydmV5QmFsbFZpc2libGUAARBIYXJ2ZXlCYWxsVmFsdWUAAAAAAAJDaGVja0JveFN0YXRlAAUAAABOb25lAAJUcmFmZmljTGlnaHRTdGF0ZQAEAAAAT2ZmAAADUmlnaHROb3RlcwDHBAAAA1RleHRTdHlsZQBbBAAAAURlZmF1bHRGb250U2l6ZQAAAAAAAAAkQAFGb250U2l6ZQAAAAAAAAAkQANGb250Q29sb3IAVQAAABBBAP8AAAAQUgAQAAAAEEcAOAAAABBCAE8AAAABU2NBAAAAAAAAAPA/AVNjUgAAAADgNjl1PwFTY0cAAAAAgGc/pD8BU2NCAAAAAGAXBLQ/ABBGb250VGhlbWVDb2xvcgAAAAAAEEZvbnRTY2hlbWVDb2xvcgAAAAAAAUZvbnRUaW50QW5kU2hhZGUAAAAAAAAAAAADUGF0dGVybkNvbG9yAFUAAAAQQQAAAAAAEFIAAAAAABBHAAAAAAAQQgAAAAAAAVNjQQAAAAAAAAAAAAFTY1IAAEwAAAAFSwAAAE0AAADnDwAAAAAAAAAAAAAAAAAAAAAAAVNjRwAAAAAAAAAAAAFTY0IAAAAAAAAAAAAAEFBhdHRlcm5UaGVtZUNvbG9yAAAAAAABUGF0dGVyblRpbnRBbmRTaGFkZQAAAAAAAAAAAANEYXRhU3R5bGVGb250Q29sb3JWYWx1ZQBVAAAAEEEA/wAAABBSABAAAAAQRwA4AAAAEEIATwAAAAFTY0EAAAAAAAAA8D8BU2NSAAAAAOA2OXU/AVNjRwAAAACAZz+kPwFTY0IAAAAAYBcEtD8ACERhdGFTdHlsZUZvbnRDb2xvckhhc1ZhbHVlAAEBSGVpZ2h0AAAAAAAAAAAAAkRhc2hTdHlsZQANAAAAbXNvTGluZVNvbGlkAAhIYXNXaXNoRmlsbENvbG9yAAADRmlsbENvbG9yAFUAAAAQQQD/AAAAEFIAAAAAABBHAAAAAAAQQgAAAAAAAVNjQQAAAAAAAADwPwFTY1IAAAAAAAAAAAABU2NHAAAAAAAAAAAAAVNjQgAAAAAAAAAAAAAQRmlsbFNjaGVtZUNvbG9yAAAAAAAQRmlsbFRoZW1lQ29sb3IAAAAAAAFGaWxsVGludEFuZFNoYWRlAAAAAAAAAAAAA0JvcmRlckNvbG9yAFUAAAAQQQAAAAAAEFIAAAAAABBHAAAAAAAQQgAAAAAAAVNjQQAAAAAAAAAAAAFTY1IAAAAAAAAAAAABU2NHAAAAAAAAAAAAAVNjQgAAAAAAAAAAAAAQQm9yZGVyVGhlbWVDb2xvcgAAAAAAAUJvcmRlclRpbnRBbmRTaGFkZQAAAAAAAAAAAAhJc0ZpbGxlZAABAlBhdHRlcm4AEAAAAG1zb1BhdHRlcm5NaXhlZAACU2hhcGVUeXBlAA4AAABtc29TaGFwZU1peGVkAANMYWJlbE9mZnNldABCAAAAAVgAAAAAAAAAAAABWQAAAAAAAAAAAAFMZW5ndGgAAAAAAAAAAAABTGVuZ3RoU3F1YXJlZAAAAAAAAAAAAAAISXNGb250Qm9sZAAACElzRm9udEl0YWxpYwAACElzRm9udFVuZGVybGluZWQAAAhMYWJlbEhhc0JhY2tncm91bmQAAAJUZXh0QWxpZ25tZW50AAUAAABMZWZ0AAAISGFydmV5QmFsbFZpc2libGUAARBIYXJ2ZXlCYWxsVmFsdWUAAAAAAAJDaGVja0JveFN0YXRlAAUAAABOb25lAAJUcmFmZmljTGlnaHRTdGF0ZQAEAAAAT2ZmAAADTGVmdE5vdGVzUmVuZGVySW5mbwBhFAAAA0xhYmVsAHQGAAAFTWFuYWdlZElkABAAAAAEmrI3HlItS0+PniEQGknFBQhIYXNDaGFuZ2VzAAEIVXNlTmFtZUluc3RlYWRPZlRhZ0FzSWQAAAhTaGFwZVByZXZpb3VzbHlDcmVhdGVkAAA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AJGaWxsUGF0dGVybgAQAAAAbXNvUGF0dGVybk1peGVkAAJUZXh0AAEAAAA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JEaXNwbGF5VGV4dAABAAAAAAFIZWlnaHQAAAAAAAAA8D8BV2lkdGgAAAAAAAAA8D8BVG9wAAAAAACMlnFAAUxlZnQAAAAAQGX2jU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NlcGFyYXRvckxpbmUA4QYAAANTdGFydAAbAAAAAVgAzczMFjLzjUABWQAAAAAgFRFVQAADRW5kABsAAAABWAAzMzN9mPmNQAFZAAAAACAVEVVAAAJTdGFydEFycm93SGVhZAARAAAAbXNvQXJyb3doZWFkTm9uZQACRW5kQXJyb3dIZWFkABEAAABtc29BcnJvd2hlYWROb25lAAVNYW5hZ2VkSWQAEAAAAARSN1NEBskYSpgNYAyLWs7XCEhhc0NoYW5nZXMAAQhVc2VOYW1lSW5zdGVhZE9mVGFnQXNJZAAACFNoYXBlUHJldmlvdXNseUNyZWF0ZWQAAA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oJmZ6T8BVG9wAAAAACAVEVVAAUxlZnQAAAAAIDLzjUAIRmxpcEhvcml6b250YWxseQAACEZsaXBIb3Jpem9udGFsbHlBcHBsaWVkAAAIRmxpcFZlcnRpY2FsbHkAAAhGbGlwVmVydGljYWxseUFwcGxpZWQAAAFSb3RhdGlvbgAAAAAAAAAAAAFaT3JkZXIAAAAAAACAVUADQm9yZGVyQ29sb3IAVQAAABBBAP8AAAAQUgDjAAAAEEcA4wAAABBCAOMAAAABU2NBAAAAAAAAAPA/AVNjUgAAAADAsZToPwFTY0cAAAAAwLGU6D8BU2NCAAAAAMCxlOg/ABBCb3JkZXJUaGVtZUNvbG9yAAAAAABNAAAABUwAAABOAAAA5w8AAAAAAAAAAAAAAUJvcmRlclRpbnRBbmRTaGFkZQAAAAAAAAAAABBCb3JkZXJTY2hlbWVDb2xvcgAAAAAAAUJvcmRlclRoaWNrbmVzcwAAAAAAAADw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SZWN0YW5nbGUAdAYAAAJBdXRvU2hhcGVUeXBlAAoAAABSZWN0YW5nbGUABU1hbmFnZWRJZAAQAAAABLHLvGuudgFJnuGk/4jo0ZoISGFzQ2hhbmdlcwABCFVzZU5hbWVJbnN0ZWFkT2ZUYWdBc0lkAAAIU2hhcGVQcmV2aW91c2x5Q3JlYXRlZAAAA0ZpbGxDb2xvcgBVAAAAEEEAAAAAABBSAP8AAAAQRwD/AAAAEEIA/wAAAAFTY0EAAAAAAAAAAAABU2NSAAAAAAAAAPA/AVNjRwAAAAAAAADwPwFTY0IAAAAAAAAA8D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A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BALQU4QAFXaWR0aAAAAAAAAAAAAAFUb3AAAAAAoJMfTkABTGVmdAAAAABAZe6NQAhGbGlwSG9yaXpvbnRhbGx5AAAIRmxpcEhvcml6b250YWxseUFwcGxpZWQAAAhGbGlwVmVydGljYWxseQAACEZsaXBWZXJ0aWNhbGx5QXBwbGllZAAAAVJvdGF0aW9uAAAAAAAAAAAAAVpPcmRlcgAAAAAAAEBV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EVHJhZmZpY0xpZ2h0RGF0YQAFAAAAAARIYXJ2ZXlCYWxsRGF0YQAFAAAAAAJUcmFmZmljTGlnaHRTdGF0ZQAEAAAAT2ZmAARDaGVja0JveERhdGEABQAAAAACQ2hlY2tCb3hTdGF0ZQAFAAAATm9uZQAAA1JpZ2h0Tm90ZXNSZW5kZXJJbmZvAGEUAAADTGFiZWwAdAYAAAVNYW5hZ2VkSWQAEAAAAARq5tWEooSqR4+Td+VkTJT6CEhhc0NoYW5nZXMAAQhVc2VOYW1lSW5zdGVhZE9mVGFnQXNJZAAACFNoYXBlUHJldmlvdXNseUNyZWF0ZWQAAA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AAkZpbGxQYXR0ZXJuABAAAABtc29QYXR0ZXJuTWl4ZWQAAlRleHQAAQAAA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kRpc3BsYXlUZXh0AAEAAAAAAUhlaWdodAAAAAAAAADwPwFXaWR0aAAAAAAAAADwPwFUb3AAAAAAAIyWcUABTGVmdAAAAABAZfaNQAhGbGlwSG9yaXpvbnRhbGx5AAAIRmxpcEhvcml6b250YWxseUFwcGxpZWQAAAhGbGlwVmVydGljYWxseQAACEZsaXBWZXJ0aWNhbGx5QXBwbGllZAAAAVJvdGF0aW9uAAAAAAAAAAAAAVpPcmRlcgAAAAAAAAAAA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2VwYXJhdG9yTGluZQDhBgAAA1N0YXJ0ABsAAAABWADNzMwWMvONQAFZAAAAACAVEVVAAANFbmQAGwAAAAFYADMzM32Y+Y1AAVkAAAAAIBURVUAAAlN0YXJ0QXJyb3dIZWFkABEAAABtc29BcnJvd2hlYWROb25lAAJFbmRBcnJvd0hlYWQAEQAAAG1zb0Fycm93aGVhZE5vbmUABU1hbmFnZWRJZAAQAAAABAOXOHAuHctNhhb0ROAQPSYISGFzQ2hhbmdlcwABCFVzZU5hbWVJbnN0ZWFkT2ZUYWdBc0lkAAAIU2hhcGVQcmV2aW91c2x5Q3JlYXRlZAAAA0ZpbGxDb2xvcgBVAAAAEEEAAAAAABBSAAAAAAAQRwAATgAAAAVNAAAATwAAAOcPAAAAAAAAAAA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oJmZ6T8BVG9wAAAAACAVEVVAAUxlZnQAAAAAIDLzjUAIRmxpcEhvcml6b250YWxseQAACEZsaXBIb3Jpem9udGFsbHlBcHBsaWVkAAAIRmxpcFZlcnRpY2FsbHkAAAhGbGlwVmVydGljYWxseUFwcGxpZWQAAAFSb3RhdGlvbgAAAAAAAAAAAAFaT3JkZXIAAAAAAACAVUADQm9yZGVyQ29sb3IAVQAAABBBAP8AAAAQUgDjAAAAEEcA4wAAABBCAOMAAAABU2NBAAAAAAAAAPA/AVNjUgAAAADAsZToPwFTY0cAAAAAwLGU6D8BU2NCAAAAAMCxlOg/ABBCb3JkZXJUaGVtZUNvbG9yAAAAAAABQm9yZGVyVGludEFuZFNoYWRlAAAAAAAAAAAAEEJvcmRlclNjaGVtZUNvbG9yAAAAAAABQm9yZGVyVGhpY2tuZXNzAAAAAAAAAPA/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JlY3RhbmdsZQB0BgAAAkF1dG9TaGFwZVR5cGUACgAAAFJlY3RhbmdsZQAFTWFuYWdlZElkABAAAAAEidYwmHX+Q06LhoGWzKLC0AhIYXNDaGFuZ2VzAAEIVXNlTmFtZUluc3RlYWRPZlRhZ0FzSWQAAAhTaGFwZVByZXZpb3VzbHlDcmVhdGVkAAADRmlsbENvbG9yAFUAAAAQQQAAAAAAEFIA/wAAABBHAP8AAAAQQgD/AAAAAVNjQQAAAAAAAAAAAAFTY1IAAAAAAAAA8D8BU2NHAAAAAAAAAPA/AVNjQgAAAAAAAADwP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A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EAtBThAAVdpZHRoAAAAAAAAAAAAAVRvcAAAAACgkx9OQAFMZWZ0AAAAAEBl7o1ACEZsaXBIb3Jpem9udGFsbHkAAAhGbGlwSG9yaXpvbnRhbGx5QXBwbGllZAAACEZsaXBWZXJ0aWNhbGx5AAAIRmxpcFZlcnRpY2FsbHlBcHBsaWVkAAABUm90YXRpb24AAAAAAAAAAAABWk9yZGVyAAAAAAAAQFV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RUcmFmZmljTGlnaHREYXRhAAUAAAAABEhhcnZleUJhbGxEYXRhAAUAAAAAAlRyYWZmaWNMaWdodFN0YXRlAAQAAABPZmYABENoZWNrQm94RGF0YQAFAAAAAAJDaGVja0JveFN0YXRlAAUAAABOb25lAAADTGVmdFNpZGVSZW5kZXJJbmZvAB8UAAADTGFiZWwApAYAAAVNYW5hZ2VkSWQAEAAAAASHXStN9LHzSa7NetwVOtyECEhhc0NoYW5nZXMAAAhVc2VOYW1lSW5zdGVhZE9mVGFnQXNJZAAACFNoYXBlUHJldmlvdXNseUNyZWF0ZWQAAQ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QACAAAAENpY2xvIDMAAlRleHRIb3Jpem9udGFsQWxpZ25tZW50AA4AAABtc29BbmNob3JOb25lAAJQYXJhZ3JhcGhBbGlnbm1lbnQADQAAAG1zb0FsaWduTGVmdAACVGV4dFZlcnRpY2FsQWxpZ25tZW50ABAAAABtc29BbmNob3JNaWRkbGUAA0ZvbnRTdHlsZQBAAQAAEEZvbnRCYWNrZ3JvdW5kAAAAAAAIRm9udEJvbGQAAANGb250Q29sb3IAVQAAABBBAP8AAAAQUgAQAAAAEEcAOAAAABBCAE8AAAABU2NBAAAAAAAAAPA/AVNjUgAAAADgNjl1PwFTY0cAAAAAgGc/pD8BU2NCAAAAAGAXBLQ/ABBGb250VGhlbWVDb2xvcgAAAE8AAAAFTgAAAFAAAADnDwAAAAAAAAAAAAAAAAFGb250VGludEFuZFNoYWRlAAAAAAAAAAAAEEZvbnRTY2hlbWVDb2xvcgAAAAAACEZvbnRJdGFsaWMAAAJGb250TmFtZQAGAAAAQXJpYWwAAUZvbnRTaXplAAAAAAAAACRACEZvbnRTdHJpa2V0aHJvdWdoAAAIRm9udFN1YnNjcmlwdAAACEZvbnRTdXBlcnNjcmlwdAAACEZvbnRVbmRlcmxpbmUAAAAIU2l6ZVRvVGV4dFdpZHRoAAAIU2l6ZVRvVGV4dEhlaWdodAAAA1RleHRNYXJnaW4APwAAAAFMZWZ0AAAAAAAAAAAAAVRvcAAAAAAAAAAAAAFSaWdodAAAAAAAAAAAAAFCb3R0b20AAAAAAAAAAAAAAkRpc3BsYXlUZXh0AAgAAABDaWNsbyAzAAFIZWlnaHQAAAAAYN8LJ0ABV2lkdGgAAAAAgIiIQUABVG9wAAAAAICxn1BAAUxlZnQAAAAAQElcN0AIRmxpcEhvcml6b250YWxseQAACEZsaXBIb3Jpem9udGFsbHlBcHBsaWVkAAAIRmxpcFZlcnRpY2FsbHkAAAhGbGlwVmVydGljYWxseUFwcGxpZWQAAAFSb3RhdGlvbgAAAAAAAAAAAAFaT3JkZXIAAAAAAAAAPk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JlY3RhbmdsZQB0BgAAAkF1dG9TaGFwZVR5cGUACgAAAFJlY3RhbmdsZQAFTWFuYWdlZElkABAAAAAE08wcPXvK9ES8ULI3IBl2HwhIYXNDaGFuZ2VzAAAIVXNlTmFtZUluc3RlYWRPZlRhZ0FzSWQAAAhTaGFwZVByZXZpb3VzbHlDcmVhdGVkAAADRmlsbENvbG9yAFUAAAAQQQAAAAAAEFIA/wAAABBHAP8AAAAQQgD/AAAAAVNjQQAAAAAAAAAAAAFTY1IAAAAAAAAA8D8BU2NHAAAAAAAAAPA/AVNjQgAAAAAAAADwP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A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EAtBThAAVdpZHRoAAAAAACD241AAVRvcAAAAACgkx9OQAFMZWZ0AAAAAABK4gpACEZsaXBIb3Jpem9udGFsbHkAAAhGbGlwSG9yaXpvbnRhbGx5QXBwbGllZAAACEZsaXBWZXJ0aWNhbGx5AAAIRmxpcFZlcnRpY2FsbHlBcHBsaWVkAAABUm90YXRpb24AAAAAAAAAAAABWk9yZGVyAAAAAAAAACZ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TZXBhcmF0b3JMaW5lAOEGAAADU3RhcnQAGwAAAAFYAM3MzMwWrwdAAVkAtxoVGRURVUAAA0VuZAAbAAAAAVgAMzMzfZj5jUABWQC3GhUZFRFVQAACU3RhcnRBcnJvd0hlYWQAEQAAAG1zb0Fycm93aGVhZE5vbmUAAkVuZEFycm93SGVhZAARAAAAbXNvQXJyb3doZWFkTm9uZQAFTWFuYWdlZElkABAAAAAEyXmlTQmzCU6qx1R49FRzuAhIYXNDaGFuZ2VzAAAIVXNlTmFtZUluc3RlYWRPZlRhZ0FzSWQAAAhTaGFwZVByZXZpb3VzbHlDcmVhdGVkAAA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AAAAAAAAVdpZHRoAAAAAGDp4Y1AAVRvcAAAAAAgFRFVQAFMZWZ0AAAAAMAWrwdACEZsaXBIb3Jpem9udGFsbHkAAAhGbGlwSG9yaXpvbnRhbGx5QXBwbGllZAAACEZsaXBWZXJ0aWNhbGx5AAAIRmxpcFZlcnRpY2FsbHlBcHBsaWVkAAABUm90YXRpb24AAAAAAAAAAAABWk9yZGVyAAAAAAAAAChAA0JvcmRlckNvbG9yAFUAAAAQQQD/AAAAEFIA4wAAABBHAOMAAAAQQgDjAAAAAVNjQQAAAAAAAADwPwFTY1IAAAAAwLGU6D8BU2NHAAAAAMCxlOg/AVNjQgAAAADAsZToPwAQQm9yZGVyVGhlbWVDb2xvcgAAAAAAAUJvcmRlclRpbnRBbmRTaGFkZQAAAAAAAABQAAAABU8AAABRAAAA5w8AAAAAAAAAAAAAAAAQQm9yZGVyU2NoZW1lQ29sb3IAAAAAAAFCb3JkZXJUaGlja25lc3MAAAAAAAAA8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AAAMxAPu1AAAQX2lkAAMAAAAESXRlbXMASGoAAAMwAI4cAAACX3R5cGUASwAAAGVtcG93ZXIuQ2hhcnRzLkRhdGEuR2FudHQuQ2hyb25vbG9neS5EYXRhLkJhclRhc2tEYXRhLCBlbXBvd2VyLkNoYXJ0cy5EYXRhAAJMYWJlbFBvc2l0aW9uAAcAAABDZW50ZXIACElzTGFiZWxJbnNpZGVCb3VuZHMAAQNTdHlsZQBbBAAAAURlZmF1bHRGb250U2l6ZQAAAAAAAAAkQAFGb250U2l6ZQAAAAAAAAAgQANGb250Q29sb3IAVQAAABBBAP8AAAAQUgAQAAAAEEcAOAAAABBCAE8AAAABU2NBAAAAAAAAAPA/AVNjUgAAAADgNjl1PwFTY0cAAAAAgGc/pD8BU2NCAAAAAGAXBLQ/ABBGb250VGhlbWVDb2xvcgAAAAAAEEZvbnRTY2hlbWVDb2xvcgAAAAAAAUZvbnRUaW50QW5kU2hhZGUAAAAAAAAAAAADUGF0dGVybkNvbG9yAFUAAAAQQQAAAAAAEFIAAAAAABBHAAAAAAAQQgAAAAAAAVNjQQAAAAAAAAAAAAFTY1IAAAAAAAAAAAABU2NHAAAAAAAAAAAAAVNjQgAAAAAAAAAAAAAQUGF0dGVyblRoZW1lQ29sb3IAAAAAAAFQYXR0ZXJuVGludEFuZFNoYWRlAAAAAAAAAAAAA0RhdGFTdHlsZUZvbnRDb2xvclZhbHVlAFUAAAAQQQAAAAAAEFIAAAAAABBHAAAAAAAQQgAAAAAAAVNjQQAAAAAAAAAAAAFTY1IAAAAAAAAAAAABU2NHAAAAAAAAAAAAAVNjQgAAAAAAAAAAAAAIRGF0YVN0eWxlRm9udENvbG9ySGFzVmFsdWUAAAFIZWlnaHQAAAAA4N0yKEACRGFzaFN0eWxlAA0AAABtc29MaW5lU29saWQACEhhc1dpc2hGaWxsQ29sb3IAAANGaWxsQ29sb3IAVQAAABBBAP8AAAAQUgCZAAAAEEcA0wAAABBCAPIAAAABU2NBAAAAAAAAAPA/AVNjUgAAAAAgEmPUPwFTY0cAAAAAoFDY5D8BU2NCAAAAAMDdaew/ABBGaWxsU2NoZW1lQ29sb3IAAAAAABBGaWxsVGhlbWVDb2xvcgAAAAAAAUZpbGxUaW50QW5kU2hhZGUAAAAAAAAAAAADQm9yZGVyQ29sb3IAVQAAABBBAAAAAAAQUgAAAAAAEEcAAAAAABBCAAAAAAABU2NBAAAAAAAAAAAAAVNjUgAAAAAAAAAAAAFTY0cAAAAAAAAAAAABU2NCAAAAAAAAAAAAABBCb3JkZXJUaGVtZUNvbG9yAAAAAAABQm9yZGVyVGludEFuZFNoYWRlAAAAAAAAAAAACElzRmlsbGVkAAECUGF0dGVybgAQAAAAbXNvUGF0dGVybk1peGVkAAJTaGFwZVR5cGUADgAAAG1zb1NoYXBlTWl4ZWQAA0xhYmVsT2Zmc2V0AEIAAAABWAAAAAAAAAAAAAFZAAAAAAAAAAAAAUxlbmd0aAAAAAAAAAAAAAFMZW5ndGhTcXVhcmVkAAAAAAAAAAAAAAhJc0ZvbnRCb2xkAAAISXNGb250SXRhbGljAAAISXNGb250VW5kZXJsaW5lZAAACExhYmVsSGFzQmFja2dyb3VuZAAAAlRleHRBbGlnbm1lbnQABQAAAExlZnQAAAhEaXNwbGF5TGFiZWwAAQNSZW5kZXJJbmZvAAcXAAADUmVjdGFuZ2xlRnJlZWZvcm0A/AgAAARWZXJ0aWNlcwCbAgAAAzAALAAAABBJbmRleDAAAAAAABBJbmRleDEAAAAAAAFWYWx1ZQAAAACg4MNkQAADMQAsAAAAEEluZGV4MAAAAAAAEEluZGV4MQABAAAAAVZhbHVlAAAAAOCMzlZAAAMyACwAAAAQSW5kZXgwAAEAAAAQSW5kZXgxAAAAAAABVmFsdWUAAAAAoODDZEAAAzMALAAAABBJbmRleDAAAQAAABBJbmRleDEAAQAAAAFWYWx1ZQAAAADAulFYQAADNAAsAAAAEEluZGV4MAACAAAAEEluZGV4MQAAAAAAAVZhbHVlAAAAAKDgw2RAAAM1ACwAAAAQSW5kZXgwAAIAAAAQSW5kZXgxAAEAAAABVmFsdWUAAAAAoOjUWUAAAzYALAAAABBJbmRleDAAAwAAABBJbmRleDEAAAAAAAFWYWx1ZQAAAAAAuPRxQAADNwAsAAAAEEluZGV4MAADAAAAEEluZGV4MQABAAAAAVZhbHVlAAAAAKDo1FlAAAM4ACwAAAAQSW5kZXgwAAQAAAAQSW5kZXgxAAAAAAABVmFsdWUAAAAAALj0cUAAAzkALAAAABBJbmRleDAABAAAABBJbmRleDEAAQAAAAFWYWx1ZQAAAADAulFYQAADMTAALAAAABBJbmRleDAABQAAABBJbmRleDEAAAAAAAFWYWx1ZQAAAAAAuPRxQAADMTEALAAAABBJbmRleDAABQAAABBJbmRleDEAAQAAAAFWYWx1ZQAAAADgjM5WQAADMTIALAAAABBJbmRleDAABgAAABBJbmRleDEAAAAAAAFWYWx1ZQAAAACg4MNkQAADMTMALAAAABBJbmRleDAABgAAABBJbmRleDEAAQAAAAFWYWx1ZQAAAADgjM5WQAAABU1hbmFnZWRJZAAQAAAABHt77c0z+qtDt70UkNvu4BYISGFzQ2hhbmdlcwAACFVzZU5hbWVJbnN0ZWFkT2ZUYWdBc0lkAAAIU2hhcGVQcmV2aW91c2x5Q3JlYXRlZAAAA0ZpbGxDb2xvcgBVAAAAEEEA/wAAABBSAJkAAAAQRwDTAAAAEEIA8gAAAAFTY0EAAAAAAAAA8D8BU2NSAAAAACASY9Q/AVNjRwAAAACgUNjkPwFTY0IAAAAAwN1p7D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Dg3TIoQAFXaWR0aAAAAACAHkteQAFUb3AAAAAA4IzOVkABTGVmdAAAAACg4MNkQAhGbGlwSG9yaXpvbnRhbGx5AAAIRmxpcEhvcml6b250YWxseUFwcGxpZWQAAAhGbGlwVmVydGljYWxseQAACEZsaXBWZXJ0aWNhbGx5QXBwbGllZAAAAVJvdGF0aW9uAAAAAAAAAAAAAVpPcmRlcgAAAAAAAIBRQANCb3JkZXJDb2xvcgBVAAAAEEEA/wAAABBSAP8AAAAQRwD/AAAAEEIA/wAAAAFTY0EAAAAAAAAA8D8BU2NSAAAAAAAAAPA/AVNjRwAAAAAAAADwPwFTY0IAAAAAAAAA8D8AEEJvcmRlclRoZW1lQ29sb3IAAAAAAAFCb3JkZXJUaW50QW5kU2hhZGUAAAAAAAAAAAAQQm9yZGVyU2NoZW1lQ29sb3IAAAAAAAFCb3JkZXJUaGlja25lc3MAAAAAAAAA8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QmFyU3R5bGVEYXRhACYAAAACQmFyU3R5bGVTaGFwZVR5cGUACgAAAFJlY3RhbmdsZQAAA0xhYmVsAMQGAAAFTWFuYWdlZElkABAAAAAEgGxoB3ruu06sboW5tpg8lwhIYXNDaGFuZ2VzAAAIVXNlTmFtZUluc3RlYWRPZlRhZ0FzSWQAUQAAAAVQAAAAUgAAAOcPAAAAAAAAAAAAAAAIU2hhcGVQcmV2aW91c2x5Q3JlYXRlZAABA0ZpbGxDb2xvcgBVAAAAEEEA/wAAABBSAJkAAAAQRwDTAAAAEEIA8gAAAAFTY0EAAAAAAAAA8D8BU2NSAAAAACASY9Q/AVNjRwAAAACgUNjkPwFTY0IAAAAAwN1p7D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AAXAAAARGVzYXJyb2xsbyBkZSBSZXBvcnRlcwACVGV4dEhvcml6b250YWxBbGlnbm1lbnQADgAAAG1zb0FuY2hvck5vbmUAAlBhcmFncmFwaEFsaWdubWVudAAPAAAAbXNvQWxpZ25DZW50ZXIAAlRleHRWZXJ0aWNhbEFsaWdubWVudAAQAAAAbXNvQW5jaG9yTWlkZGxlAANGb250U3R5bGUAQAEAABBGb250QmFja2dyb3VuZAAAAAAACEZvbnRCb2xkAAADRm9udENvbG9yAFUAAAAQQQD/AAAAEFIAEAAAABBHADgAAAAQQgBPAAAAAVNjQQAAAAAAAADwPwFTY1IAAAAA4DY5dT8BU2NHAAAAAIBnP6Q/AVNjQgAAAABgFwS0PwAQRm9udFRoZW1lQ29sb3IAAAAAAAFGb250VGludEFuZFNoYWRlAAAAAAAAAAAAEEZvbnRTY2hlbWVDb2xvcgAAAAAACEZvbnRJdGFsaWMAAAJGb250TmFtZQAGAAAAQXJpYWwAAUZvbnRTaXplAAAAAAAAACBACEZvbnRTdHJpa2V0aHJvdWdoAAAIRm9udFN1YnNjcmlwdAAACEZvbnRTdXBlcnNjcmlwdAAACEZvbnRVbmRlcmxpbmUAAAAIU2l6ZVRvVGV4dFdpZHRoAAAIU2l6ZVRvVGV4dEhlaWdodAAAA1RleHRNYXJnaW4APwAAAAFMZWZ0AAAAAAAAAAAAAVRvcAAAAAAAAAAAAAFSaWdodAAAAAAAAAAAAAFCb3R0b20AAAAAAAAAAAAAAkRpc3BsYXlUZXh0ABcAAABEZXNhcnJvbGxvIGRlIFJlcG9ydGVzAAFIZWlnaHQAAAAAABZcI0ABV2lkdGgAAAAAIBGxVEABVG9wAAAAAGD5G1dAAUxlZnQAAAAAAGQqZ0AIRmxpcEhvcml6b250YWxseQAACEZsaXBIb3Jpem9udGFsbHlBcHBsaWVkAAAIRmxpcFZlcnRpY2FsbHkAAAhGbGlwVmVydGljYWxseUFwcGxpZWQAAAFSb3RhdGlvbgAAAAAAAAAAAAFaT3JkZXIAAAAAAAAAUk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Nvbm5lY3RvckxpbmVEYXRhAOEGAAADU3RhcnQAGwAAAAFYAAAAAKDgw2RAAVkAAAAA4IzOVkAAA0VuZAAbAAAAAVgAAAAAoODDZEABWQAAAADgjM5WQAACU3RhcnRBcnJvd0hlYWQAEQAAAG1zb0Fycm93aGVhZE5vbmUAAkVuZEFycm93SGVhZAARAAAAbXNvQXJyb3doZWFkTm9uZQAFTWFuYWdlZElkABAAAAAEPOdzCVYEw0+qfV9DK40BaAhIYXNDaGFuZ2VzAAAIVXNlTmFtZUluc3RlYWRPZlRhZ0FzSWQAAAhTaGFwZVByZXZpb3VzbHlDcmVhdGVkAAA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A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AAAAAAAAVdpZHRoAAAAAAAAAAAAAVRvcAAAAADgjM5WQAFMZWZ0AAAAAKDgw2RACEZsaXBIb3Jpem9udGFsbHkAAAhGbGlwSG9yaXpvbnRhbGx5QXBwbGllZAAACEZsaXBWZXJ0aWNhbGx5AAAIRmxpcFZlcnRpY2FsbHlBcHBsaWVkAAABUm90YXRpb24AAAAAAAAAAAABWk9yZGVyAAAAAAAAwFFAA0JvcmRlckNvbG9yAFUAAAAQQQD/AAAAEFIAmQAAABBHANMAAAAQQgDyAAAAAVNjQQAAAAAAAADwPwFTY1IAAAAAIBJj1D8BU2NHAAAAAKBQ2OQ/AVNjQgAAAADA3WnsPw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AJRW5kVGltZQAAxyKFjwEAABBJbmRleAABAAAAAkRlc2NyaXB0aW9uABcAAABEZXNhcnJvbGxvIGRlIFJlcG9ydGVzAAJOYW1lAAUAAABUYXNrAAhJc0xlYWRlckxpbmVJbkF1dG9Nb2RlAAEJU3RhcnRUaW1lAACDsA6PAQAAAAMxACAaAAACX3R5cGUATQAAAGVtcG93ZXIuQ2hhcnRzLkRhdGEuR2FudHQuQ2hyb25vbG9neS5EYXRhLk1pbGVzdG9uZURhdGEsIGVtcG93ZXIuQ2hhcnRzLkRhdGEAA1N0eWxlAHYEAAABRGVmYXVsdEZvbnRTaXplAAAAAAAAACRAAUZvbnRTaXplAAAAAAAAACBAA0ZvbnRDb2xvcgBVAAAAEEEA/wAAABBSABAAAAAQRwA4AAAAEEIATwAAAAFTY0EAAAAAAAAA8D8BU2NSAAAAAOA2OXU/AVNjRwAAAACAZz+kPwFTY0IAAAAAYBcEtD8AEEZvbnRUaGVtZUNvbG9yAAAAAAAQRm9udFNjaGVtZUNvbG9yAAAAAAABRm9udFRpbnRBbmRTaGFkZQAAAAAAAAAAAANQYXR0ZXJuQ29sb3IAVQAAABBBAAAAAAAQUgAAAAAAEEcAAAAAABBCAAAAAAABU2NBAAAAAAAAAAAAAVNjUgAAAAAAAAAAAAFTY0cAAAAAAAAAAAABU2NCAAAAAAAAAAAAABBQYXR0ZXJuVGhlbWVDb2xvcgAAAAAAAVBhdHRlcm5UaW50QW5kU2hhZGUAAAAAAAAAAAADRGF0YVN0eWxlRm9udENvbG9yVmFsdWUAVQAAABBBAAAAAAAQUgAAAFIAAAAFUQAAAFMAAADnDwAAAAAAAAAAAAAAABBHAAAAAAAQQgAAAAAAAVNjQQAAAAAAAAAAAAFTY1IAAAAAAAAAAAABU2NHAAAAAAAAAAAAAVNjQgAAAAAAAAAAAAAIRGF0YVN0eWxlRm9udENvbG9ySGFzVmFsdWUAAAFIZWlnaHQAAAAA4N0yKEACRGFzaFN0eWxlAA0AAABtc29MaW5lU29saWQACEhhc1dpc2hGaWxsQ29sb3IAAANGaWxsQ29sb3IAVQAAABBBAP8AAAAQUgAAAAAAEEcAkQAAABBCAN8AAAABU2NBAAAAAAAAAPA/AVNjUgAAAAAAAAAAAAFTY0cAAAAAABwf0j8BU2NCAAAAAGD2nOc/ABBGaWxsU2NoZW1lQ29sb3IAAAAAABBGaWxsVGhlbWVDb2xvcgAAAAAAAUZpbGxUaW50QW5kU2hhZGUAAAAAAAAAAAADQm9yZGVyQ29sb3IAVQAAABBBAP8AAAAQUgD/AAAAEEcA/wAAABBCAP8AAAABU2NBAAAAAAAAAPA/AVNjUgAAAAAAAADwPwFTY0cAAAAAAAAA8D8BU2NCAAAAAAAAAPA/ABBCb3JkZXJUaGVtZUNvbG9yAAAAAAABQm9yZGVyVGludEFuZFNoYWRlAAAAAAAAAAAACElzRmlsbGVkAAECUGF0dGVybgAQAAAAbXNvUGF0dGVybk1peGVkAAJTaGFwZVR5cGUAEAAAAG1zb1NoYXBlRGlhbW9uZAADTGFiZWxPZmZzZXQAQgAAAAFYAAAAAAAAAAAAAVkAAAAA8G4ZIkABTGVuZ3RoAAAAAPBuGSJAAUxlbmd0aFNxdWFyZWQAEDKvCWJ5VEAAAUJvcmRlclRoaWNrbmVzcwAAAAAAAADwPwhJc0ZvbnRCb2xkAAAISXNGb250SXRhbGljAAAISXNGb250VW5kZXJsaW5lZAAACExhYmVsSGFzQmFja2dyb3VuZAAAAlRleHRBbGlnbm1lbnQABQAAAExlZnQAAAhEaXNwbGF5TGFiZWwAAQhMYWJlbEhhc0JhY2tncm91bmQAAANSZW5kZXJJbmZvAGEUAAADU3ltYm9sAHIGAAACQXV0b1NoYXBlVHlwZQAIAAAARGlhbW9uZAAFTWFuYWdlZElkABAAAAAEgP+mgnYqjE2vdZVZaxPRtghIYXNDaGFuZ2VzAAAIVXNlTmFtZUluc3RlYWRPZlRhZ0FzSWQAAAhTaGFwZVByZXZpb3VzbHlDcmVhdGVkAAADRmlsbENvbG9yAFUAAAAQQQD/AAAAEFIAAAAAABBHAJEAAAAQQgDfAAAAAVNjQQAAAAAAAADwPwFTY1IAAAAAAAAAAAABU2NHAAAAAAAcH9I/AVNjQgAAAABg9pznP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ODdMihAAVdpZHRoAAAAAODdMihAAVRvcAAAAADgjM5WQAFMZWZ0AAAAAABrRWVACEZsaXBIb3Jpem9udGFsbHkAAAhGbGlwSG9yaXpvbnRhbGx5QXBwbGllZAAACEZsaXBWZXJ0aWNhbGx5AAAIRmxpcFZlcnRpY2FsbHlBcHBsaWVkAAABUm90YXRpb24AAAAAAAAAAAABWk9yZGVyAAAAAAAAgFRAA0JvcmRlckNvbG9yAFUAAAAQQQD/AAAAEFIA/wAAABBHAP8AAAAQQgD/AAAAAVNjQQAAAAAAAADwPwFTY1IAAAAAAAAA8D8BU2NHAAAAAAAAAPA/AVNjQgAAAAAAAADwPwAQQm9yZGVyVGhlbWVDb2xvcgAAAAAAAUJvcmRlclRpbnRBbmRTaGFkZQAAAAAAAAAAABBCb3JkZXJTY2hlbWVDb2xvcgAAAAAAAUJvcmRlclRoaWNrbmVzcwAAAAAAAADw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MYWJlbADrBgAABU1hbmFnZWRJZAAQAAAABJmZfVc1oPZAr3FSlBnj7NEISGFzQ2hhbmdlcwAACFVzZU5hbWVJbnN0ZWFkT2ZUYWdBc0lkAAAIU2hhcGVQcmV2aW91c2x5Q3JlYXRlZAABA0ZpbGxDb2xvcgBVAAAAEEEA/wAAABBSAAAAAAAQRwCRAAAAEEIA3wAAAAFTY0EAAAAAAAAA8D8BU2NSAAAAAAAAAAAAAVNjRwAAAAAAHB/SPwFTY0IAAAAAYPac5z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AAxAAAANOKAiy8yNS8yMDLigIs0IFJldmlzacOzbiBlc3RydWN0dXJhIGRlIHJlcG9ydGVzAAJUZXh0SG9yaXpvbnRhbEFsaWdubWVudAAOAAAAbXNvQW5jaG9yTm9uZQACUGFyYWdyYXBoQWxpZ25tZW50AAIAAAAwAAJUZXh0VmVydGljYWxBbGlnbm1lbnQAEAAAAG1zb0FuY2hvck1pZGRsZQADRm9udFN0eWxlAEABAAAQRm9udEJhY2tncm91bmQAAAAAAAhGb250Qm9sZAAAA0ZvbnRDb2xvcgBVAAAAEEEA/wAAABBSABAAAAAQRwA4AAAAEEIATwAAAAFTY0EAAAAAAAAA8D8BU2NSAAAAAOA2OXU/AVNjRwAAAACAZz+kPwFTY0IAAAAAYBcEtD8AEEZvbnRUaGVtZUNvbG9yAAAAAAABRm9udFRpbnRBbmRTaGFkZQAAAAAAAAAAABBGb250U2NoZW1lQ29sb3IAAAAAAAhGb250SXRhbGljAAACRm9udE5hbWUABgAAAEFyaWFsAAFGb250U2l6ZQAAAAAAAAAgQAhGb250U3RyaWtldGhyb3VnaAAACEZvbnRTdWJzY3JpcHQAAAhGb250U3VwZXJzY3JpcHQAAAhGb250VW5kZXJsaW5lAAAACFNpemVUb1RleHRXaWR0aAAACFNpemVUb1RleHRIZWlnaHQAAANUZXh0TWFyZ2luAD8AAAABTGVmdAAAAAAAAAAAAAFUb3AAAAAAAAAAAAABUmlnaHQAAAAAAAAAAAABQm90dG9tAAAAAAAAAAAAAAJEaXNwbGF5VGV4dAAxAAAANOKAiy8yNS8yMDLigIs0IFJldmlzacOzbiBlc3RydWN0dXJhIGRlIHJlcG9ydGVzAAFIZWlnaHQAAAAA4LFLJUABV2lkdGgAAAAAwJB8ZEABVG9wAAAAAKDolFpAAUxlZnQAAAAA4AEHZkAIRmxpcEhvcml6b250YWxseQAACEZsaXBIb3Jpem9udGFsbHlBcHBsaWVkAAAIRmxpcFZlcnRpY2FsbHkAAAhGbGlwVmVydGljYWxseUFwcGxpZWQAAAFSb3RhdGlvbgAAAAAAAAAAAAFaT3JkZXIAAAAAAADAVE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BTAAAABVIAAABUAAAA5w8AAAAAAAAAAAAAAAAAAUxlZnRJbmRlbnQAAAAAAAAAAAAITGluZVJ1bGVBZnRlcgAACExpbmVSdWxlQmVmb3JlAAAITGluZVJ1bGVXaXRoaW4AAAFSaWdodEluZGVudAAAAAAAAAAAAAFTcGFjZUFmdGVyAAAAAAAAAAAAAVNwYWNlQmVmb3JlAAAAAAAAAAAAAVNwYWNlV2l0aGluAAAAAAAAAAAAAANDb25uZWN0b3JMaW5lAOEGAAADU3RhcnQAGwAAAAFYAAAAAABrRWVAAVkAAAAA4IzOVkAAA0VuZAAbAAAAAVgAAAAAAGtFZUABWQAAAADgjM5WQAACU3RhcnRBcnJvd0hlYWQAEQAAAG1zb0Fycm93aGVhZE5vbmUAAkVuZEFycm93SGVhZAARAAAAbXNvQXJyb3doZWFkTm9uZQAFTWFuYWdlZElkABAAAAAEC+/u49RzUkuqGZFpE6pDmQhIYXNDaGFuZ2VzAAAIVXNlTmFtZUluc3RlYWRPZlRhZ0FzSWQAAAhTaGFwZVByZXZpb3VzbHlDcmVhdGVkAAA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A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AAAAAAAAVdpZHRoAAAAAAAAAAAAAVRvcAAAAADgjM5WQAFMZWZ0AAAAAABrRWVACEZsaXBIb3Jpem9udGFsbHkAAAhGbGlwSG9yaXpvbnRhbGx5QXBwbGllZAAACEZsaXBWZXJ0aWNhbGx5AAAIRmxpcFZlcnRpY2FsbHlBcHBsaWVkAAABUm90YXRpb24AAAAAAAAAAAABWk9yZGVyAAAAAAAAQFRAA0JvcmRlckNvbG9yAFUAAAAQQQD/AAAAEFIAAAAAABBHAJEAAAAQQgDfAAAAAVNjQQAAAAAAAADwPwFTY1IAAAAAAAAAAAABU2NHAAAAAAAcH9I/AVNjQgAAAABg9pznPwAQQm9yZGVyVGhlbWVDb2xvcgAAAAAAAUJvcmRlclRpbnRBbmRTaGFkZQAAAAAAAAAAABBCb3JkZXJTY2hlbWVDb2xvcgAAAAAAAUJvcmRlclRoaWNrbmVzcwAAAAAAAADg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ACTWlsZXN0b25lTGFiZWxQb3NpdGlvbgAMAAAAQm90dG9tUmlnaHQAEEluZGV4AAIAAAACRGVzY3JpcHRpb24AMQAAADTigIsvMjUvMjAy4oCLNCBSZXZpc2nDs24gZXN0cnVjdHVyYSBkZSByZXBvcnRlcwACTmFtZQAKAAAATWlsZXN0b25lAAhJc0xlYWRlckxpbmVJbkF1dG9Nb2RlAAEJU3RhcnRUaW1lAADf1hOPAQAAAAMyANIZAAACX3R5cGUATQAAAGVtcG93ZXIuQ2hhcnRzLkRhdGEuR2FudHQuQ2hyb25vbG9neS5EYXRhLk1pbGVzdG9uZURhdGEsIGVtcG93ZXIuQ2hhcnRzLkRhdGEAA1N0eWxlAHYEAAABRGVmYXVsdEZvbnRTaXplAAAAAAAAACRAAUZvbnRTaXplAAAAAAAAACBAA0ZvbnRDb2xvcgBVAAAAEEEA/wAAABBSABAAAAAQRwA4AAAAEEIATwAAAAFTY0EAAAAAAAAA8D8BU2NSAAAAAOA2OXU/AVNjRwAAAACAZz+kPwFTY0IAAAAAYBcEtD8AEEZvbnRUaGVtZUNvbG9yAAAAAAAQRm9udFNjaGVtZUNvbG9yAAAAAAABRm9udFRpbnRBbmRTaGFkZQAAAAAAAAAAAANQYXR0ZXJuQ29sb3IAVQAAABBBAAAAAAAQUgAAAAAAEEcAAAAAABBCAAAAAAABU2NBAAAAAAAAAAAAAVNjUgAAAAAAAAAAAAFTY0cAAAAAAAAAAAABU2NCAAAAAAAAAAAAABBQYXR0ZXJuVGhlbWVDb2xvcgAAAAAAAVBhdHRlcm5UaW50QW5kU2hhZGUAAAAAAAAAAAADRGF0YVN0eWxlRm9udENvbG9yVmFsdWUAVQAAABBBAAAAAAAQUgAAAAAAEEcAAAAAABBCAAAAAAABU2NBAAAAAAAAAAAAAVNjUgAAAAAAAAAAAAFTY0cAAAAAAAAAAAABU2NCAAAAAAAAAAAAAAhEYXRhU3R5bGVGb250Q29sb3JIYXNWYWx1ZQAAAUhlaWdodAAAAADg3TIoQAJEYXNoU3R5bGUADQAAAG1zb0xpbmVTb2xpZAAISGFzV2lzaEZpbGxDb2xvcgAAA0ZpbGxDb2xvcgBVAAAAEEEA/wAAABBSAAAAAAAQRwCRAAAAEEIA3wAAAAFTY0EAAAAAAAAA8D8BU2NSAAAAAAAAAAAAAVNjRwAAAAAAHB/SPwFTY0IAAAAAYPac5z8AEEZpbGxTY2hlbWVDb2xvcgAAAAAAEEZpbGxUaGVtZUNvbG9yAAAAAAABRmlsbFRpbnRBbmRTaGFkZQAAAAAAAAAAAANCb3JkZXJDb2xvcgBVAAAAEEEA/wAAABBSAP8AAAAQRwD/AAAAEEIA/wAAAAFTY0EAAAAAAAAA8D8BU2NSAAAAAAAAAPA/AVNjRwAAAAAAAADwPwFTY0IAAAAAAAAA8D8AEEJvcmRlclRoZW1lQ29sb3IAAAAAAAFCb3JkZXJUaW50QW5kU2hhZGUAAAAAAAAAAAAISXNGaWxsZWQAAQJQYXR0ZXJuABAAAABtc29QYXR0ZXJuTWl4ZWQAAlNoYXBlVHlwZQAQAAAAbXNvU2hhcGVEaWFtb25kAANMYWJlbE9mZnNldABCAAAAAVgAAAAAAAAAAAABWQAUxLZjkLIzwAFMZW5ndGgAFMS2Y5CyM0ABTGVuZ3RoU3F1YXJlZACBuZO+3z94QAABQm9yZGVyVGhpY2tuZXNzAAAAAAAAAPA/CElzRm9udEJvbGQAAAhJc0ZvbnRJdGFsaWMAAAhJc0ZvbnRVbmRlcmxpbmVkAAAITGFiZWxIYXNCYWNrZ3JvdW5kAAACVGV4dEFsaWdubWVudAAFAAAATGVmdAAACERpc3BsYXlMYWJlbAABCExhYmVsSGFzQmFja2dyb3VuZAAAA1JlbmRlckluZm8ALxQAAANTeW1ib2wAcgYAAAJBdXRvU2hhcGVUeXBlAAgAAABEaWFtb25kAAVNYW5hZ2VkSWQAEAAAAAQuyOpexnuITLxQUeJMoJsrCEhhc0NoYW5nZXMAAAhVc2VOYW1lSW5zdGVhZE9mVGFnQXNJZAAACFNoYXBlUHJldmlvdXNseUNyZWF0ZWQAAANGaWxsQ29sb3IAVQAAABBBAP8AAAAQUgAAAAAAEEcAkQAAABBCAN8AAAABU2NBAAAAAAAAAPA/AVNjUgAAAAAAAAAAAAFTY0cAAAAAABwf0j8BU2NCAAAAAGD2nO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BAkZpbGxQYXR0ZXJuABAAAABtc29QYXR0ZXJuTWl4ZWQAAlRleHRIb3Jpem9udGFsQWxpZ25tZW50AA4AAABtc29BbmNob3JOb25lAAJQYXJhZ3JhcGhBbGlnbm1lbnQAAgAAADAAAlRleHRWZXJ0aWNhbEFsaWdubWVudAANAAAAbXNvQW5jaG9yVG9wAANGb250U3R5bGUALAEAABBGb250QmFja2dyb3VuZAAAAAAACEZvbnRCb2xkVAAAAAVTAAAAVQAAAOcPAAAAAAAAAAAAA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ODdMihAAVdpZHRoAAAAAODdMihAAVRvcAAAAADgjM5WQAFMZWZ0AAAAAKD75mVACEZsaXBIb3Jpem9udGFsbHkAAAhGbGlwSG9yaXpvbnRhbGx5QXBwbGllZAAACEZsaXBWZXJ0aWNhbGx5AAAIRmxpcFZlcnRpY2FsbHlBcHBsaWVkAAABUm90YXRpb24AAAAAAAAAAAABWk9yZGVyAAAAAAAAgFRAA0JvcmRlckNvbG9yAFUAAAAQQQD/AAAAEFIA/wAAABBHAP8AAAAQQgD/AAAAAVNjQQAAAAAAAADwPwFTY1IAAAAAAAAA8D8BU2NHAAAAAAAAAPA/AVNjQgAAAAAAAADwPwAQQm9yZGVyVGhlbWVDb2xvcgAAAAAAAUJvcmRlclRpbnRBbmRTaGFkZQAAAAAAAAAAABBCb3JkZXJTY2hlbWVDb2xvcgAAAAAAAUJvcmRlclRoaWNrbmVzcwAAAAAAAADw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MYWJlbAC5BgAABU1hbmFnZWRJZAAQAAAABEaE5zdkNdhBg4GPFGV7J/0ISGFzQ2hhbmdlcwAACFVzZU5hbWVJbnN0ZWFkT2ZUYWdBc0lkAAAIU2hhcGVQcmV2aW91c2x5Q3JlYXRlZAABA0ZpbGxDb2xvcgBVAAAAEEEA/wAAABBSAAAAAAAQRwCRAAAAEEIA3wAAAAFTY0EAAAAAAAAA8D8BU2NSAAAAAAAAAAAAAVNjRwAAAAAAHB/SPwFTY0IAAAAAYPac5z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AAYAAAARGVmaW5pY2nDs24gZGUgUmVwb3J0ZXMAAlRleHRIb3Jpem9udGFsQWxpZ25tZW50AA4AAABtc29BbmNob3JOb25lAAJQYXJhZ3JhcGhBbGlnbm1lbnQAAgAAADAAAlRleHRWZXJ0aWNhbEFsaWdubWVudAAQAAAAbXNvQW5jaG9yTWlkZGxlAANGb250U3R5bGUAQAEAABBGb250QmFja2dyb3VuZAAAAAAACEZvbnRCb2xkAAADRm9udENvbG9yAFUAAAAQQQD/AAAAEFIAEAAAABBHADgAAAAQQgBPAAAAAVNjQQAAAAAAAADwPwFTY1IAAAAA4DY5dT8BU2NHAAAAAIBnP6Q/AVNjQgAAAABgFwS0PwAQRm9udFRoZW1lQ29sb3IAAAAAAAFGb250VGludEFuZFNoYWRlAAAAAAAAAAAAEEZvbnRTY2hlbWVDb2xvcgAAAAAACEZvbnRJdGFsaWMAAAJGb250TmFtZQAGAAAAQXJpYWwAAUZvbnRTaXplAAAAAAAAACBACEZvbnRTdHJpa2V0aHJvdWdoAAAIRm9udFN1YnNjcmlwdAAACEZvbnRTdXBlcnNjcmlwdAAACEZvbnRVbmRlcmxpbmUAAAAIU2l6ZVRvVGV4dFdpZHRoAAAIU2l6ZVRvVGV4dEhlaWdodAAAA1RleHRNYXJnaW4APwAAAAFMZWZ0AAAAAAAAAAAAAVRvcAAAAAAAAAAAAAFSaWdodAAAAAAAAAAAAAFCb3R0b20AAAAAAAAAAAAAAkRpc3BsYXlUZXh0ABgAAABEZWZpbmljacOzbiBkZSBSZXBvcnRlcwABSGVpZ2h0AAAAAOCxSyVAAVdpZHRoAAAAAAAtQlZAAVRvcAAAAACgFmVTQAFMZWZ0AAAAAICSqGZACEZsaXBIb3Jpem9udGFsbHkAAAhGbGlwSG9yaXpvbnRhbGx5QXBwbGllZAAACEZsaXBWZXJ0aWNhbGx5AAAIRmxpcFZlcnRpY2FsbHlBcHBsaWVkAAABUm90YXRpb24AAAAAAAAAAAABWk9yZGVyAAAAAAAAwFR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Db25uZWN0b3JMaW5lAOEGAAADU3RhcnQAGwAAAAFYAAAAAKD75mVAAVkAAAAA4IzOVkAAA0VuZAAbAAAAAVgAAAAAoPvmZUABWQAAAADgjM5WQAACU3RhcnRBcnJvd0hlYWQAEQAAAG1zb0Fycm93aGVhZE5vbmUAAkVuZEFycm93SGVhZAARAAAAbXNvQXJyb3doZWFkTm9uZQAFTWFuYWdlZElkABAAAAAE7482d6e//EWQCQUuPLRY1QhIYXNDaGFuZ2VzAAAIVXNlTmFtZUluc3RlYWRPZlRhZ0FzSWQAAAhTaGFwZVByZXZpb3VzbHlDcmVhdGVkAAA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A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AAAAAAAAVdpZHRoAAAAAAAAAAAAAVRvcAAAAADgjM5WQAFMZWZ0AAAAAKD75mVACEZsaXBIb3Jpem9udGFsbHkAAAhGbGlwSG9yaXpvbnRhbGx5QXBwbGllZAAACEZsaXBWZXJ0aWNhbGx5AAAIRmxpcFZlcnRpY2FsbHlBcHBsaWVkAAABUm90YXRpb24AAAAAAAAAAAABWk9yZGVyAAAAAAAAQFRAA0JvcmRlckNvbFUAAAAFVAAAAFYAAADnDwAAAAAAAAAAAABvcgBVAAAAEEEA/wAAABBSAAAAAAAQRwCRAAAAEEIA3wAAAAFTY0EAAAAAAAAA8D8BU2NSAAAAAAAAAAAAAVNjRwAAAAAAHB/SPwFTY0IAAAAAYPac5z8AEEJvcmRlclRoZW1lQ29sb3IAAAAAAAFCb3JkZXJUaW50QW5kU2hhZGUAAAAAAAAAAAAQQm9yZGVyU2NoZW1lQ29sb3IAAAAAAAFCb3JkZXJUaGlja25lc3MAAAAAAAAA4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AAk1pbGVzdG9uZUxhYmVsUG9zaXRpb24ACQAAAFRvcFJpZ2h0ABBJbmRleAADAAAAAkRlc2NyaXB0aW9uABgAAABEZWZpbmljacOzbiBkZSBSZXBvcnRlcwACTmFtZQAKAAAATWlsZXN0b25lAAhJc0xlYWRlckxpbmVJbkF1dG9Nb2RlAAEJU3RhcnRUaW1lAAA7/RiPAQAAAAMzALcZAAACX3R5cGUATQAAAGVtcG93ZXIuQ2hhcnRzLkRhdGEuR2FudHQuQ2hyb25vbG9neS5EYXRhLk1pbGVzdG9uZURhdGEsIGVtcG93ZXIuQ2hhcnRzLkRhdGEAA1N0eWxlAHYEAAABRGVmYXVsdEZvbnRTaXplAAAAAAAAACRAAUZvbnRTaXplAAAAAAAAACBAA0ZvbnRDb2xvcgBVAAAAEEEA/wAAABBSABAAAAAQRwA4AAAAEEIATwAAAAFTY0EAAAAAAAAA8D8BU2NSAAAAAOA2OXU/AVNjRwAAAACAZz+kPwFTY0IAAAAAYBcEtD8AEEZvbnRUaGVtZUNvbG9yAAAAAAAQRm9udFNjaGVtZUNvbG9yAAAAAAABRm9udFRpbnRBbmRTaGFkZQAAAAAAAAAAAANQYXR0ZXJuQ29sb3IAVQAAABBBAAAAAAAQUgAAAAAAEEcAAAAAABBCAAAAAAABU2NBAAAAAAAAAAAAAVNjUgAAAAAAAAAAAAFTY0cAAAAAAAAAAAABU2NCAAAAAAAAAAAAABBQYXR0ZXJuVGhlbWVDb2xvcgAAAAAAAVBhdHRlcm5UaW50QW5kU2hhZGUAAAAAAAAAAAADRGF0YVN0eWxlRm9udENvbG9yVmFsdWUAVQAAABBBAAAAAAAQUgAAAAAAEEcAAAAAABBCAAAAAAABU2NBAAAAAAAAAAAAAVNjUgAAAAAAAAAAAAFTY0cAAAAAAAAAAAABU2NCAAAAAAAAAAAAAAhEYXRhU3R5bGVGb250Q29sb3JIYXNWYWx1ZQAAAUhlaWdodAAAAADg3TIoQAJEYXNoU3R5bGUADQAAAG1zb0xpbmVTb2xpZAAISGFzV2lzaEZpbGxDb2xvcgAAA0ZpbGxDb2xvcgBVAAAAEEEA/wAAABBSAAAAAAAQRwCRAAAAEEIA3wAAAAFTY0EAAAAAAAAA8D8BU2NSAAAAAAAAAAAAAVNjRwAAAAAAHB/SPwFTY0IAAAAAYPac5z8AEEZpbGxTY2hlbWVDb2xvcgAAAAAAEEZpbGxUaGVtZUNvbG9yAAAAAAABRmlsbFRpbnRBbmRTaGFkZQAAAAAAAAAAAANCb3JkZXJDb2xvcgBVAAAAEEEA/wAAABBSAP8AAAAQRwD/AAAAEEIA/wAAAAFTY0EAAAAAAAAA8D8BU2NSAAAAAAAAAPA/AVNjRwAAAAAAAADwPwFTY0IAAAAAAAAA8D8AEEJvcmRlclRoZW1lQ29sb3IAAAAAAAFCb3JkZXJUaW50QW5kU2hhZGUAAAAAAAAAAAAISXNGaWxsZWQAAQJQYXR0ZXJuABAAAABtc29QYXR0ZXJuTWl4ZWQAAlNoYXBlVHlwZQAQAAAAbXNvU2hhcGVEaWFtb25kAANMYWJlbE9mZnNldABCAAAAAVgAAAAAAAAAAAABWQAUxLZjkLIzwAFMZW5ndGgAFMS2Y5CyM0ABTGVuZ3RoU3F1YXJlZACBuZO+3z94QAABQm9yZGVyVGhpY2tuZXNzAAAAAAAAAPA/CElzRm9udEJvbGQAAAhJc0ZvbnRJdGFsaWMAAAhJc0ZvbnRVbmRlcmxpbmVkAAAITGFiZWxIYXNCYWNrZ3JvdW5kAAACVGV4dEFsaWdubWVudAAFAAAATGVmdAAACERpc3BsYXlMYWJlbAABCExhYmVsSGFzQmFja2dyb3VuZAAAA1JlbmRlckluZm8AHRQAAANTeW1ib2wAcgYAAAJBdXRvU2hhcGVUeXBlAAgAAABEaWFtb25kAAVNYW5hZ2VkSWQAEAAAAAS7KoG20bQ9TIRzp5TQzk0VCEhhc0NoYW5nZXMAAAhVc2VOYW1lSW5zdGVhZE9mVGFnQXNJZAAACFNoYXBlUHJldmlvdXNseUNyZWF0ZWQAAANGaWxsQ29sb3IAVQAAABBBAP8AAAAQUgAAAAAAEEcAkQAAABBCAN8AAAABU2NBAAAAAAAAAPA/AVNjUgAAAAAAAAAAAAFTY0cAAAAAABwf0j8BU2NCAAAAAGD2nO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4N0yKEABV2lkdGgAAAAA4N0yKEABVG9wAAAAAOCMzlZAAUxlZnQAAAAAgOyTcUAIRmxpcEhvcml6b250YWxseQAACEZsaXBIb3Jpem9udGFsbHlBcHBsaWVkAAAIRmxpcFZlcnRpY2FsbHkAAAhGbGlwVmVydGljYWxseUFwcGxpZWQAAAFSb3RhdGlvbgAAAAAAAAAAAAFaT3JkZXIAAAAAAACAVEADQm9yZGVyQ29sb3IAVQAAABBBAP8AAAAQUgD/AAAAEEcA/wAAABBCAP8AAAABU2NBAAAAAAAAAPA/AVNjUgAAAAAAAADwPwFTY0cAAAAAAAAA8D8BU2NCAAAAAAAAAPA/ABBCb3JkZXJUaGVtZUNvbG9yAAAAAAABQm9yZGVyVGludEFuZFNoYWRlAAAAAAAAAAAAEEJvcmRlclNjaGVtZUNvbG9yAAAAAAABQm9yZGVyVGhpY2tuZXNzAAAAAAAAAPA/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xhYmVsAKcGAAAFTWFuYWdlZElkABAAAAAEF/pf68vw10WwySRfY6dd5whIYXNDaGFuZ2VzAAAIVXNlTmFtZUluc3RlYWRPZlRhZ0FzSWQAAAhTaGFwZVByZXZpb3VzbHlDcmVhdGVkAAEDRmlsbENvbG9yAFUAAAAQQQD/AAAAEFIAAAAAABBHAJEAAAAQQgDfAAAAAVNjQQAAAAAAAADwPwFTY1IAAAAAAAAAAAABU2NHAAAAAAAcH9I/AVNjQgAAAABg9pznP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AA8AAABGaW4gZGVzYXJyb2xsbwACVGV4dEhvcml6b250YWxBbGlnbm1lbnQADgBWAAAABVUAAABXAAAA5w8AAAAAAAAAAAAAAABtc29BbmNob3JOb25lAAJQYXJhZ3JhcGhBbGlnbm1lbnQAAgAAADAAAlRleHRWZXJ0aWNhbEFsaWdubWVudAAQAAAAbXNvQW5jaG9yTWlkZGxlAANGb250U3R5bGUAQAEAABBGb250QmFja2dyb3VuZAAAAAAACEZvbnRCb2xkAAADRm9udENvbG9yAFUAAAAQQQD/AAAAEFIAEAAAABBHADgAAAAQQgBPAAAAAVNjQQAAAAAAAADwPwFTY1IAAAAA4DY5dT8BU2NHAAAAAIBnP6Q/AVNjQgAAAABgFwS0PwAQRm9udFRoZW1lQ29sb3IAAAAAAAFGb250VGludEFuZFNoYWRlAAAAAAAAAAAAEEZvbnRTY2hlbWVDb2xvcgAAAAAACEZvbnRJdGFsaWMAAAJGb250TmFtZQAGAAAAQXJpYWwAAUZvbnRTaXplAAAAAAAAACBACEZvbnRTdHJpa2V0aHJvdWdoAAAIRm9udFN1YnNjcmlwdAAACEZvbnRTdXBlcnNjcmlwdAAACEZvbnRVbmRlcmxpbmUAAAAIU2l6ZVRvVGV4dFdpZHRoAAAIU2l6ZVRvVGV4dEhlaWdodAAAA1RleHRNYXJnaW4APwAAAAFMZWZ0AAAAAAAAAAAAAVRvcAAAAAAAAAAAAAFSaWdodAAAAAAAAAAAAAFCb3R0b20AAAAAAAAAAAAAAkRpc3BsYXlUZXh0AA8AAABGaW4gZGVzYXJyb2xsbwABSGVpZ2h0AAAAAOCxSyVAAVdpZHRoAAAAAEAbqEpAAVRvcAAAAACgFmVTQAFMZWZ0AAAAAAC49HFACEZsaXBIb3Jpem9udGFsbHkAAAhGbGlwSG9yaXpvbnRhbGx5QXBwbGllZAAACEZsaXBWZXJ0aWNhbGx5AAAIRmxpcFZlcnRpY2FsbHlBcHBsaWVkAAABUm90YXRpb24AAAAAAAAAAAABWk9yZGVyAAAAAAAAwFR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Db25uZWN0b3JMaW5lAOEGAAADU3RhcnQAGwAAAAFYAAAAAIDsk3FAAVkAAAAA4IzOVkAAA0VuZAAbAAAAAVgAAAAAgOyTcUABWQAAAADgjM5WQAACU3RhcnRBcnJvd0hlYWQAEQAAAG1zb0Fycm93aGVhZE5vbmUAAkVuZEFycm93SGVhZAARAAAAbXNvQXJyb3doZWFkTm9uZQAFTWFuYWdlZElkABAAAAAESuqAJGJ3xEK1V3LsvMK9tQhIYXNDaGFuZ2VzAAAIVXNlTmFtZUluc3RlYWRPZlRhZ0FzSWQAAAhTaGFwZVByZXZpb3VzbHlDcmVhdGVkAAA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A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AAAAAAAAVdpZHRoAAAAAAAAAAAAAVRvcAAAAADgjM5WQAFMZWZ0AAAAAIDsk3FACEZsaXBIb3Jpem9udGFsbHkAAAhGbGlwSG9yaXpvbnRhbGx5QXBwbGllZAAACEZsaXBWZXJ0aWNhbGx5AAAIRmxpcFZlcnRpY2FsbHlBcHBsaWVkAAABUm90YXRpb24AAAAAAAAAAAABWk9yZGVyAAAAAAAAQFRAA0JvcmRlckNvbG9yAFUAAAAQQQD/AAAAEFIAAAAAABBHAJEAAAAQQgDfAAAAAVNjQQAAAAAAAADwPwFTY1IAAAAAAAAAAAABU2NHAAAAAAAcH9I/AVNjQgAAAABg9pznPwAQQm9yZGVyVGhlbWVDb2xvcgAAAAAAAUJvcmRlclRpbnRBbmRTaGFkZQAAAAAAAAAAABBCb3JkZXJTY2hlbWVDb2xvcgAAAAAAAUJvcmRlclRoaWNrbmVzcwAAAAAAAADg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ACTWlsZXN0b25lTGFiZWxQb3NpdGlvbgAJAAAAVG9wUmlnaHQAEEluZGV4AAQAAAACRGVzY3JpcHRpb24ADwAAAEZpbiBkZXNhcnJvbGxvAAJOYW1lAAoAAABNaWxlc3RvbmUACElzTGVhZGVyTGluZUluQXV0b01vZGUAAQlTdGFydFRpbWUAAMcihY8BAAAAAAJOYW1lAAgAAABDaWNsbyA0AAhJc0hpZ2hsaWdodGVkAAAISXNTZXBhcmF0b3JMaW5lVmlzaWJsZQABA1N0eWxlAHQEAAABRGVmYXVsdEZvbnRTaXplAAAAAAAAACRAAUZvbnRTaXplAAAAAAAAACRAA0ZvbnRDb2xvcgBVAAAAEEEA/wAAABBSABAAAAAQRwA4AAAAEEIATwAAAAFTY0EAAAAAAAAA8D8BU2NSAAAAAOA2OXU/AVNjRwAAAACAZz+kPwFTY0IAAAAAYBcEtD8AEEZvbnRUaGVtZUNvbG9yAAAAAAAQRm9udFNjaGVtZUNvbG9yAAAAAAABRm9udFRpbnRBbmRTaGFkZQAAAAAAAAAAAANQYXR0ZXJuQ29sb3IAVQAAABBBAAAAAAAQUgAAAAAAEEcAAAAAABBCAAAAAAABU2NBAAAAAAAAAAAAAVNjUgAAAAAAAAAAAAFTY0cAAAAAAAAAAAABU2NCAAAAAAAAAAAAABBQYXR0ZXJuVGhlbWVDb2xvcgAAAAAAAVBhdHRlcm5UaW50QW5kU2hhZGUAAAAAAAAAAAADRGF0YVN0eWxlRm9udENvbG9yVmFsdWUAVQAAABBBAP8AAAAQUgAQAAAAEEcAOAAAABBCAE8AAAABU2NBAAAAAAAAAPA/AVNjUgAAAADgNjl1PwFTY0cAAAAAgGc/pD8BU2NCAAAAAGAXBLQ/AAhEYXRhU3R5bGVGb250Q29sb3JIYXNWYWx1ZQABAUhlaWdodAAAAAAAAAAAAAJEYXNoU3R5bGUADQAAAG1zb0xpbmVTb2xpZAAISGFzV2lzaEZpbGxDb2xvcgABA0ZpbGxDb2xvcgBVAAAAEEEAAAAAABBSAP8AAAAQRwD/AAAAEEIA/wAAAAFTY0EAAAAAAAAAAAABU2NSAAAAAAAAAPA/AVNjRwAAAAAAAADwPwFTY0IAAAAAAAAA8D8AEEZpbGxTY2hlbWVDb2xvcgAAAAAAEEZpbGxUaGVtZUNvbG9yAAAAAAABRmlsbFRpbnRBbmRTaGFkZQAAAAAAAAAAAANCb3JkZXJDb2xvcgBVAAAAEEEA/wAAABBSAOMAAAAQRwDjAAAAEEIA4wAAAAFTY0EAAAAAAAAA8D8BU2NSAAAAAMCxlOg/AVNjRwAAAADAsZToPwFTY0IAAAAAwLGU6D8AEEJvcmRlclRoZW1lQ29sb3IAAAAAAAFCb3JkZXJUaW50QW5kU2hhZGUAAAAAAAAAAAAISXNGaWxsZWQAAQJQYXR0ZXJuABAAAABtc29QVwAAAAVWAAAAWAAAAOcPAAAAAAAAAAAAAGF0dGVybk1peGVkAAJTaGFwZVR5cGUADgAAAG1zb1NoYXBlTWl4ZWQAA0xhYmVsT2Zmc2V0AEIAAAABWAAAAAAAAAAAAAFZAAAAAAAAAAAAAUxlbmd0aAAAAAAAAAAAAAFMZW5ndGhTcXVhcmVkAAAAAAAAAAAAAAFCb3JkZXJUaGlja25lc3MAAAAAAAAA8D8ISXNGb250Qm9sZAAACElzRm9udEl0YWxpYwAACElzRm9udFVuZGVybGluZWQAAAhMYWJlbEhhc0JhY2tncm91bmQAAAJUZXh0QWxpZ25tZW50AAUAAABMZWZ0AAABUm93VG9wALcaFRkVMVVAAVJvd0hlaWdodABuNSoyLQU5QANMZWZ0Tm90ZXMAxwQAAANUZXh0U3R5bGUAWwQAAAFEZWZhdWx0Rm9udFNpemUAAAAAAAAAJEABRm9udFNpemUAAAAAAAAAJEADRm9udENvbG9yAFUAAAAQQQD/AAAAEFIAEAAAABBHADgAAAAQQgBPAAAAAVNjQQAAAAAAAADwPwFTY1IAAAAA4DY5dT8BU2NHAAAAAIBnP6Q/AVNjQgAAAABgFwS0PwAQRm9udFRoZW1lQ29sb3IAAAAAABBGb250U2NoZW1lQ29sb3IAAAAAAAFGb250VGludEFuZFNoYWRlAAAAAAAAAAAAA1BhdHRlcm5Db2xvcgBVAAAAEEEAAAAAABBSAAAAAAAQRwAAAAAAEEIAAAAAAAFTY0EAAAAAAAAAAAABU2NSAAAAAAAAAAAAAVNjRwAAAAAAAAAAAAFTY0IAAAAAAAAAAAAAEFBhdHRlcm5UaGVtZUNvbG9yAAAAAAABUGF0dGVyblRpbnRBbmRTaGFkZQAAAAAAAAAAAANEYXRhU3R5bGVGb250Q29sb3JWYWx1ZQBVAAAAEEEA/wAAABBSABAAAAAQRwA4AAAAEEIATwAAAAFTY0EAAAAAAAAA8D8BU2NSAAAAAOA2OXU/AVNjRwAAAACAZz+kPwFTY0IAAAAAYBcEtD8ACERhdGFTdHlsZUZvbnRDb2xvckhhc1ZhbHVlAAEBSGVpZ2h0AAAAAAAAAAAAAkRhc2hTdHlsZQANAAAAbXNvTGluZVNvbGlkAAhIYXNXaXNoRmlsbENvbG9yAAADRmlsbENvbG9yAFUAAAAQQQD/AAAAEFIAAAAAABBHAAAAAAAQQgAAAAAAAVNjQQAAAAAAAADwPwFTY1IAAAAAAAAAAAABU2NHAAAAAAAAAAAAAVNjQgAAAAAAAAAAAAAQRmlsbFNjaGVtZUNvbG9yAAAAAAAQRmlsbFRoZW1lQ29sb3IAAAAAAAFGaWxsVGludEFuZFNoYWRlAAAAAAAAAAAAA0JvcmRlckNvbG9yAFUAAAAQQQAAAAAAEFIAAAAAABBHAAAAAAAQQgAAAAAAAVNjQQAAAAAAAAAAAAFTY1IAAAAAAAAAAAABU2NHAAAAAAAAAAAAAVNjQgAAAAAAAAAAAAAQQm9yZGVyVGhlbWVDb2xvcgAAAAAAAUJvcmRlclRpbnRBbmRTaGFkZQAAAAAAAAAAAAhJc0ZpbGxlZAABAlBhdHRlcm4AEAAAAG1zb1BhdHRlcm5NaXhlZAACU2hhcGVUeXBlAA4AAABtc29TaGFwZU1peGVkAANMYWJlbE9mZnNldABCAAAAAVgAAAAAAAAAAAABWQAAAAAAAAAAAAFMZW5ndGgAAAAAAAAAAAABTGVuZ3RoU3F1YXJlZAAAAAAAAAAAAAAISXNGb250Qm9sZAAACElzRm9udEl0YWxpYwAACElzRm9udFVuZGVybGluZWQAAAhMYWJlbEhhc0JhY2tncm91bmQAAAJUZXh0QWxpZ25tZW50AAUAAABMZWZ0AAAISGFydmV5QmFsbFZpc2libGUAARBIYXJ2ZXlCYWxsVmFsdWUAAAAAAAJDaGVja0JveFN0YXRlAAUAAABOb25lAAJUcmFmZmljTGlnaHRTdGF0ZQAEAAAAT2ZmAAADUmlnaHROb3RlcwDHBAAAA1RleHRTdHlsZQBbBAAAAURlZmF1bHRGb250U2l6ZQAAAAAAAAAkQAFGb250U2l6ZQAAAAAAAAAkQANGb250Q29sb3IAVQAAABBBAP8AAAAQUgAQAAAAEEcAOAAAABBCAE8AAAABU2NBAAAAAAAAAPA/AVNjUgAAAADgNjl1PwFTY0cAAAAAgGc/pD8BU2NCAAAAAGAXBLQ/ABBGb250VGhlbWVDb2xvcgAAAAAAEEZvbnRTY2hlbWVDb2xvcgAAAAAAAUZvbnRUaW50QW5kU2hhZGUAAAAAAAAAAAADUGF0dGVybkNvbG9yAFUAAAAQQQAAAAAAEFIAAAAAABBHAAAAAAAQQgAAAAAAAVNjQQAAAAAAAAAAAAFTY1IAAAAAAAAAAAABU2NHAAAAAAAAAAAAAVNjQgAAAAAAAAAAAAAQUGF0dGVyblRoZW1lQ29sb3IAAAAAAAFQYXR0ZXJuVGludEFuZFNoYWRlAAAAAAAAAAAAA0RhdGFTdHlsZUZvbnRDb2xvclZhbHVlAFUAAAAQQQD/AAAAEFIAEAAAABBHADgAAAAQQgBPAAAAAVNjQQAAAAAAAADwPwFTY1IAAAAA4DY5dT8BU2NHAAAAAIBnP6Q/AVNjQgAAAABgFwS0PwAIRGF0YVN0eWxlRm9udENvbG9ySGFzVmFsdWUAAQFIZWlnaHQAAAAAAAAAAAACRGFzaFN0eWxlAA0AAABtc29MaW5lU29saWQACEhhc1dpc2hGaWxsQ29sb3IAAANGaWxsQ29sb3IAVQAAABBBAP8AAAAQUgAAAAAAEEcAAAAAABBCAAAAAAABU2NBAAAAAAAAAPA/AVNjUgAAAAAAAAAAAAFTY0cAAAAAAAAAAAABU2NCAAAAAAAAAAAAABBGaWxsU2NoZW1lQ29sb3IAAAAAABBGaWxsVGhlbWVDb2xvcgAAAAAAAUZpbGxUaW50QW5kU2hhZGUAAAAAAAAAAAADQm9yZGVyQ29sb3IAVQAAABBBAAAAAAAQUgAAAAAAEEcAAAAAABBCAAAAAAABU2NBAAAAAAAAAAAAAVNjUgAAAAAAAAAAAAFTY0cAAAAAAAAAAAABU2NCAAAAAAAAAAAAABBCb3JkZXJUaGVtZUNvbG9yAAAAAAABQm9yZGVyVGludEFuZFNoYWRlAAAAAAAAAAAACElzRmlsbGVkAAECUGF0dGVybgAQAAAAbXNvUGF0dGVybk1peGVkAAJTaGFwZVR5cGUADgAAAG1zb1NoYXBlTWl4ZWQAA0xhYmVsT2Zmc2V0AEIAAAABWAAAAAAAAAAAAAFZAAAAAAAAAAAAAUxlbmd0aAAAAAAAAAAAAAFMZW5ndGhTcXVhcmVkAAAAAAAAAAAAAAhJc0ZvbnRCb2xkAAAISXNGb250SXRhbGljAAAISXNGb250VW5kZXJsaW5lZAAACExhYmVsSGFzQmFja2dyb3VuZAAAAlRleHRBbGlnbm1lbnQABQAAAExlZnQAAAhIYXJ2ZXlCYWxsVmlzaWJsZQABEEhhcnZleUJhbGxWYWx1ZQAAAAAAAkNoZWNrQm94U3RhdGUABQAAAE5vbmUAAlRyYWZmaWNMaWdodFN0YXRlAAQAAABPZmYAAANMZWZ0Tm90ZXNSZW5kZXJJbmZvAGEUAAADTGFiZWwAdAYAAAVNYW5hZ2VkSWQAEAAAAAQqvQ8zSIx+RajZOrZRm146CEhhc0NoYW5nZXMAAQhVc2VOYW1lSW5zdGVhZE9mVGFnQXNJZAAACFNoYXBlUHJldmlvdXNseUNyZWF0ZWQAAA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AAkZpbGxQYXR0ZXJuABAAAABtc29QYXR0ZXJuTWl4ZWQAAlRleHQAAQAAA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kRpc3BsYXlUZXh0AAEAAAAAAUhlaWdodAAAAAAAAADwPwFXaWR0aAAAAAAAAADwPwFUb3AAAAAAAIyWcUABTGVmdAAAAABAZfaNQAhGbGlwSG9yaXpvbnRhbGx5AAAIRmxpcEhvcml6b250YWxseUFwcGxpZWQAAAhGbGlwVmVydGljYWxseQAACEZsaXBWZXJ0aWNhbGx5QXBwbGllZAAAAVJvdGF0aW9uAAAAAAAAAAAAAVpPcmRlcgAAAAAAAAAAAANCb3JkZXJDb2xvcgBVAAAAEEEAAAAAABBSAAAAAAAQRwAAAAAAEEIAAAAAAAFTY0EAAAAAAAAAAAABU2NSAAAAAAAAAAAAAVNjRwAAAAAAAAAAAAFTY1gAAAAFVwAAAFkAAADnDwAAAAAAAAAAAAB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NlcGFyYXRvckxpbmUA4QYAAANTdGFydAAbAAAAAVgAzczMFjLzjUABWQAAAABgYFJbQAADRW5kABsAAAABWAAzMzN9mPmNQAFZAAAAAGBgUltAAAJTdGFydEFycm93SGVhZAARAAAAbXNvQXJyb3doZWFkTm9uZQACRW5kQXJyb3dIZWFkABEAAABtc29BcnJvd2hlYWROb25lAAVNYW5hZ2VkSWQAEAAAAAQgFITzk7MxT7Xq99zfZyZrCEhhc0NoYW5nZXMAAQhVc2VOYW1lSW5zdGVhZE9mVGFnQXNJZAAACFNoYXBlUHJldmlvdXNseUNyZWF0ZWQAAA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oJmZ6T8BVG9wAAAAAGBgUltAAUxlZnQAAAAAIDLzjUAIRmxpcEhvcml6b250YWxseQAACEZsaXBIb3Jpem9udGFsbHlBcHBsaWVkAAAIRmxpcFZlcnRpY2FsbHkAAAhGbGlwVmVydGljYWxseUFwcGxpZWQAAAFSb3RhdGlvbgAAAAAAAAAAAAFaT3JkZXIAAAAAAACAVUADQm9yZGVyQ29sb3IAVQAAABBBAP8AAAAQUgDjAAAAEEcA4wAAABBCAOMAAAABU2NBAAAAAAAAAPA/AVNjUgAAAADAsZToPwFTY0cAAAAAwLGU6D8BU2NCAAAAAMCxlOg/ABBCb3JkZXJUaGVtZUNvbG9yAAAAAAABQm9yZGVyVGludEFuZFNoYWRlAAAAAAAAAAAAEEJvcmRlclNjaGVtZUNvbG9yAAAAAAABQm9yZGVyVGhpY2tuZXNzAAAAAAAAAPA/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JlY3RhbmdsZQB0BgAAAkF1dG9TaGFwZVR5cGUACgAAAFJlY3RhbmdsZQAFTWFuYWdlZElkABAAAAAEoKoL94gUnUqnjV+CmtFwmQhIYXNDaGFuZ2VzAAEIVXNlTmFtZUluc3RlYWRPZlRhZ0FzSWQAAAhTaGFwZVByZXZpb3VzbHlDcmVhdGVkAAADRmlsbENvbG9yAFUAAAAQQQAAAAAAEFIA/wAAABBHAP8AAAAQQgD/AAAAAVNjQQAAAAAAAAAAAAFTY1IAAAAAAAAA8D8BU2NHAAAAAAAAAPA/AVNjQgAAAAAAAADwP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A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EAtBThAAVdpZHRoAAAAAAAAAAAAAVRvcAAAAAAgFVFVQAFMZWZ0AAAAAEBl7o1ACEZsaXBIb3Jpem9udGFsbHkAAAhGbGlwSG9yaXpvbnRhbGx5QXBwbGllZAAACEZsaXBWZXJ0aWNhbGx5AAAIRmxpcFZlcnRpY2FsbHlBcHBsaWVkAAABUm90YXRpb24AAAAAAAAAAAABWk9yZGVyAAAAAAAAQFV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RUcmFmZmljTGlnaHREYXRhAAUAAAAABEhhcnZleUJhbGxEYXRhAAUAAAAAAlRyYWZmaWNMaWdodFN0YXRlAAQAAABPZmYABENoZWNrQm94RGF0YQAFAAAAAAJDaGVja0JveFN0YXRlAAUAAABOb25lAAADUmlnaHROb3Rlc1JlbmRlckluZm8AYRQAAANMYWJlbAB0BgAABU1hbmFnZWRJZAAQAAAABIpPQpIoBj5FqPhn5ioPOLwISGFzQ2hhbmdlcwABCFVzZU5hbWVJbnN0ZWFkT2ZUYWdBc0lkAAAIU2hhcGVQcmV2aW91c2x5Q3JlYXRlZAAAA0ZpbGxDb2xvcgBVAAAAEEEAAAAAABBSAAAAAABZAAAABVgAAABaAAAA5w8AAAAAAA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AAkZpbGxQYXR0ZXJuABAAAABtc29QYXR0ZXJuTWl4ZWQAAlRleHQAAQAAA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kRpc3BsYXlUZXh0AAEAAAAAAUhlaWdodAAAAAAAAADwPwFXaWR0aAAAAAAAAADwPwFUb3AAAAAAAIyWcUABTGVmdAAAAABAZfaNQAhGbGlwSG9yaXpvbnRhbGx5AAAIRmxpcEhvcml6b250YWxseUFwcGxpZWQAAAhGbGlwVmVydGljYWxseQAACEZsaXBWZXJ0aWNhbGx5QXBwbGllZAAAAVJvdGF0aW9uAAAAAAAAAAAAAVpPcmRlcgAAAAAAAAAAA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2VwYXJhdG9yTGluZQDhBgAAA1N0YXJ0ABsAAAABWADNzMwWMvONQAFZAAAAAGBgUltAAANFbmQAGwAAAAFYADMzM32Y+Y1AAVkAAAAAYGBSW0AAAlN0YXJ0QXJyb3dIZWFkABEAAABtc29BcnJvd2hlYWROb25lAAJFbmRBcnJvd0hlYWQAEQAAAG1zb0Fycm93aGVhZE5vbmUABU1hbmFnZWRJZAAQAAAABGWKNursiHxKtb1SFO8QE2gISGFzQ2hhbmdlcwABCFVzZU5hbWVJbnN0ZWFkT2ZUYWdBc0lkAAAIU2hhcGVQcmV2aW91c2x5Q3JlYXRlZAAA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CgmZnpPwFUb3AAAAAAYGBSW0ABTGVmdAAAAAAgMvONQAhGbGlwSG9yaXpvbnRhbGx5AAAIRmxpcEhvcml6b250YWxseUFwcGxpZWQAAAhGbGlwVmVydGljYWxseQAACEZsaXBWZXJ0aWNhbGx5QXBwbGllZAAAAVJvdGF0aW9uAAAAAAAAAAAAAVpPcmRlcgAAAAAAAIBVQANCb3JkZXJDb2xvcgBVAAAAEEEA/wAAABBSAOMAAAAQRwDjAAAAEEIA4wAAAAFTY0EAAAAAAAAA8D8BU2NSAAAAAMCxlOg/AVNjRwAAAADAsZToPwFTY0IAAAAAwLGU6D8AEEJvcmRlclRoZW1lQ29sb3IAAAAAAAFCb3JkZXJUaW50QW5kU2hhZGUAAAAAAAAAAAAQQm9yZGVyU2NoZW1lQ29sb3IAAAAAAAFCb3JkZXJUaGlja25lc3MAAAAAAAAA8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mVjdGFuZ2xlAHQGAAACQXV0b1NoYXBlVHlwZQAKAAAAUmVjdGFuZ2xlAAVNYW5hZ2VkSWQAEAAAAASauYUio25GSKShjUji8d9ECEhhc0NoYW5nZXMAAQhVc2VOYW1lSW5zdGVhZE9mVGFnQXNJZAAACFNoYXBlUHJldmlvdXNseUNyZWF0ZWQAAANGaWxsQ29sb3IAVQAAABBBAAAAAAAQUgD/AAAAEEcA/wAAABBCAP8AAAABU2NBAAAAAAAAAAAAAVNjUgAAAAAAAADwPwFTY0cAAAAAAAAA8D8BU2NCAAAAAAAAAPA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A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WgAAAAVZAAAAWwAAAOcPAAAAAAAAAAAAAE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EAtBThAAVdpZHRoAAAAAAAAAAAAAVRvcAAAAAAgFVFVQAFMZWZ0AAAAAEBl7o1ACEZsaXBIb3Jpem9udGFsbHkAAAhGbGlwSG9yaXpvbnRhbGx5QXBwbGllZAAACEZsaXBWZXJ0aWNhbGx5AAAIRmxpcFZlcnRpY2FsbHlBcHBsaWVkAAABUm90YXRpb24AAAAAAAAAAAABWk9yZGVyAAAAAAAAQFV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RUcmFmZmljTGlnaHREYXRhAAUAAAAABEhhcnZleUJhbGxEYXRhAAUAAAAAAlRyYWZmaWNMaWdodFN0YXRlAAQAAABPZmYABENoZWNrQm94RGF0YQAFAAAAAAJDaGVja0JveFN0YXRlAAUAAABOb25lAAADTGVmdFNpZGVSZW5kZXJJbmZvAB8UAAADTGFiZWwApAYAAAVNYW5hZ2VkSWQAEAAAAARNkKKwAknxSL4KB2q59AwXCEhhc0NoYW5nZXMAAAhVc2VOYW1lSW5zdGVhZE9mVGFnQXNJZAAACFNoYXBlUHJldmlvdXNseUNyZWF0ZWQAAQ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QACAAAAENpY2xvIDQAAlRleHRIb3Jpem9udGFsQWxpZ25tZW50AA4AAABtc29BbmNob3JOb25lAAJQYXJhZ3JhcGhBbGlnbm1lbnQADQAAAG1zb0FsaWduTGVmdAACVGV4dFZlcnRpY2FsQWxpZ25tZW50ABAAAABtc29BbmNob3JNaWRkbGUAA0ZvbnRTdHlsZQBAAQAAEEZvbnRCYWNrZ3JvdW5kAAAAAAAIRm9udEJvbGQAAANGb250Q29sb3IAVQAAABBBAP8AAAAQUgAQAAAAEEcAOAAAABBCAE8AAAABU2NBAAAAAAAAAPA/AVNjUgAAAADgNjl1PwFTY0cAAAAAgGc/pD8BU2NCAAAAAGAXBLQ/ABBGb250VGhlbWVDb2xvcgAAAAAAAUZvbnRUaW50QW5kU2hhZGUAAAAAAAAAAAAQRm9udFNjaGVtZUNvbG9yAAAAAAAIRm9udEl0YWxpYwAAAkZvbnROYW1lAAYAAABBcmlhbAABRm9udFNpemUAAAAAAAAAJEAIRm9udFN0cmlrZXRocm91Z2gAAAhGb250U3Vic2NyaXB0AAAIRm9udFN1cGVyc2NyaXB0AAAIRm9udFVuZGVybGluZQAAAAhTaXplVG9UZXh0V2lkdGgAAAhTaXplVG9UZXh0SGVpZ2h0AAADVGV4dE1hcmdpbgA/AAAAAUxlZnQAAAAAAAAAAAABVG9wAAAAAAAAAAAAAVJpZ2h0AAAAAAAAAAAAAUJvdHRvbQAAAAAAAAAAAAACRGlzcGxheVRleHQACAAAAENpY2xvIDQAAUhlaWdodAAAAABg3wsnQAFXaWR0aAAAAACAiIhBQAFUb3AAAAAAwPzgVkABTGVmdAAAAABASVw3QAhGbGlwSG9yaXpvbnRhbGx5AAAIRmxpcEhvcml6b250YWxseUFwcGxpZWQAAAhGbGlwVmVydGljYWxseQAACEZsaXBWZXJ0aWNhbGx5QXBwbGllZAAAAVJvdGF0aW9uAAAAAAAAAAAAAVpPcmRlcgAAAAAAAAA+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mVjdGFuZ2xlAHQGAAACQXV0b1NoYXBlVHlwZQAKAAAAUmVjdGFuZ2xlAAVNYW5hZ2VkSWQAEAAAAAS+TbWRLtwoRLXcB2MoZE4kCEhhc0NoYW5nZXMAAAhVc2VOYW1lSW5zdGVhZE9mVGFnQXNJZAAACFNoYXBlUHJldmlvdXNseUNyZWF0ZWQAAANGaWxsQ29sb3IAVQAAABBBAAAAAAAQUgD/AAAAEEcA/wAAABBCAP8AAAABU2NBAAAAAAAAAAAAAVNjUgAAAAAAAADwPwFTY0cAAAAAAAAA8D8BU2NCAAAAAAAAAPA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A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QC0FOEABV2lkdGgAAAAAAIPbjUABVG9wAAAAACAVUVVAAUxlZnQAAAAAAEriCkAIRmxpcEhvcml6b250YWxseQAACEZsaXBIb3Jpem9udGFsbHlBcHBsaWVkAAAIRmxpcFZlcnRpY2FsbHkAAAhGbGlwVmVydGljYWxseUFwcGxpZWQAAAFSb3RhdGlvbgAAAAAAAAAAAAFaT3JkZXIAAAAAAAAAJkADQm9yZGVyQ29sb3IAVQAAABBBAAAAAAAQUgAAAAAAEEcAAAAAABBCAAAAAAABU2NBAAAAAAAAAAAAAVNjUgAAAAAAAAAAAAFTY0cAAAAAAAAAAAABU2NCAAAAAAAAAAAAABBCb3JkZXJUaGVtZUNvbFsAAAAFWgAAAFwAAADnDwAAAAAAAAAAAAB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TZXBhcmF0b3JMaW5lAOEGAAADU3RhcnQAGwAAAAFYAM3MzMwWrwdAAVkAEqifZWBSW0AAA0VuZAAbAAAAAVgAMzMzfZj5jUABWQASqJ9lYFJbQAACU3RhcnRBcnJvd0hlYWQAEQAAAG1zb0Fycm93aGVhZE5vbmUAAkVuZEFycm93SGVhZAARAAAAbXNvQXJyb3doZWFkTm9uZQAFTWFuYWdlZElkABAAAAAEtjR+tbmE9EymOPuq1I/XuAhIYXNDaGFuZ2VzAAAIVXNlTmFtZUluc3RlYWRPZlRhZ0FzSWQAAAhTaGFwZVByZXZpb3VzbHlDcmVhdGVkAAA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AAAAAAAAVdpZHRoAAAAAGDp4Y1AAVRvcAAAAABgYFJbQAFMZWZ0AAAAAMAWrwdACEZsaXBIb3Jpem9udGFsbHkAAAhGbGlwSG9yaXpvbnRhbGx5QXBwbGllZAAACEZsaXBWZXJ0aWNhbGx5AAAIRmxpcFZlcnRpY2FsbHlBcHBsaWVkAAABUm90YXRpb24AAAAAAAAAAAABWk9yZGVyAAAAAAAAAChAA0JvcmRlckNvbG9yAFUAAAAQQQD/AAAAEFIA4wAAABBHAOMAAAAQQgDjAAAAAVNjQQAAAAAAAADwPwFTY1IAAAAAwLGU6D8BU2NHAAAAAMCxlOg/AVNjQgAAAADAsZToPwAQQm9yZGVyVGhlbWVDb2xvcgAAAAAAAUJvcmRlclRpbnRBbmRTaGFkZQAAAAAAAAAAABBCb3JkZXJTY2hlbWVDb2xvcgAAAAAAAUJvcmRlclRoaWNrbmVzcwAAAAAAAADw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AAAAJOYW1lAAgAAABPRUUgQXBwAAJTdW1tYXJ5TGFiZWwAHAAAADTigIsvMTQvMjAyNCAtIDUvMTcvMjAy4oCLNAAISXNMYWJlbEluc2lkZUJvdW5kcwABAkxhYmVsUG9zaXRpb24ABQAAAExlZnQACElzSGlnaGxpZ2h0ZWQAAAhJc1NlcGFyYXRvckxpbmVWaXNpYmxlAAEDTGVmdFNpZGVTdHlsZQB0BAAAAURlZmF1bHRGb250U2l6ZQAAAAAAAAAkQAFGb250U2l6ZQAAAAAAAAAoQANGb250Q29sb3IAVQAAABBBAP8AAAAQUgAQAAAAEEcAOAAAABBCAE8AAAABU2NBAAAAAAAAAPA/AVNjUgAAAADgNjl1PwFTY0cAAAAAgGc/pD8BU2NCAAAAAGAXBLQ/ABBGb250VGhlbWVDb2xvcgAAAAAAEEZvbnRTY2hlbWVDb2xvcgAAAAAAAUZvbnRUaW50QW5kU2hhZGUAAAAAAAAAAAADUGF0dGVybkNvbG9yAFUAAAAQQQAAAAAAEFIAAAAAABBHAAAAAAAQQgAAAAAAAVNjQQAAAAAAAAAAAAFTY1IAAAAAAAAAAAABU2NHAAAAAAAAAAAAAVNjQgAAAAAAAAAAAAAQUGF0dGVyblRoZW1lQ29sb3IAAAAAAAFQYXR0ZXJuVGludEFuZFNoYWRlAAAAAAAAAAAAA0RhdGFTdHlsZUZvbnRDb2xvclZhbHVlAFUAAAAQQQD/AAAAEFIAEAAAABBHADgAAAAQQgBPAAAAAVNjQQAAAAAAAADwPwFTY1IAAAAA4DY5dT8BU2NHAAAAAIBnP6Q/AVNjQgAAAABgFwS0PwAIRGF0YVN0eWxlRm9udENvbG9ySGFzVmFsdWUAAQFIZWlnaHQAAAAAAAAAAAACRGFzaFN0eWxlAA0AAABtc29MaW5lU29saWQACEhhc1dpc2hGaWxsQ29sb3IAAQNGaWxsQ29sb3IAVQAAABBBAAAAAAAQUgD/AAAAEEcA/wAAABBCAP8AAAABU2NBAAAAAAAAAAAAAVNjUgAAAAAAAADwPwFTY0cAAAAAAAAA8D8BU2NCAAAAAAAAAPA/ABBGaWxsU2NoZW1lQ29sb3IAAAAAABBGaWxsVGhlbWVDb2xvcgAAAAAAAUZpbGxUaW50QW5kU2hhZGUAAAAAAAAAAAADQm9yZGVyQ29sb3IAVQAAABBBAP8AAAAQUgDjAAAAEEcA4wAAABBCAOMAAAABU2NBAAAAAAAAAPA/AVNjUgAAAADAsZToPwFTY0cAAAAAwLGU6D8BU2NCAAAAAMCxlOg/ABBCb3JkZXJUaGVtZUNvbG9yAAAAAAABQm9yZGVyVGludEFuZFNoYWRlAAAAAAAAAAAACElzRmlsbGVkAAECUGF0dGVybgAQAAAAbXNvUGF0dGVybk1peGVkAAJTaGFwZVR5cGUADgAAAG1zb1NoYXBlTWl4ZWQAA0xhYmVsT2Zmc2V0AEIAAAABWAAAAAAAAAAAAAFZAAAAAAAAAAAAAUxlbmd0aAAAAAAAAAAAAAFMZW5ndGhTcXVhcmVkAAAAAAAAAAAAAAFCb3JkZXJUaGlja25lc3MAAAAAAAAA8D8ISXNGb250Qm9sZAAACElzRm9udEl0YWxpYwAACElzRm9udFVuZGVybGluZWQAAAhMYWJlbEhhc0JhY2tncm91bmQAAAJUZXh0QWxpZ25tZW50AAUAAABMZWZ0AAADU3VtbWFyeVN0eWxlAHQEAAABRGVmYXVsdEZvbnRTaXplAAAAAAAAACRAAUZvbnRTaXplAAAAAAAAACRAA0ZvbnRDb2xvcgBVAAAAEEEA/wAAABBSAP8AAAAQRwD/AAAAEEIA/wAAAAFTY0EAAAAAAAAA8D8BU2NSAAAAAAAAAPA/AVNjRwAAAAAAAADwPwFTY0IAAAAAAAAA8D8AEEZvbnRUaGVtZUNvbG9yAAAAAAAQRm9udFNjaGVtZUNvbG9yAAAAAAABRm9udFRpbnRBbmRTaGFkZQAAAAAAAAAAAANQYXR0ZXJuQ29sb3IAVQAAABBBAAAAAAAQUgAAAAAAEEcAAAAAABBCAAAAAAABU2NBAAAAAAAAAAAAAVNjUgAAAAAAAAAAAAFTY0cAAAAAAAAAAAABU2NCAAAAAAAAAAAAABBQYXR0ZXJuVGhlbWVDb2xvcgAAAAAAAVBhdHRlcm5UaW50QW5kU2hhZGUAAAAAAAAAAAADRGF0YVN0eWxlRm9udENvbG9yVmFsdWUAVQAAABBBAAAAAAAQUgAAAAAAEEcAAAAAABBCAAAAAAABU2NBAAAAAAAAAAAAAVNjUgAAAAAAAAAAAAFTY0cAAAAAAAAAAAABU2NCAAAAAAAAAAAAAAhEYXRhU3R5bGVGb250Q29sb3JIYXNWYWx1ZQAAAUhlaWdodAAAAADg3TIoQAJEYXNoU3R5bGUADQAAAG1zb0xpbmVTb2xpZAAISGFzV2lzaEZpbGxDb2xvcgAAA0ZpbGxDb2xvcgBVAAAAEEEA/wAAABBSAEAAAAAQRwBgAAAAEEIAcgAAAAFTY0EAAAAAAAAA8D8BU2NSAAAAAMD9P6o/AVNjRwAAAABAyvFcAAAABVsAAABdAAAA5w8AAAAAAAAAAAAAvT8BU2NCAAAAAADaicU/ABBGaWxsU2NoZW1lQ29sb3IAAAAAABBGaWxsVGhlbWVDb2xvcgAAAAAAAUZpbGxUaW50QW5kU2hhZGUAAAAAAAAAAAADQm9yZGVyQ29sb3IAVQAAABBBAP8AAAAQUgBAAAAAEEcAYAAAABBCAHIAAAABU2NBAAAAAAAAAPA/AVNjUgAAAADA/T+qPwFTY0cAAAAAQMrxvT8BU2NCAAAAAADaicU/ABBCb3JkZXJUaGVtZUNvbG9yAAAAAAABQm9yZGVyVGludEFuZFNoYWRlAAAAAAAAAAAACElzRmlsbGVkAAECUGF0dGVybgAQAAAAbXNvUGF0dGVybk1peGVkAAJTaGFwZVR5cGUADgAAAG1zb1NoYXBlTWl4ZWQAA0xhYmVsT2Zmc2V0AEIAAAABWAAAAAAAAAAAAAFZAAAAAAAAAAAAAUxlbmd0aAAAAAAAAAAAAAFMZW5ndGhTcXVhcmVkAAAAAAAAAAAAAAFCb3JkZXJUaGlja25lc3MAAAAAAAAA8D8ISXNGb250Qm9sZAAACElzRm9udEl0YWxpYwAACElzRm9udFVuZGVybGluZWQAAAhMYWJlbEhhc0JhY2tncm91bmQAAAJUZXh0QWxpZ25tZW50AAUAAABMZWZ0AAAIRGlzcGxheUxhYmVsAAEIRGlzcGxheVN1bW1hcnkAAQhJc0NvbGxhcHNlZAAAAVNlY3Rpb25Ub3AAAAAAAP1cQUABU2VjdGlvbkhlaWdodAASqJ/l4cNSQANMZWZ0Tm90ZXMAxwQAAANUZXh0U3R5bGUAWwQAAAFEZWZhdWx0Rm9udFNpemUAAAAAAAAAJEABRm9udFNpemUAAAAAAAAAJEADRm9udENvbG9yAFUAAAAQQQD/AAAAEFIAEAAAABBHADgAAAAQQgBPAAAAAVNjQQAAAAAAAADwPwFTY1IAAAAA4DY5dT8BU2NHAAAAAIBnP6Q/AVNjQgAAAABgFwS0PwAQRm9udFRoZW1lQ29sb3IAAAAAABBGb250U2NoZW1lQ29sb3IAAAAAAAFGb250VGludEFuZFNoYWRlAAAAAAAAAAAAA1BhdHRlcm5Db2xvcgBVAAAAEEEAAAAAABBSAAAAAAAQRwAAAAAAEEIAAAAAAAFTY0EAAAAAAAAAAAABU2NSAAAAAAAAAAAAAVNjRwAAAAAAAAAAAAFTY0IAAAAAAAAAAAAAEFBhdHRlcm5UaGVtZUNvbG9yAAAAAAABUGF0dGVyblRpbnRBbmRTaGFkZQAAAAAAAAAAAANEYXRhU3R5bGVGb250Q29sb3JWYWx1ZQBVAAAAEEEA/wAAABBSABAAAAAQRwA4AAAAEEIATwAAAAFTY0EAAAAAAAAA8D8BU2NSAAAAAOA2OXU/AVNjRwAAAACAZz+kPwFTY0IAAAAAYBcEtD8ACERhdGFTdHlsZUZvbnRDb2xvckhhc1ZhbHVlAAEBSGVpZ2h0AAAAAAAAAAAAAkRhc2hTdHlsZQANAAAAbXNvTGluZVNvbGlkAAhIYXNXaXNoRmlsbENvbG9yAAADRmlsbENvbG9yAFUAAAAQQQD/AAAAEFIAAAAAABBHAAAAAAAQQgAAAAAAAVNjQQAAAAAAAADwPwFTY1IAAAAAAAAAAAABU2NHAAAAAAAAAAAAAVNjQgAAAAAAAAAAAAAQRmlsbFNjaGVtZUNvbG9yAAAAAAAQRmlsbFRoZW1lQ29sb3IAAAAAAAFGaWxsVGludEFuZFNoYWRlAAAAAAAAAAAAA0JvcmRlckNvbG9yAFUAAAAQQQAAAAAAEFIAAAAAABBHAAAAAAAQQgAAAAAAAVNjQQAAAAAAAAAAAAFTY1IAAAAAAAAAAAABU2NHAAAAAAAAAAAAAVNjQgAAAAAAAAAAAAAQQm9yZGVyVGhlbWVDb2xvcgAAAAAAAUJvcmRlclRpbnRBbmRTaGFkZQAAAAAAAAAAAAhJc0ZpbGxlZAABAlBhdHRlcm4AEAAAAG1zb1BhdHRlcm5NaXhlZAACU2hhcGVUeXBlAA4AAABtc29TaGFwZU1peGVkAANMYWJlbE9mZnNldABCAAAAAVgAAAAAAAAAAAABWQAAAAAAAAAAAAFMZW5ndGgAAAAAAAAAAAABTGVuZ3RoU3F1YXJlZAAAAAAAAAAAAAAISXNGb250Qm9sZAAACElzRm9udEl0YWxpYwAACElzRm9udFVuZGVybGluZWQAAAhMYWJlbEhhc0JhY2tncm91bmQAAAJUZXh0QWxpZ25tZW50AAUAAABMZWZ0AAAISGFydmV5QmFsbFZpc2libGUAARBIYXJ2ZXlCYWxsVmFsdWUAAAAAAAJDaGVja0JveFN0YXRlAAUAAABOb25lAAJUcmFmZmljTGlnaHRTdGF0ZQAEAAAAT2ZmAAADUmlnaHROb3RlcwDHBAAAA1RleHRTdHlsZQBbBAAAAURlZmF1bHRGb250U2l6ZQAAAAAAAAAkQAFGb250U2l6ZQAAAAAAAAAkQANGb250Q29sb3IAVQAAABBBAP8AAAAQUgAQAAAAEEcAOAAAABBCAE8AAAABU2NBAAAAAAAAAPA/AVNjUgAAAADgNjl1PwFTY0cAAAAAgGc/pD8BU2NCAAAAAGAXBLQ/ABBGb250VGhlbWVDb2xvcgAAAAAAEEZvbnRTY2hlbWVDb2xvcgAAAAAAAUZvbnRUaW50QW5kU2hhZGUAAAAAAAAAAAADUGF0dGVybkNvbG9yAFUAAAAQQQAAAAAAEFIAAAAAABBHAAAAAAAQQgAAAAAAAVNjQQAAAAAAAAAAAAFTY1IAAAAAAAAAAAABU2NHAAAAAAAAAAAAAVNjQgAAAAAAAAAAAAAQUGF0dGVyblRoZW1lQ29sb3IAAAAAAAFQYXR0ZXJuVGludEFuZFNoYWRlAAAAAAAAAAAAA0RhdGFTdHlsZUZvbnRDb2xvclZhbHVlAFUAAAAQQQD/AAAAEFIAEAAAABBHADgAAAAQQgBPAAAAAVNjQQAAAAAAAADwPwFTY1IAAAAA4DY5dT8BU2NHAAAAAIBnP6Q/AVNjQgAAAABgFwS0PwAIRGF0YVN0eWxlRm9udENvbG9ySGFzVmFsdWUAAQFIZWlnaHQAAAAAAAAAAAACRGFzaFN0eWxlAA0AAABtc29MaW5lU29saWQACEhhc1dpc2hGaWxsQ29sb3IAAANGaWxsQ29sb3IAVQAAABBBAP8AAAAQUgAAAAAAEEcAAAAAABBCAAAAAAABU2NBAAAAAAAAAPA/AVNjUgAAAAAAAAAAAAFTY0cAAAAAAAAAAAABU2NCAAAAAAAAAAAAABBGaWxsU2NoZW1lQ29sb3IAAAAAABBGaWxsVGhlbWVDb2xvcgAAAAAAAUZpbGxUaW50QW5kU2hhZGUAAAAAAAAAAAADQm9yZGVyQ29sb3IAVQAAABBBAAAAAAAQUgAAAAAAEEcAAAAAABBCAAAAAAABU2NBAAAAAAAAAAAAAVNjUgAAAAAAAAAAAAFTY0cAAAAAAAAAAAABU2NCAAAAAAAAAAAAABBCb3JkZXJUaGVtZUNvbG9yAAAAAAABQm9yZGVyVGludEFuZFNoYWRlAAAAAAAAAAAACElzRmlsbGVkAAECUGF0dGVybgAQAAAAbXNvUGF0dGVybk1peGVkAAJTaGFwZVR5cGUADgAAAG1zb1NoYXBlTWl4ZWQAA0xhYmVsT2Zmc2V0AEIAAAABWAAAAAAAAAAAAAFZAAAAAAAAAAAAAUxlbmd0aAAAAAAAAAAAAAFMZW5ndGhTcXVhcmVkAAAAAAAAAAAAAAhJc0ZvbnRCb2xkAAAISXNGb250SXRhbGljAAAISXNGb250VW5kZXJsaW5lZAAACExhYmVsSGFzQmFja2dyb3VuZAAAAlRleHRBbGlnbm1lbnQABQAAAExlZnQAAAhIYXJ2ZXlCYWxsVmlzaWJsZQABEEhhcnZleUJhbGxWYWx1ZQAAAAAAAkNoZWNrQm94U3RhdGUABQAAAE5vbmUAAlRyYWZmaWNMaWdodFN0YXRlAAQAAABPZmYAAANMZWZ0Tm90ZXNSZW5kZXJJbmZvAGEUAAADTGFiZWwAdAYAAAVNYW5hZ2VkSWQAEAAAAAQ0YHZEU4+XRouYpW4EnGHUCEhhc0NoYW5nZXMAAQhVc2VOYW1lSW5zdGVhZE9mVGFnQXNJZAAACFNoYXBlUHJldmlvdXNseUNyZWF0ZWQAAA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AAkZpbGxQYXR0ZXJuABAAAABtc29QYXR0ZXJuTWl4ZWQAAlRleHQAAQAAA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XQAAAAVcAAAAXgAAAOcPAAAAAAAAAAAAAGlnaHQAAAAAAAAAAAABQm90dG9tAAAAAAAAAAAAAAJEaXNwbGF5VGV4dAABAAAAAAFIZWlnaHQAAAAAAAAA8D8BV2lkdGgAAAAAAAAA8D8BVG9wAAAAAACMlnFAAUxlZnQAAAAAQGX2jU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NlcGFyYXRvckxpbmUA4QYAAANTdGFydAAbAAAAAVgAzczMFjLzjUABWQAAAACgk59NQAADRW5kABsAAAABWAAzMzN9mPmNQAFZAAAAAKCTn01AAAJTdGFydEFycm93SGVhZAARAAAAbXNvQXJyb3doZWFkTm9uZQACRW5kQXJyb3dIZWFkABEAAABtc29BcnJvd2hlYWROb25lAAVNYW5hZ2VkSWQAEAAAAASfn24t94QkTpV341g9/SmhCEhhc0NoYW5nZXMAAQhVc2VOYW1lSW5zdGVhZE9mVGFnQXNJZAAACFNoYXBlUHJldmlvdXNseUNyZWF0ZWQAAA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oJmZ6T8BVG9wAAAAAKCTn01AAUxlZnQAAAAAIDLzjUAIRmxpcEhvcml6b250YWxseQAACEZsaXBIb3Jpem9udGFsbHlBcHBsaWVkAAAIRmxpcFZlcnRpY2FsbHkAAAhGbGlwVmVydGljYWxseUFwcGxpZWQAAAFSb3RhdGlvbgAAAAAAAAAAAAFaT3JkZXIAAAAAAACAVUADQm9yZGVyQ29sb3IAVQAAABBBAP8AAAAQUgDjAAAAEEcA4wAAABBCAOMAAAABU2NBAAAAAAAAAPA/AVNjUgAAAADAsZToPwFTY0cAAAAAwLGU6D8BU2NCAAAAAMCxlOg/ABBCb3JkZXJUaGVtZUNvbG9yAAAAAAABQm9yZGVyVGludEFuZFNoYWRlAAAAAAAAAAAAEEJvcmRlclNjaGVtZUNvbG9yAAAAAAABQm9yZGVyVGhpY2tuZXNzAAAAAAAAAPA/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JlY3RhbmdsZQB0BgAAAkF1dG9TaGFwZVR5cGUACgAAAFJlY3RhbmdsZQAFTWFuYWdlZElkABAAAAAEhT6p84M4nE+mUtedsfkBUwhIYXNDaGFuZ2VzAAEIVXNlTmFtZUluc3RlYWRPZlRhZ0FzSWQAAAhTaGFwZVByZXZpb3VzbHlDcmVhdGVkAAADRmlsbENvbG9yAFUAAAAQQQAAAAAAEFIA/wAAABBHAP8AAAAQQgD/AAAAAVNjQQAAAAAAAAAAAAFTY1IAAAAAAAAA8D8BU2NHAAAAAAAAAPA/AVNjQgAAAAAAAADwP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A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EAthThAAVdpZHRoAAAAAAAAAAAAAVRvcAAAAAAA/VxBQAFMZWZ0AAAAAEBl7o1ACEZsaXBIb3Jpem9udGFsbHkAAAhGbGlwSG9yaXpvbnRhbGx5QXBwbGllZAAACEZsaXBWZXJ0aWNhbGx5AAAIRmxpcFZlcnRpY2FsbHlBcHBsaWVkAAABUm90YXRpb24AAAAAAAAAAAABWk9yZGVyAAAAAAAAQFV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l4AAAAFXQAAAF8AAADnDwAAAAAAAAAAAABlZm9yZQAAAAAAAAAAAAFTcGFjZVdpdGhpbgAAAAAAAAAAAAAEVHJhZmZpY0xpZ2h0RGF0YQAFAAAAAARIYXJ2ZXlCYWxsRGF0YQAFAAAAAAJUcmFmZmljTGlnaHRTdGF0ZQAEAAAAT2ZmAARDaGVja0JveERhdGEABQAAAAACQ2hlY2tCb3hTdGF0ZQAFAAAATm9uZQAAA1JpZ2h0Tm90ZXNSZW5kZXJJbmZvAGEUAAADTGFiZWwAdAYAAAVNYW5hZ2VkSWQAEAAAAASaEKiN8nt3S7RmDYFUh7xICEhhc0NoYW5nZXMAAQhVc2VOYW1lSW5zdGVhZE9mVGFnQXNJZAAACFNoYXBlUHJldmlvdXNseUNyZWF0ZWQAAA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AAkZpbGxQYXR0ZXJuABAAAABtc29QYXR0ZXJuTWl4ZWQAAlRleHQAAQAAA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kRpc3BsYXlUZXh0AAEAAAAAAUhlaWdodAAAAAAAAADwPwFXaWR0aAAAAAAAAADwPwFUb3AAAAAAAIyWcUABTGVmdAAAAABAZfaNQAhGbGlwSG9yaXpvbnRhbGx5AAAIRmxpcEhvcml6b250YWxseUFwcGxpZWQAAAhGbGlwVmVydGljYWxseQAACEZsaXBWZXJ0aWNhbGx5QXBwbGllZAAAAVJvdGF0aW9uAAAAAAAAAAAAAVpPcmRlcgAAAAAAAAAAA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2VwYXJhdG9yTGluZQDhBgAAA1N0YXJ0ABsAAAABWADNzMwWMvONQAFZAAAAAKCTn01AAANFbmQAGwAAAAFYADMzM32Y+Y1AAVkAAAAAoJOfTUAAAlN0YXJ0QXJyb3dIZWFkABEAAABtc29BcnJvd2hlYWROb25lAAJFbmRBcnJvd0hlYWQAEQAAAG1zb0Fycm93aGVhZE5vbmUABU1hbmFnZWRJZAAQAAAABO7CFrM05tBDp5LQ9MroUasISGFzQ2hhbmdlcwABCFVzZU5hbWVJbnN0ZWFkT2ZUYWdBc0lkAAAIU2hhcGVQcmV2aW91c2x5Q3JlYXRlZAAA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CgmZnpPwFUb3AAAAAAoJOfTUABTGVmdAAAAAAgMvONQAhGbGlwSG9yaXpvbnRhbGx5AAAIRmxpcEhvcml6b250YWxseUFwcGxpZWQAAAhGbGlwVmVydGljYWxseQAACEZsaXBWZXJ0aWNhbGx5QXBwbGllZAAAAVJvdGF0aW9uAAAAAAAAAAAAAVpPcmRlcgAAAAAAAIBVQANCb3JkZXJDb2xvcgBVAAAAEEEA/wAAABBSAOMAAAAQRwDjAAAAEEIA4wAAAAFTY0EAAAAAAAAA8D8BU2NSAAAAAMCxlOg/AVNjRwAAAADAsZToPwFTY0IAAAAAwLGU6D8AEEJvcmRlclRoZW1lQ29sb3IAAAAAAAFCb3JkZXJUaW50QW5kU2hhZGUAAAAAAAAAAAAQQm9yZGVyU2NoZW1lQ29sb3IAAAAAAAFCb3JkZXJUaGlja25lc3MAAAAAAAAA8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mVjdGFuZ2xlAHQGAAACQXV0b1NoYXBlVHlwZQAKAAAAUmVjdGFuZ2xlAAVNYW5hZ2VkSWQAEAAAAATaZlVCIrTtRbttzTnQmXK0CEhhc0NoYW5nZXMAAQhVc2VOYW1lSW5zdGVhZE9mVGFnQXNJZAAACFNoYXBlUHJldmlvdXNseUNyZWF0ZWQAAANGaWxsQ29sb3IAVQAAABBBAAAAAAAQUgD/AAAAEEcA/wAAABBCAP8AAAABU2NBAAAAAAAAAAAAAVNjUgAAAAAAAADwPwFTY0cAAAAAAAAA8D8BU2NCAAAAAAAAAPA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fAAAABV4AAABgAAAA5w8AAAAAAAAAAAAAVmlzaWJsZQABCFZpc2libGUAAA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EAthThAAVdpZHRoAAAAAAAAAAAAAVRvcAAAAAAA/VxBQAFMZWZ0AAAAAEBl7o1ACEZsaXBIb3Jpem9udGFsbHkAAAhGbGlwSG9yaXpvbnRhbGx5QXBwbGllZAAACEZsaXBWZXJ0aWNhbGx5AAAIRmxpcFZlcnRpY2FsbHlBcHBsaWVkAAABUm90YXRpb24AAAAAAAAAAAABWk9yZGVyAAAAAAAAQFV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RUcmFmZmljTGlnaHREYXRhAAUAAAAABEhhcnZleUJhbGxEYXRhAAUAAAAAAlRyYWZmaWNMaWdodFN0YXRlAAQAAABPZmYABENoZWNrQm94RGF0YQAFAAAAAAJDaGVja0JveFN0YXRlAAUAAABOb25lAAADTGVmdFNpZGVSZW5kZXJJbmZvABwUAAADTGFiZWwAoQYAAAVNYW5hZ2VkSWQAEAAAAARMu+bhDvbVQb15Acqm2CZbCEhhc0NoYW5nZXMAAAhVc2VOYW1lSW5zdGVhZE9mVGFnQXNJZAAACFNoYXBlUHJldmlvdXNseUNyZWF0ZWQAAQ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QACAAAAE9FRSBBcHAAAlRleHRIb3Jpem9udGFsQWxpZ25tZW50AA4AAABtc29BbmNob3JOb25lAAJQYXJhZ3JhcGhBbGlnbm1lbnQADQAAAG1zb0FsaWduTGVmdAACVGV4dFZlcnRpY2FsQWxpZ25tZW50AA0AAABtc29BbmNob3JUb3AAA0ZvbnRTdHlsZQBAAQAAEEZvbnRCYWNrZ3JvdW5kAAAAAAAIRm9udEJvbGQAAANGb250Q29sb3IAVQAAABBBAP8AAAAQUgAQAAAAEEcAOAAAABBCAE8AAAABU2NBAAAAAAAAAPA/AVNjUgAAAADgNjl1PwFTY0cAAAAAgGc/pD8BU2NCAAAAAGAXBLQ/ABBGb250VGhlbWVDb2xvcgAAAAAAAUZvbnRUaW50QW5kU2hhZGUAAAAAAAAAAAAQRm9udFNjaGVtZUNvbG9yAAAAAAAIRm9udEl0YWxpYwAAAkZvbnROYW1lAAYAAABBcmlhbAABRm9udFNpemUAAAAAAAAAKEAIRm9udFN0cmlrZXRocm91Z2gAAAhGb250U3Vic2NyaXB0AAAIRm9udFN1cGVyc2NyaXB0AAAIRm9udFVuZGVybGluZQAAAAhTaXplVG9UZXh0V2lkdGgAAAhTaXplVG9UZXh0SGVpZ2h0AAADVGV4dE1hcmdpbgA/AAAAAUxlZnQAAAAAAAAAAAABVG9wAAAAAAAAAAAAAVJpZ2h0AAAAAAAAAAAAAUJvdHRvbQAAAAAAAAAAAAACRGlzcGxheVRleHQACAAAAE9FRSBBcHAAAUhlaWdodAAAAADAqLsqQAFXaWR0aAAAAADAge5KQAFUb3AAAAAAQNNWREABTGVmdAAAAACAkrgqQAhGbGlwSG9yaXpvbnRhbGx5AAAIRmxpcEhvcml6b250YWxseUFwcGxpZWQAAAhGbGlwVmVydGljYWxseQAACEZsaXBWZXJ0aWNhbGx5QXBwbGllZAAAAVJvdGF0aW9uAAAAAAAAAAAAAVpPcmRlcgAAAAAAAAA+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mVjdGFuZ2xlAHQGAAACQXV0b1NoYXBlVHlwZQAKAAAAUmVjdGFuZ2xlAAVNYW5hZ2VkSWQAEAAAAARIoA1l28ctSr7ISKEUAI8dCEhhc0NoYW5nZXMAAAhVc2VOYW1lSW5zdGVhZE9mVGFnQXNJZAAACFNoYXBlUHJldmlvdXNseUNyZWF0ZWQAAANGaWxsQ29sb3IAVQAAABBBAAAAAAAQUgD/AAAAEEcA/wAAABBCAP8AAAABU2NBAAAAAAAAAAAAAVNjUgAAAAAAAADwPwFTY0cAAAAAAAAA8D8BU2NCAAAAAAAAAPA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A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YAAAAAVfAAAAYQAAAOcPAAAAAAAAAAAAAAAAAUJvdHRvbQAAAAAAAAAAAAABSGVpZ2h0AAAAAEAthThAAVdpZHRoAAAAAACD241AAVRvcAAAAAAA/VxBQAFMZWZ0AAAAAABK4gpACEZsaXBIb3Jpem9udGFsbHkAAAhGbGlwSG9yaXpvbnRhbGx5QXBwbGllZAAACEZsaXBWZXJ0aWNhbGx5AAAIRmxpcFZlcnRpY2FsbHlBcHBsaWVkAAABUm90YXRpb24AAAAAAAAAAAABWk9yZGVyAAAAAAAAACZ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TZXBhcmF0b3JMaW5lAOEGAAADU3RhcnQAGwAAAAFYAM3MzMwWrwdAAVkAtxoVmZOfTUAAA0VuZAAbAAAAAVgAMzMzfZj5jUABWQC3GhWZk59NQAACU3RhcnRBcnJvd0hlYWQAEQAAAG1zb0Fycm93aGVhZE5vbmUAAkVuZEFycm93SGVhZAARAAAAbXNvQXJyb3doZWFkTm9uZQAFTWFuYWdlZElkABAAAAAETbjKsEpgPU20sYSiC/VtsghIYXNDaGFuZ2VzAAAIVXNlTmFtZUluc3RlYWRPZlRhZ0FzSWQAAAhTaGFwZVByZXZpb3VzbHlDcmVhdGVkAAA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AAAAAAAAVdpZHRoAAAAAGDp4Y1AAVRvcAAAAACgk59NQAFMZWZ0AAAAAMAWrwdACEZsaXBIb3Jpem9udGFsbHkAAAhGbGlwSG9yaXpvbnRhbGx5QXBwbGllZAAACEZsaXBWZXJ0aWNhbGx5AAAIRmxpcFZlcnRpY2FsbHlBcHBsaWVkAAABUm90YXRpb24AAAAAAAAAAAABWk9yZGVyAAAAAAAAAChAA0JvcmRlckNvbG9yAFUAAAAQQQD/AAAAEFIA4wAAABBHAOMAAAAQQgDjAAAAAVNjQQAAAAAAAADwPwFTY1IAAAAAwLGU6D8BU2NHAAAAAMCxlOg/AVNjQgAAAADAsZToPwAQQm9yZGVyVGhlbWVDb2xvcgAAAAAAAUJvcmRlclRpbnRBbmRTaGFkZQAAAAAAAAAAABBCb3JkZXJTY2hlbWVDb2xvcgAAAAAAAUJvcmRlclRoaWNrbmVzcwAAAAAAAADw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ADU3VtbWFyeVJlbmRlckluZm8AChcAAANGcmVlZm9ybVJlY3RhbmdsZQD8CAAABFZlcnRpY2VzAJsCAAADMAAsAAAAEEluZGV4MAAAAAAAEEluZGV4MQAAAAAAAVZhbHVlAAAAAKCVK15AAAMxACwAAAAQSW5kZXgwAAAAAAAQSW5kZXgxAAEAAAABVmFsdWUAAAAAoOyXREAAAzIALAAAABBJbmRleDAAAQAAABBJbmRleDEAAAAAAAFWYWx1ZQAAAACglSteQAADMwAsAAAAEEluZGV4MAABAAAAEEluZGV4MQABAAAAAVZhbHVlAAAAAGBInkdAAAM0ACwAAAAQSW5kZXgwAAIAAAAQSW5kZXgxAAAAAAABVmFsdWUAAAAAoJUrXkAAAzUALAAAABBJbmRleDAAAgAAABBJbmRleDEAAQAAAAFWYWx1ZQAAAAAgpKRKQAADNgAsAAAAEEluZGV4MAADAAAAEEluZGV4MQAAAAAAAVZhbHVlAAAAAAC4pHFAAAM3ACwAAAAQSW5kZXgwAAMAAAAQSW5kZXgxAAEAAAABVmFsdWUAAAAAIKSkSkAAAzgALAAAABBJbmRleDAABAAAABBJbmRleDEAAAAAAAFWYWx1ZQAAAAAAuPRxQAADOQAsAAAAEEluZGV4MAAEAAAAEEluZGV4MQABAAAAAVZhbHVlAAAAAGBInkdAAAMxMAAsAAAAEEluZGV4MAAFAAAAEEluZGV4MQAAAAAAAVZhbHVlAAAAAAC4pHFAAAMxMQAsAAAAEEluZGV4MAAFAAAAEEluZGV4MQABAAAAAVZhbHVlAAAAAKDsl0RAAAMxMgAsAAAAEEluZGV4MAAGAAAAEEluZGV4MQAAAAAAAVZhbHVlAAAAAKCVK15AAAMxMwAsAAAAEEluZGV4MAAGAAAAEEluZGV4MQABAAAAAVZhbHVlAAAAAKDsl0RAAAAFTWFuYWdlZElkABAAAAAEdv8kclA8xU+n3BFWs+XyYAhIYXNDaGFuZ2VzAAAIVXNlTmFtZUluc3RlYWRPZlRhZ0FzSWQAAAhTaGFwZVByZXZpb3VzbHlDcmVhdGVkAAADRmlsbENvbG9yAFUAAAAQQQD/AAAAEFIAQAAAABBHAGAAAAAQQgByAAAAAVNjQQAAAAAAAADwPwFTY1IAAAAAwP0/qj8BU2NHAAAAAEDK8b0/AVNjQgAAAAAA2onFP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EAAAAFYAAAAGIAAADnDwAAAAAAAAAAAABnaW4APwAAAAFMZWZ0AAAAAAAAAAAAAVRvcAAAAAAAAAAAAAFSaWdodAAAAAAAAAAAAAFCb3R0b20AAAAAAAAAAAAAAUhlaWdodAAAAADg3TIoQAFXaWR0aAAAAAAgpdNkQAFUb3AAAAAAoOyXREABTGVmdAAAAACglSteQAhGbGlwSG9yaXpvbnRhbGx5AAAIRmxpcEhvcml6b250YWxseUFwcGxpZWQAAAhGbGlwVmVydGljYWxseQAACEZsaXBWZXJ0aWNhbGx5QXBwbGllZAAAAVJvdGF0aW9uAAAAAAAAAAAAAVpPcmRlcgAAAAAAAABOQANCb3JkZXJDb2xvcgBVAAAAEEEA/wAAABBSAEAAAAAQRwBgAAAAEEIAcgAAAAFTY0EAAAAAAAAA8D8BU2NSAAAAAMD9P6o/AVNjRwAAAABAyvG9PwFTY0IAAAAAANqJxT8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QmFyU3R5bGVEYXRhACUAAAACQmFyU3R5bGVTaGFwZVR5cGUACQAAAFBlbnRhZ29uAAADTGFiZWwAzAYAAAVNYW5hZ2VkSWQAEAAAAASvSZK2QIIlSItmq1kZewI5CEhhc0NoYW5nZXMAAAhVc2VOYW1lSW5zdGVhZE9mVGFnQXNJZAAACFNoYXBlUHJldmlvdXNseUNyZWF0ZWQAAQNGaWxsQ29sb3IAVQAAABBBAP8AAAAQUgBAAAAAEEcAYAAAABBCAHIAAAABU2NBAAAAAAAAAPA/AVNjUgAAAADA/T+qPwFTY0cAAAAAQMrxvT8BU2NCAAAAAADaicU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QAHAAAADTigIsvMTQvMjAyNCAtIDUvMTcvMjAy4oCLNAACVGV4dEhvcml6b250YWxBbGlnbm1lbnQADgAAAG1zb0FuY2hvck5vbmUAAlBhcmFncmFwaEFsaWdubWVudAANAAAAbXNvQWxpZ25MZWZ0AAJUZXh0VmVydGljYWxBbGlnbm1lbnQAEAAAAG1zb0FuY2hvck1pZGRsZQADRm9udFN0eWxlAEABAAAQRm9udEJhY2tncm91bmQAAAAAAAhGb250Qm9sZAAAA0ZvbnRDb2xvcgBVAAAAEEEA/wAAABBSAP8AAAAQRwD/AAAAEEIA/wAAAAFTY0EAAAAAAAAA8D8BU2NSAAAAAAAAAPA/AVNjRwAAAAAAAADwPwFTY0IAAAAAAAAA8D8AEEZvbnRUaGVtZUNvbG9yAAAAAAABRm9udFRpbnRBbmRTaGFkZQAAAAAAAAAAABBGb250U2NoZW1lQ29sb3IAAAAAAAhGb250SXRhbGljAAACRm9udE5hbWUABgAAAEFyaWFsAAFGb250U2l6ZQAAAAAAAAAkQAhGb250U3RyaWtldGhyb3VnaAAACEZvbnRTdWJzY3JpcHQAAAhGb250U3VwZXJzY3JpcHQAAAhGb250VW5kZXJsaW5lAAAACFNpemVUb1RleHRXaWR0aAAACFNpemVUb1RleHRIZWlnaHQAAANUZXh0TWFyZ2luAD8AAAABTGVmdAAAAAAAAAAAAAFUb3AAAAAAAAAAAAABUmlnaHQAAAAAAAAAAAABQm90dG9tAAAAAAAAAAAAAAJEaXNwbGF5VGV4dAAcAAAANOKAiy8xNC8yMDI0IC0gNS8xNy8yMDLigIs0AAFIZWlnaHQAAAAAYN8LJ0ABV2lkdGgAAAAAwB51WEABVG9wAAAAAAApvERAAUxlZnQAAAAAoJUrX0AIRmxpcEhvcml6b250YWxseQAACEZsaXBIb3Jpem9udGFsbHlBcHBsaWVkAAAIRmxpcFZlcnRpY2FsbHkAAAhGbGlwVmVydGljYWxseUFwcGxpZWQAAAFSb3RhdGlvbgAAAAAAAAAAAAFaT3JkZXIAAAAAAACATk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Nvbm5lY3RvckxpbmUA4QYAAANTdGFydAAbAAAAAVgAAAAAoJUrXkABWQAAAACg7JdEQAADRW5kABsAAAABWAAAAACglSteQAFZAAAAAKDsl0RAAAJTdGFydEFycm93SGVhZAARAAAAbXNvQXJyb3doZWFkTm9uZQACRW5kQXJyb3dIZWFkABEAAABtc29BcnJvd2hlYWROb25lAAVNYW5hZ2VkSWQAEAAAAARB4HbSAoy0TaRp4PmgNeYsCEhhc0NoYW5nZXMAAAhVc2VOYW1lSW5zdGVhZE9mVGFnQXNJZAAACFNoYXBlUHJldmlvdXNseUNyZWF0ZWQAAA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A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AAAAAAABVG9wAAAAAKDsl0RAAUxlZnQAAAAAoJUrXkAIRmxpcEhvcml6b250YWxseQAACEZsaXBIb3Jpem9udGFsbHlBcHBsaWVkAAAIRmxpcFZlcnRpY2FsbHkAAAhGbGlwVmVydGljYWxseUFwcGxpZWQAAAFSb3RhdGlvbgAAAAAAAAAAAAFaT3JkZXIAAAAAAACATkADQm9yZGVyQ29sb3IAVQAAABBBAP8AAAAQUgBAAAAAEEcAYAAAABBCAHIAAAABU2NBAAAAAAAAAPA/AVNjUgAAAADA/T+qPwFTY0cAAAAAQMrxvT8BU2NCAAAAAADaicU/ABBCb3JkZXJUaGVtZUNvbG9yAAAAAAABQm9yZGVyVGludEFuZFNoYWRlAAAAAAAAAAAAEEJvcmRlclNjaGVtZUNvbG9yAAAAAAABQm9yZGVyVGhpY2tuZXNzAAAAAAAAAAAAAkxpbmVEYXNoU3R5bGUACgAAAExpbmVTb2xpZAABRmlyc3RMaW5lSW5kZW50AAAAAAAAAAAACEhiAAAABWEAAABjAAAA5w8AAAAAAAAAAAAAYW5naW5nUHVuY3R1YXRpb24AABBJbmRlbnRMZXZlbAAAAAAAAUxlZnRJbmRlbnQAAAAAAAAAAAAITGluZVJ1bGVBZnRlcgAACExpbmVSdWxlQmVmb3JlAAAITGluZVJ1bGVXaXRoaW4AAAFSaWdodEluZGVudAAAAAAAAAAAAAFTcGFjZUFmdGVyAAAAAAAAAAAAAVNwYWNlQmVmb3JlAAAAAAAAAAAAAVNwYWNlV2l0aGluAAAAAAAAAAAAAAACVGV4dEhvcml6b250YWxBbGlnbm1lbnQAAgAAADAAAAMxAOAiAgAQX2lkAAUAAAAEUm93cwDRugEAAzAAPWgAABBfaWQABgAAAARJdGVtcwCHHAAAAzAAfxwAAAJfdHlwZQBLAAAAZW1wb3dlci5DaGFydHMuRGF0YS5HYW50dC5DaHJvbm9sb2d5LkRhdGEuQmFyVGFza0RhdGEsIGVtcG93ZXIuQ2hhcnRzLkRhdGEAAkxhYmVsUG9zaXRpb24ABwAAAENlbnRlcgAISXNMYWJlbEluc2lkZUJvdW5kcwABA1N0eWxlAFsEAAABRGVmYXVsdEZvbnRTaXplAAAAAAAAACRAAUZvbnRTaXplAAAAAAAAACBAA0ZvbnRDb2xvcgBVAAAAEEEA/wAAABBSABAAAAAQRwA4AAAAEEIATwAAAAFTY0EAAAAAAAAA8D8BU2NSAAAAAOA2OXU/AVNjRwAAAACAZz+kPwFTY0IAAAAAYBcEtD8AEEZvbnRUaGVtZUNvbG9yAAAAAAAQRm9udFNjaGVtZUNvbG9yAAAAAAABRm9udFRpbnRBbmRTaGFkZQAAAAAAAAAAAANQYXR0ZXJuQ29sb3IAVQAAABBBAAAAAAAQUgAAAAAAEEcAAAAAABBCAAAAAAABU2NBAAAAAAAAAAAAAVNjUgAAAAAAAAAAAAFTY0cAAAAAAAAAAAABU2NCAAAAAAAAAAAAABBQYXR0ZXJuVGhlbWVDb2xvcgAAAAAAAVBhdHRlcm5UaW50QW5kU2hhZGUAAAAAAAAAAAADRGF0YVN0eWxlRm9udENvbG9yVmFsdWUAVQAAABBBAAAAAAAQUgAAAAAAEEcAAAAAABBCAAAAAAABU2NBAAAAAAAAAAAAAVNjUgAAAAAAAAAAAAFTY0cAAAAAAAAAAAABU2NCAAAAAAAAAAAAAAhEYXRhU3R5bGVGb250Q29sb3JIYXNWYWx1ZQAAAUhlaWdodAAAAADg3TIoQAJEYXNoU3R5bGUADQAAAG1zb0xpbmVTb2xpZAAISGFzV2lzaEZpbGxDb2xvcgAAA0ZpbGxDb2xvcgBVAAAAEEEA/wAAABBSAJkAAAAQRwDTAAAAEEIA8gAAAAFTY0EAAAAAAAAA8D8BU2NSAAAAACASY9Q/AVNjRwAAAACgUNjkPwFTY0IAAAAAwN1p7D8AEEZpbGxTY2hlbWVDb2xvcgAAAAAAEEZpbGxUaGVtZUNvbG9yAAAAAAABRmlsbFRpbnRBbmRTaGFkZQAAAAAAAAAAAANCb3JkZXJDb2xvcgBVAAAAEEEAAAAAABBSAAAAAAAQRwAAAAAAEEIAAAAAAAFTY0EAAAAAAAAAAAABU2NSAAAAAAAAAAAAAVNjRwAAAAAAAAAAAAFTY0IAAAAAAAAAAAAAEEJvcmRlclRoZW1lQ29sb3IAAAAAAAFCb3JkZXJUaW50QW5kU2hhZGUAAAAAAAAAAAAISXNGaWxsZWQAAQJQYXR0ZXJuABAAAABtc29QYXR0ZXJuTWl4ZWQAAlNoYXBlVHlwZQAOAAAAbXNvU2hhcGVNaXhlZAADTGFiZWxPZmZzZXQAQgAAAAFYAAAAAAAAAAAAAVkAAAAAAAAAAAABTGVuZ3RoAAAAAAAAAAAAAUxlbmd0aFNxdWFyZWQAAAAAAAAAAAAACElzRm9udEJvbGQAAAhJc0ZvbnRJdGFsaWMAAAhJc0ZvbnRVbmRlcmxpbmVkAAAITGFiZWxIYXNCYWNrZ3JvdW5kAAACVGV4dEFsaWdubWVudAAFAAAATGVmdAAACERpc3BsYXlMYWJlbAABA1JlbmRlckluZm8A/RYAAANSZWN0YW5nbGVGcmVlZm9ybQD8CAAABFZlcnRpY2VzAJsCAAADMAAsAAAAEEluZGV4MAAAAAAAEEluZGV4MQAAAAAAAVZhbHVlAAAAAAC49HFAAAMxACwAAAAQSW5kZXgwAAAAAAAQSW5kZXgxAAEAAAABVmFsdWUAAAAAwJGoYUAAAzIALAAAABBJbmRleDAAAQAAABBJbmRleDEAAAAAAAFWYWx1ZQAAAAAAuPRxQAADMwAsAAAAEEluZGV4MAABAAAAEEluZGV4MQABAAAAAVZhbHVlAAAAAKAoamJAAAM0ACwAAAAQSW5kZXgwAAIAAAAQSW5kZXgxAAAAAAABVmFsdWUAAAAAALj0cUAAAzUALAAAABBJbmRleDAAAgAAABBJbmRleDEAAQAAAAFWYWx1ZQAAAACgvytjQAADNgAsAAAAEEluZGV4MAADAAAAEEluZGV4MQAAAAAAAVZhbHVlAAAAAACW83dAAAM3ACwAAAAQSW5kZXgwAAMAAAAQSW5kZXgxAAEAAAABVmFsdWUAAAAAoL8rY0AAAzgALAAAABBJbmRleDAABAAAABBJbmRleDEAAAAAAAFWYWx1ZQAAAAAAlvN3QAADOQAsAAAAEEluZGV4MAAEAAAAEEluZGV4MQABAAAAAVZhbHVlAAAAAKAoamJAAAMxMAAsAAAAEEluZGV4MAAFAAAAEEluZGV4MQAAAAAAAVZhbHVlAAAAAACW83dAAAMxMQAsAAAAEEluZGV4MAAFAAAAEEluZGV4MQABAAAAAVZhbHVlAAAAAMCRqGFAAAMxMgAsAAAAEEluZGV4MAAGAAAAEEluZGV4MQAAAAAAAVZhbHVlAAAAAAC49HFAAAMxMwAsAAAAEEluZGV4MAAGAAAAEEluZGV4MQABAAAAAVZhbHVlAAAAAMCRqGFAAAAFTWFuYWdlZElkABAAAAAEcUO/+b/hWU6lfvp0IyQO6QhIYXNDaGFuZ2VzAAAIVXNlTmFtZUluc3RlYWRPZlRhZ0FzSWQAAAhTaGFwZVByZXZpb3VzbHlDcmVhdGVkAAADRmlsbENvbG9yAFUAAAAQQQD/AAAAEFIAmQAAABBHANMAAAAQQgDyAAAAAVNjQQAAAAAAAADwPwFTY1IAAAAAIBJj1D8BU2NHAAAAAKBQ2OQ/AVNjQgAAAADA3WnsP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ODdMihAAVdpZHRoAAAAAEB4+1dAAVRvcAAAAADAkahhQAFMZWZ0AAAAAAC49HFACEZsaXBIb3Jpem9udGFsbHkAAAhGbGlwSG9yaXpvbnRhbGx5QXBwbGllZAAACEZsaXBWZXJ0aWNhbGx5AAAIRmxpcFZlcnRpY2FsbHlBcHBsaWVkAAABUm90YXRpb24AAAAAAAAAAAABWk9yZGVyAAAAAAAAgFFAA0JvcmRlckNvbG9yAFUAAAAQQQD/AAAAEFIA/wAAABBHAP8AAAAQQgD/AAAAAVNjQQAAAAAAAADwPwFTY1IAAAAAAAAA8D8BU2NHAAAAAAAAAPA/AVNjQgAAAAAAAADwPwAQQm9yZGVyVGhlbWVDb2xvcgAAAAAAAUJvcmRlclRpbnRBbmRTaGFkZQAAAAAAAAAAABBCb3JkZXJTY2hlbWVDb2xvcgAAAAAAAUJvcmRlclRoaWNrbmVzcwAAAAAAAADw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CYXJTdHlsZURhdGEAJgAAAAJCYXJTdHlsZVNoYXBlVHlwZQAKAAAAUmVjdGFuZ2xlAAADTGFiZWwAugYAAAVNYW5hZ2VkSWQAEAAAAATjvni6D0sKRbHUESpJdl7vCEhhc0NoYW5nZXMAAAhVc2VOYW1lSW5zdGVhZE9mVGFnQXNJZAAACFNoYXBlUHJldmlvdXNseUNyZWF0ZWQAAQNGaWxsQ29sb3IAVQAAABBBAP8AAAAQYwAAAAViAAAAZAAAAOcPAAAAAAAAAAAAAFIAmQAAABBHANMAAAAQQgDyAAAAAVNjQQAAAAAAAADwPwFTY1IAAAAAIBJj1D8BU2NHAAAAAKBQ2OQ/AVNjQgAAAADA3WnsP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ABIAAABGYXNlIDEgRGVzYXJyb2xsbwACVGV4dEhvcml6b250YWxBbGlnbm1lbnQADgAAAG1zb0FuY2hvck5vbmUAAlBhcmFncmFwaEFsaWdubWVudAAPAAAAbXNvQWxpZ25DZW50ZXIAAlRleHRWZXJ0aWNhbEFsaWdubWVudAAQAAAAbXNvQW5jaG9yTWlkZGxlAANGb250U3R5bGUAQAEAABBGb250QmFja2dyb3VuZAAAAAAACEZvbnRCb2xkAAADRm9udENvbG9yAFUAAAAQQQD/AAAAEFIAEAAAABBHADgAAAAQQgBPAAAAAVNjQQAAAAAAAADwPwFTY1IAAAAA4DY5dT8BU2NHAAAAAIBnP6Q/AVNjQgAAAABgFwS0PwAQRm9udFRoZW1lQ29sb3IAAAAAAAFGb250VGludEFuZFNoYWRlAAAAAAAAAAAAEEZvbnRTY2hlbWVDb2xvcgAAAAAACEZvbnRJdGFsaWMAAAJGb250TmFtZQAGAAAAQXJpYWwAAUZvbnRTaXplAAAAAAAAACBACEZvbnRTdHJpa2V0aHJvdWdoAAAIRm9udFN1YnNjcmlwdAAACEZvbnRTdXBlcnNjcmlwdAAACEZvbnRVbmRlcmxpbmUAAAAIU2l6ZVRvVGV4dFdpZHRoAAAIU2l6ZVRvVGV4dEhlaWdodAAAA1RleHRNYXJnaW4APwAAAAFMZWZ0AAAAAAAAAAAAAVRvcAAAAAAAAAAAAAFSaWdodAAAAAAAAAAAAAFCb3R0b20AAAAAAAAAAAAAAkRpc3BsYXlUZXh0ABIAAABGYXNlIDEgRGVzYXJyb2xsbwABSGVpZ2h0AAAAAAAWXCNAAVdpZHRoAAAAAIDr0U9AAVRvcAAAAAAASM9hQAFMZWZ0AAAAAGAI93JACEZsaXBIb3Jpem9udGFsbHkAAAhGbGlwSG9yaXpvbnRhbGx5QXBwbGllZAAACEZsaXBWZXJ0aWNhbGx5AAAIRmxpcFZlcnRpY2FsbHlBcHBsaWVkAAABUm90YXRpb24AAAAAAAAAAAABWk9yZGVyAAAAAAAAAFJ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Db25uZWN0b3JMaW5lRGF0YQDhBgAAA1N0YXJ0ABsAAAABWAAAAAAAuPRxQAFZAAAAAMCRqGFAAANFbmQAGwAAAAFYAAAAAAC49HFAAVkAAAAAwJGoYUAAAlN0YXJ0QXJyb3dIZWFkABEAAABtc29BcnJvd2hlYWROb25lAAJFbmRBcnJvd0hlYWQAEQAAAG1zb0Fycm93aGVhZE5vbmUABU1hbmFnZWRJZAAQAAAABI1rnNr2HrxPiTtSPb0KcmAISGFzQ2hhbmdlcwAACFVzZU5hbWVJbnN0ZWFkT2ZUYWdBc0lkAAAIU2hhcGVQcmV2aW91c2x5Q3JlYXRlZAAA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A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AAAAAAAAFUb3AAAAAAwJGoYUABTGVmdAAAAAAAuPRxQAhGbGlwSG9yaXpvbnRhbGx5AAAIRmxpcEhvcml6b250YWxseUFwcGxpZWQAAAhGbGlwVmVydGljYWxseQAACEZsaXBWZXJ0aWNhbGx5QXBwbGllZAAAAVJvdGF0aW9uAAAAAAAAAAAAAVpPcmRlcgAAAAAAAMBRQANCb3JkZXJDb2xvcgBVAAAAEEEA/wAAABBSAJkAAAAQRwDTAAAAEEIA8gAAAAFTY0EAAAAAAAAA8D8BU2NSAAAAACASY9Q/AVNjRwAAAACgUNjkPwFTY0IAAAAAwN1p7D8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ACUVuZFRpbWUAAJv75o8BAAAQSW5kZXgAAQAAAAJEZXNjcmlwdGlvbgASAAAARmFzZSAxIERlc2Fycm9sbG8AAk5hbWUABQAAAFRhc2sACElzTGVhZGVyTGluZUluQXV0b01vZGUAAQlTdGFydFRpbWUAACNJio8BAAAAAAJOYW1lAAkAAABTcHJpbnQgMQAISXNIaWdobGlnaHRlZAAACElzU2VwYXJhdG9yTGluZVZpc2libGUAAQNTdHlsZQB0BAAAAURlZmF1bHRGb250U2l6ZQAAAAAAAAAkQAFGb250U2l6ZQAAAAAAAAAkQANGb250Q29sb3IAVQAAABBBAP8AAAAQUgAQAAAAEEcAOAAAABBCAE8AAAABU2NBAAAAAAAAAPA/AVNjUgAAAADgNjl1PwFTY0cAAAAAgGc/pD8BU2NCAAAAAGAXBLQ/ABBGb250VGhlbWVDb2xvcgAAAAAAEEZvbnRTY2hlbWVDb2xvcgAAAAAAAUZvbnRUaW50QW5kU2hhZGUAAAAAAAAAAAADUGF0dGVybkNvbG9yAFUAAAAQQQAAAAAAEFIAAAAAABBHAAAAAAAQQgAAAAAAAVNjQQAAAAAAAAAAAAFTY1IAAAAAAAAAAAABU2NHAAAAAAAAAAAAAVNjQgAAAAAAAAAAAAAQUGF0dGVyblRoZW1lQ29sb3IAAAAAAAFQYXR0ZXJuVGludEFuZFNoYWRlAAAAAAAAAAAAA0RhdGFTdHlsZUZvbnRDb2xvclZhbHVlAFUAAAAQQQD/AAAAEFIAEAAAABBHADgAAAAQQgBPAAAAAVNjQQAAAAAAAADwPwFTY1IAAAAA4DY5dT8BU2NHAAAAAIBnP6Q/AVNjQgAAAABgFwS0PwAIRGF0YVN0eWxlRm9udENvbG9ySGFzVmFsdWUAAWQAAAAFYwAAAGUAAADnDwAAAAAAAAAAAAABSGVpZ2h0AAAAAAAAAAAAAkRhc2hTdHlsZQANAAAAbXNvTGluZVNvbGlkAAhIYXNXaXNoRmlsbENvbG9yAAEDRmlsbENvbG9yAFUAAAAQQQAAAAAAEFIA/wAAABBHAP8AAAAQQgD/AAAAAVNjQQAAAAAAAAAAAAFTY1IAAAAAAAAA8D8BU2NHAAAAAAAAAPA/AVNjQgAAAAAAAADwPwAQRmlsbFNjaGVtZUNvbG9yAAAAAAAQRmlsbFRoZW1lQ29sb3IAAAAAAAFGaWxsVGludEFuZFNoYWRlAAAAAAAAAAAAA0JvcmRlckNvbG9yAFUAAAAQQQD/AAAAEFIA4wAAABBHAOMAAAAQQgDjAAAAAVNjQQAAAAAAAADwPwFTY1IAAAAAwLGU6D8BU2NHAAAAAMCxlOg/AVNjQgAAAADAsZToPwAQQm9yZGVyVGhlbWVDb2xvcgAAAAAAAUJvcmRlclRpbnRBbmRTaGFkZQAAAAAAAAAAAAhJc0ZpbGxlZAABAlBhdHRlcm4AEAAAAG1zb1BhdHRlcm5NaXhlZAACU2hhcGVUeXBlAA4AAABtc29TaGFwZU1peGVkAANMYWJlbE9mZnNldABCAAAAAVgAAAAAAAAAAAABWQAAAAAAAAAAAAFMZW5ndGgAAAAAAAAAAAABTGVuZ3RoU3F1YXJlZAAAAAAAAAAAAAABQm9yZGVyVGhpY2tuZXNzAAAAAAAAAPA/CElzRm9udEJvbGQAAAhJc0ZvbnRJdGFsaWMAAAhJc0ZvbnRVbmRlcmxpbmVkAAAITGFiZWxIYXNCYWNrZ3JvdW5kAAACVGV4dEFsaWdubWVudAAFAAAATGVmdAAAAVJvd1RvcAC3GhXZ1dlgQAFSb3dIZWlnaHQAbjUqMi0FOUADTGVmdE5vdGVzAMcEAAADVGV4dFN0eWxlAFsEAAABRGVmYXVsdEZvbnRTaXplAAAAAAAAACRAAUZvbnRTaXplAAAAAAAAACRAA0ZvbnRDb2xvcgBVAAAAEEEA/wAAABBSABAAAAAQRwA4AAAAEEIATwAAAAFTY0EAAAAAAAAA8D8BU2NSAAAAAOA2OXU/AVNjRwAAAACAZz+kPwFTY0IAAAAAYBcEtD8AEEZvbnRUaGVtZUNvbG9yAAAAAAAQRm9udFNjaGVtZUNvbG9yAAAAAAABRm9udFRpbnRBbmRTaGFkZQAAAAAAAAAAAANQYXR0ZXJuQ29sb3IAVQAAABBBAAAAAAAQUgAAAAAAEEcAAAAAABBCAAAAAAABU2NBAAAAAAAAAAAAAVNjUgAAAAAAAAAAAAFTY0cAAAAAAAAAAAABU2NCAAAAAAAAAAAAABBQYXR0ZXJuVGhlbWVDb2xvcgAAAAAAAVBhdHRlcm5UaW50QW5kU2hhZGUAAAAAAAAAAAADRGF0YVN0eWxlRm9udENvbG9yVmFsdWUAVQAAABBBAP8AAAAQUgAQAAAAEEcAOAAAABBCAE8AAAABU2NBAAAAAAAAAPA/AVNjUgAAAADgNjl1PwFTY0cAAAAAgGc/pD8BU2NCAAAAAGAXBLQ/AAhEYXRhU3R5bGVGb250Q29sb3JIYXNWYWx1ZQABAUhlaWdodAAAAAAAAAAAAAJEYXNoU3R5bGUADQAAAG1zb0xpbmVTb2xpZAAISGFzV2lzaEZpbGxDb2xvcgAAA0ZpbGxDb2xvcgBVAAAAEEEA/wAAABBSAAAAAAAQRwAAAAAAEEIAAAAAAAFTY0EAAAAAAAAA8D8BU2NSAAAAAAAAAAAAAVNjRwAAAAAAAAAAAAFTY0IAAAAAAAAAAAAAEEZpbGxTY2hlbWVDb2xvcgAAAAAAEEZpbGxUaGVtZUNvbG9yAAAAAAABRmlsbFRpbnRBbmRTaGFkZQAAAAAAAAAAAANCb3JkZXJDb2xvcgBVAAAAEEEAAAAAABBSAAAAAAAQRwAAAAAAEEIAAAAAAAFTY0EAAAAAAAAAAAABU2NSAAAAAAAAAAAAAVNjRwAAAAAAAAAAAAFTY0IAAAAAAAAAAAAAEEJvcmRlclRoZW1lQ29sb3IAAAAAAAFCb3JkZXJUaW50QW5kU2hhZGUAAAAAAAAAAAAISXNGaWxsZWQAAQJQYXR0ZXJuABAAAABtc29QYXR0ZXJuTWl4ZWQAAlNoYXBlVHlwZQAOAAAAbXNvU2hhcGVNaXhlZAADTGFiZWxPZmZzZXQAQgAAAAFYAAAAAAAAAAAAAVkAAAAAAAAAAAABTGVuZ3RoAAAAAAAAAAAAAUxlbmd0aFNxdWFyZWQAAAAAAAAAAAAACElzRm9udEJvbGQAAAhJc0ZvbnRJdGFsaWMAAAhJc0ZvbnRVbmRlcmxpbmVkAAAITGFiZWxIYXNCYWNrZ3JvdW5kAAACVGV4dEFsaWdubWVudAAFAAAATGVmdAAACEhhcnZleUJhbGxWaXNpYmxlAAEQSGFydmV5QmFsbFZhbHVlAAAAAAACQ2hlY2tCb3hTdGF0ZQAFAAAATm9uZQACVHJhZmZpY0xpZ2h0U3RhdGUABAAAAE9mZgAAA1JpZ2h0Tm90ZXMAxwQAAANUZXh0U3R5bGUAWwQAAAFEZWZhdWx0Rm9udFNpemUAAAAAAAAAJEABRm9udFNpemUAAAAAAAAAJEADRm9udENvbG9yAFUAAAAQQQD/AAAAEFIAEAAAABBHADgAAAAQQgBPAAAAAVNjQQAAAAAAAADwPwFTY1IAAAAA4DY5dT8BU2NHAAAAAIBnP6Q/AVNjQgAAAABgFwS0PwAQRm9udFRoZW1lQ29sb3IAAAAAABBGb250U2NoZW1lQ29sb3IAAAAAAAFGb250VGludEFuZFNoYWRlAAAAAAAAAAAAA1BhdHRlcm5Db2xvcgBVAAAAEEEAAAAAABBSAAAAAAAQRwAAAAAAEEIAAAAAAAFTY0EAAAAAAAAAAAABU2NSAAAAAAAAAAAAAVNjRwAAAAAAAAAAAAFTY0IAAAAAAAAAAAAAEFBhdHRlcm5UaGVtZUNvbG9yAAAAAAABUGF0dGVyblRpbnRBbmRTaGFkZQAAAAAAAAAAAANEYXRhU3R5bGVGb250Q29sb3JWYWx1ZQBVAAAAEEEA/wAAABBSABAAAAAQRwA4AAAAEEIATwAAAAFTY0EAAAAAAAAA8D8BU2NSAAAAAOA2OXU/AVNjRwAAAACAZz+kPwFTY0IAAAAAYBcEtD8ACERhdGFTdHlsZUZvbnRDb2xvckhhc1ZhbHVlAAEBSGVpZ2h0AAAAAAAAAAAAAkRhc2hTdHlsZQANAAAAbXNvTGluZVNvbGlkAAhIYXNXaXNoRmlsbENvbG9yAAADRmlsbENvbG9yAFUAAAAQQQD/AAAAEFIAAAAAABBHAAAAAAAQQgAAAAAAAVNjQQAAAAAAAADwPwFTY1IAAAAAAAAAAAABU2NHAAAAAAAAAAAAAVNjQgAAAAAAAAAAAAAQRmlsbFNjaGVtZUNvbG9yAAAAAAAQRmlsbFRoZW1lQ29sb3IAAAAAAAFGaWxsVGludEFuZFNoYWRlAAAAAAAAAAAAA0JvcmRlckNvbG9yAFUAAAAQQQAAAAAAEFIAAAAAABBHAAAAAAAQQgAAAAAAAVNjQQAAAAAAAAAAAAFTY1IAAAAAAAAAAAABU2NHAAAAAAAAAAAAAVNjQgAAAAAAAAAAAAAQQm9yZGVyVGhlbWVDb2xvcgAAAAAAAUJvcmRlclRpbnRBbmRTaGFkZQAAAAAAAAAAAAhJc0ZpbGxlZAABAlBhdHRlcm4AEAAAAG1zb1BhdHRlcm5NaXhlZAACU2hhcGVUeXBlAA4AAABtc29TaGFwZU1peGVkAANMYWJlbE9mZnNldABCAAAAAVgAAAAAAAAAAAABWQAAAAAAAAAAAAFMZW5ndGgAAAAAAAAAAAABTGVuZ3RoU3F1YXJlZAAAAAAAAAAAAAAISXNGb250Qm9sZAAACElzRm9udEl0YWxpYwAACElzRm9udFVuZGVybGluZWQAAAhMYWJlbEhhc0JhY2tncm91bmQAAAJUZXh0QWxpZ25tZW50AAUAAABMZWZ0AAAISGFydmV5QmFsbFZpc2libGUAARBIYXJ2ZXlCYWxsVmFsdWUAAAAAAAJDaGVja0JveFN0YXRlAAUAAABOb25lAAJUcmFmZmljTGlnaHRTdGF0ZQAEAAAAT2ZmAAADTGVmdE5vdGVzUmVuZGVySW5mbwBhFAAAA0xhYmVsAHQGAAAFTWFuYWdlZElkABAAAAAEN+1r+1FkGEqHomb9ZZ7njwhIYXNDaGFuZ2VzAAEIVXNlTmFtZUluc3RlYWRPZlRhZ0FzSWQAAAhTaGFwZVByZXZpb3VzbHlDcmVhdGVkAAA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AJGaWxsUGF0dGVybgAQAAAAbXNvUGF0dGVybk1peGVkAAJUZXh0AAEAAAA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lAAAABWQAAABmAAAA5w8AAAAAAAAAAAAAbGluZQAAAAhTaXplVG9UZXh0V2lkdGgAAAhTaXplVG9UZXh0SGVpZ2h0AAADVGV4dE1hcmdpbgA/AAAAAUxlZnQAAAAAAAAAAAABVG9wAAAAAAAAAAAAAVJpZ2h0AAAAAAAAAAAAAUJvdHRvbQAAAAAAAAAAAAACRGlzcGxheVRleHQAAQAAAAABSGVpZ2h0AAAAAAAAAPA/AVdpZHRoAAAAAAAAAPA/AVRvcAAAAAAAjJZxQAFMZWZ0AAAAAEBl9o1ACEZsaXBIb3Jpem9udGFsbHkAAAhGbGlwSG9yaXpvbnRhbGx5QXBwbGllZAAACEZsaXBWZXJ0aWNhbGx5AAAIRmxpcFZlcnRpY2FsbHlBcHBsaWVkAAABUm90YXRpb24AAAAAAAAAAAABWk9yZGVyAAAAAAAAAAA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TZXBhcmF0b3JMaW5lAOEGAAADU3RhcnQAGwAAAAFYAM3MzBYy841AAVkAAAAAgHvqY0AAA0VuZAAbAAAAAVgAMzMzfZj5jUABWQAAAACAe+pjQAACU3RhcnRBcnJvd0hlYWQAEQAAAG1zb0Fycm93aGVhZE5vbmUAAkVuZEFycm93SGVhZAARAAAAbXNvQXJyb3doZWFkTm9uZQAFTWFuYWdlZElkABAAAAAEa3r2YszT3UWpq2RUtO112AhIYXNDaGFuZ2VzAAEIVXNlTmFtZUluc3RlYWRPZlRhZ0FzSWQAAAhTaGFwZVByZXZpb3VzbHlDcmVhdGVkAAA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AAAAAAAAVdpZHRoAAAAAKCZmek/AVRvcAAAAACAe+pjQAFMZWZ0AAAAACAy841ACEZsaXBIb3Jpem9udGFsbHkAAAhGbGlwSG9yaXpvbnRhbGx5QXBwbGllZAAACEZsaXBWZXJ0aWNhbGx5AAAIRmxpcFZlcnRpY2FsbHlBcHBsaWVkAAABUm90YXRpb24AAAAAAAAAAAABWk9yZGVyAAAAAAAAgFVAA0JvcmRlckNvbG9yAFUAAAAQQQD/AAAAEFIA4wAAABBHAOMAAAAQQgDjAAAAAVNjQQAAAAAAAADwPwFTY1IAAAAAwLGU6D8BU2NHAAAAAMCxlOg/AVNjQgAAAADAsZToPwAQQm9yZGVyVGhlbWVDb2xvcgAAAAAAAUJvcmRlclRpbnRBbmRTaGFkZQAAAAAAAAAAABBCb3JkZXJTY2hlbWVDb2xvcgAAAAAAAUJvcmRlclRoaWNrbmVzcwAAAAAAAADw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SZWN0YW5nbGUAdAYAAAJBdXRvU2hhcGVUeXBlAAoAAABSZWN0YW5nbGUABU1hbmFnZWRJZAAQAAAABFYvmcKv7tBPkEI2OP2NlV8ISGFzQ2hhbmdlcwABCFVzZU5hbWVJbnN0ZWFkT2ZUYWdBc0lkAAAIU2hhcGVQcmV2aW91c2x5Q3JlYXRlZAAAA0ZpbGxDb2xvcgBVAAAAEEEAAAAAABBSAP8AAAAQRwD/AAAAEEIA/wAAAAFTY0EAAAAAAAAAAAABU2NSAAAAAAAAAPA/AVNjRwAAAAAAAADwPwFTY0IAAAAAAAAA8D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A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BALQU4QAFXaWR0aAAAAAAAAAAAAAFUb3AAAAAA4NXpYEABTGVmdAAAAABAZe6NQAhGbGlwSG9yaXpvbnRhbGx5AAAIRmxpcEhvcml6b250YWxseUFwcGxpZWQAAAhGbGlwVmVydGljYWxseQAACEZsaXBWZXJ0aWNhbGx5QXBwbGllZAAAAVJvdGF0aW9uAAAAAAAAAAAAAVpPcmRlcgAAAAAAAEBV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ZgAAAAVlAAAAZwAAAOcPAAAAAAAAAAAAAEFmdGVyAAAITGluZVJ1bGVCZWZvcmUAAAhMaW5lUnVsZVdpdGhpbgAAAVJpZ2h0SW5kZW50AAAAAAAAAAAAAVNwYWNlQWZ0ZXIAAAAAAAAAAAABU3BhY2VCZWZvcmUAAAAAAAAAAAABU3BhY2VXaXRoaW4AAAAAAAAAAAAABFRyYWZmaWNMaWdodERhdGEABQAAAAAESGFydmV5QmFsbERhdGEABQAAAAACVHJhZmZpY0xpZ2h0U3RhdGUABAAAAE9mZgAEQ2hlY2tCb3hEYXRhAAUAAAAAAkNoZWNrQm94U3RhdGUABQAAAE5vbmUAAANSaWdodE5vdGVzUmVuZGVySW5mbwBhFAAAA0xhYmVsAHQGAAAFTWFuYWdlZElkABAAAAAE8sEqcOX2eEO4+lwjarQK3QhIYXNDaGFuZ2VzAAEIVXNlTmFtZUluc3RlYWRPZlRhZ0FzSWQAAAhTaGFwZVByZXZpb3VzbHlDcmVhdGVkAAA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AJGaWxsUGF0dGVybgAQAAAAbXNvUGF0dGVybk1peGVkAAJUZXh0AAEAAAA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JEaXNwbGF5VGV4dAABAAAAAAFIZWlnaHQAAAAAAAAA8D8BV2lkdGgAAAAAAAAA8D8BVG9wAAAAAACMlnFAAUxlZnQAAAAAQGX2jU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NlcGFyYXRvckxpbmUA4QYAAANTdGFydAAbAAAAAVgAzczMFjLzjUABWQAAAACAe+pjQAADRW5kABsAAAABWAAzMzN9mPmNQAFZAAAAAIB76mNAAAJTdGFydEFycm93SGVhZAARAAAAbXNvQXJyb3doZWFkTm9uZQACRW5kQXJyb3dIZWFkABEAAABtc29BcnJvd2hlYWROb25lAAVNYW5hZ2VkSWQAEAAAAAQeEvmxU/FcS4Mzgzx5XJhSCEhhc0NoYW5nZXMAAQhVc2VOYW1lSW5zdGVhZE9mVGFnQXNJZAAACFNoYXBlUHJldmlvdXNseUNyZWF0ZWQAAA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oJmZ6T8BVG9wAAAAAIB76mNAAUxlZnQAAAAAIDLzjUAIRmxpcEhvcml6b250YWxseQAACEZsaXBIb3Jpem9udGFsbHlBcHBsaWVkAAAIRmxpcFZlcnRpY2FsbHkAAAhGbGlwVmVydGljYWxseUFwcGxpZWQAAAFSb3RhdGlvbgAAAAAAAAAAAAFaT3JkZXIAAAAAAACAVUADQm9yZGVyQ29sb3IAVQAAABBBAP8AAAAQUgDjAAAAEEcA4wAAABBCAOMAAAABU2NBAAAAAAAAAPA/AVNjUgAAAADAsZToPwFTY0cAAAAAwLGU6D8BU2NCAAAAAMCxlOg/ABBCb3JkZXJUaGVtZUNvbG9yAAAAAAABQm9yZGVyVGludEFuZFNoYWRlAAAAAAAAAAAAEEJvcmRlclNjaGVtZUNvbG9yAAAAAAABQm9yZGVyVGhpY2tuZXNzAAAAAAAAAPA/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JlY3RhbmdsZQB0BgAAAkF1dG9TaGFwZVR5cGUACgAAAFJlY3RhbmdsZQAFTWFuYWdlZElkABAAAAAEENBmqU3TPEaalMVj9uFPbghIYXNDaGFuZ2VzAAEIVXNlTmFtZUluc3RlYWRPZlRhZ0FzSWQAAAhTaGFwZVByZXZpb3VzbHlDcmVhdGVkAAADRmlsbENvbG9yAFUAAAAQQQAAAAAAEFIA/wAAABBHAP8AAAAQQgD/AAAAAVNjQQAAAAAAAAAAAAFTY1IAAAAAAAAA8D8BU2NHAAAAAAAAAPA/AVNjQgAAAAAAAADwPwAQRmlsbFRoZW1lQ29sb3IAAAAAAAFGaWxsVGludEFuZFNoYWRlAAAAAAAAAAAAEEZpbGxTY2hlbWVDb2xvcgAAAAAAA1BhdHRlcm5Db2xvcgBVAAAAEEEAAAAAABBSAAAAAAAQRwAAAAAAEEIAAAAAAAFTY0EAAAAAAAAAAAABU2NSAAAAAGcAAAAFZgAAAGgAAADnDwAAAAAAAAAAAAAAAAAAAAFTY0cAAAAAAAAAAAABU2NCAAAAAAAAAAAAABBQYXR0ZXJuVGhlbWVDb2xvcgAAAAAAAVBhdHRlcm5UaW50QW5kU2hhZGUAAAAAAAAAAAAIRmlsbFZpc2libGUAAQhWaXNpYmxlAAA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BALQU4QAFXaWR0aAAAAAAAAAAAAAFUb3AAAAAA4NXpYEABTGVmdAAAAABAZe6NQAhGbGlwSG9yaXpvbnRhbGx5AAAIRmxpcEhvcml6b250YWxseUFwcGxpZWQAAAhGbGlwVmVydGljYWxseQAACEZsaXBWZXJ0aWNhbGx5QXBwbGllZAAAAVJvdGF0aW9uAAAAAAAAAAAAAVpPcmRlcgAAAAAAAEBV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EVHJhZmZpY0xpZ2h0RGF0YQAFAAAAAARIYXJ2ZXlCYWxsRGF0YQAFAAAAAAJUcmFmZmljTGlnaHRTdGF0ZQAEAAAAT2ZmAARDaGVja0JveERhdGEABQAAAAACQ2hlY2tCb3hTdGF0ZQAFAAAATm9uZQAAA0xlZnRTaWRlUmVuZGVySW5mbwAhFAAAA0xhYmVsAKYGAAAFTWFuYWdlZElkABAAAAAEuqcunMzdtUiFfamDEbQxPQhIYXNDaGFuZ2VzAAAIVXNlTmFtZUluc3RlYWRPZlRhZ0FzSWQAAAhTaGFwZVByZXZpb3VzbHlDcmVhdGVkAAE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AAkAAABTcHJpbnQgMQACVGV4dEhvcml6b250YWxBbGlnbm1lbnQADgAAAG1zb0FuY2hvck5vbmUAAlBhcmFncmFwaEFsaWdubWVudAANAAAAbXNvQWxpZ25MZWZ0AAJUZXh0VmVydGljYWxBbGlnbm1lbnQAEAAAAG1zb0FuY2hvck1pZGRsZQADRm9udFN0eWxlAEABAAAQRm9udEJhY2tncm91bmQAAAAAAAhGb250Qm9sZAAAA0ZvbnRDb2xvcgBVAAAAEEEA/wAAABBSABAAAAAQRwA4AAAAEEIATwAAAAFTY0EAAAAAAAAA8D8BU2NSAAAAAOA2OXU/AVNjRwAAAACAZz+kPwFTY0IAAAAAYBcEtD8AEEZvbnRUaGVtZUNvbG9yAAAAAAABRm9udFRpbnRBbmRTaGFkZQAAAAAAAAAAABBGb250U2NoZW1lQ29sb3IAAAAAAAhGb250SXRhbGljAAACRm9udE5hbWUABgAAAEFyaWFsAAFGb250U2l6ZQAAAAAAAAAkQAhGb250U3RyaWtldGhyb3VnaAAACEZvbnRTdWJzY3JpcHQAAAhGb250U3VwZXJzY3JpcHQAAAhGb250VW5kZXJsaW5lAAAACFNpemVUb1RleHRXaWR0aAAACFNpemVUb1RleHRIZWlnaHQAAANUZXh0TWFyZ2luAD8AAAABTGVmdAAAAAAAAAAAAAFUb3AAAAAAAAAAAAABUmlnaHQAAAAAAAAAAAABQm90dG9tAAAAAAAAAAAAAAJEaXNwbGF5VGV4dAAJAAAAU3ByaW50IDEAAUhlaWdodAAAAABg3wsnQAFXaWR0aAAAAAAAdHpDQAFUb3AAAAAAwMmxYUABTGVmdAAAAABASVw3QAhGbGlwSG9yaXpvbnRhbGx5AAAIRmxpcEhvcml6b250YWxseUFwcGxpZWQAAAhGbGlwVmVydGljYWxseQAACEZsaXBWZXJ0aWNhbGx5QXBwbGllZAAAAVJvdGF0aW9uAAAAAAAAAAAAAVpPcmRlcgAAAAAAAAA+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mVjdGFuZ2xlAHQGAAACQXV0b1NoYXBlVHlwZQAKAAAAUmVjdGFuZ2xlAAVNYW5hZ2VkSWQAEAAAAAT+iJ/6LXymTrHGFPpJ2nXdCEhhc0NoYW5nZXMAAAhVc2VOYW1lSW5zdGVhZE9mVGFnQXNJZAAACFNoYXBlUHJldmlvdXNseUNyZWF0ZWQAAANGaWxsQ29sb3IAVQAAABBBAAAAAAAQUgD/AAAAEEcA/wAAABBCAP8AAAABU2NBAAAAAAAAAAAAAVNjUgAAAAAAAADwPwFTY0cAAAAAAAAA8D8BU2NCAAAAAAAAAPA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A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BoAAAABWcAAABpAAAA5w8AAAAAAAAAAAAAAAhTaXplVG9UZXh0V2lkdGgAAAhTaXplVG9UZXh0SGVpZ2h0AAADVGV4dE1hcmdpbgA/AAAAAUxlZnQAAAAAAAAAAAABVG9wAAAAAAAAAAAAAVJpZ2h0AAAAAAAAAAAAAUJvdHRvbQAAAAAAAAAAAAABSGVpZ2h0AAAAAEAtBThAAVdpZHRoAAAAAACD241AAVRvcAAAAADg1elgQAFMZWZ0AAAAAABK4gpACEZsaXBIb3Jpem9udGFsbHkAAAhGbGlwSG9yaXpvbnRhbGx5QXBwbGllZAAACEZsaXBWZXJ0aWNhbGx5AAAIRmxpcFZlcnRpY2FsbHlBcHBsaWVkAAABUm90YXRpb24AAAAAAAAAAAABWk9yZGVyAAAAAAAAACZ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TZXBhcmF0b3JMaW5lAOEGAAADU3RhcnQAGwAAAAFYAM3MzMwWrwdAAVkAZWFaf3vqY0AAA0VuZAAbAAAAAVgAMzMzfZj5jUABWQBlYVp/e+pjQAACU3RhcnRBcnJvd0hlYWQAEQAAAG1zb0Fycm93aGVhZE5vbmUAAkVuZEFycm93SGVhZAARAAAAbXNvQXJyb3doZWFkTm9uZQAFTWFuYWdlZElkABAAAAAE0KWuGly1Yki0nBpY6M+mlQhIYXNDaGFuZ2VzAAAIVXNlTmFtZUluc3RlYWRPZlRhZ0FzSWQAAAhTaGFwZVByZXZpb3VzbHlDcmVhdGVkAAA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AAAAAAAAVdpZHRoAAAAAGDp4Y1AAVRvcAAAAACAe+pjQAFMZWZ0AAAAAMAWrwdACEZsaXBIb3Jpem9udGFsbHkAAAhGbGlwSG9yaXpvbnRhbGx5QXBwbGllZAAACEZsaXBWZXJ0aWNhbGx5AAAIRmxpcFZlcnRpY2FsbHlBcHBsaWVkAAABUm90YXRpb24AAAAAAAAAAAABWk9yZGVyAAAAAAAAAChAA0JvcmRlckNvbG9yAFUAAAAQQQD/AAAAEFIA4wAAABBHAOMAAAAQQgDjAAAAAVNjQQAAAAAAAADwPwFTY1IAAAAAwLGU6D8BU2NHAAAAAMCxlOg/AVNjQgAAAADAsZToPwAQQm9yZGVyVGhlbWVDb2xvcgAAAAAAAUJvcmRlclRpbnRBbmRTaGFkZQAAAAAAAAAAABBCb3JkZXJTY2hlbWVDb2xvcgAAAAAAAUJvcmRlclRoaWNrbmVzcwAAAAAAAADw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AAAzEAPWgAABBfaWQABwAAAARJdGVtcwCHHAAAAzAAfxwAAAJfdHlwZQBLAAAAZW1wb3dlci5DaGFydHMuRGF0YS5HYW50dC5DaHJvbm9sb2d5LkRhdGEuQmFyVGFza0RhdGEsIGVtcG93ZXIuQ2hhcnRzLkRhdGEAAkxhYmVsUG9zaXRpb24ABwAAAENlbnRlcgAISXNMYWJlbEluc2lkZUJvdW5kcwABA1N0eWxlAFsEAAABRGVmYXVsdEZvbnRTaXplAAAAAAAAACRAAUZvbnRTaXplAAAAAAAAACBAA0ZvbnRDb2xvcgBVAAAAEEEA/wAAABBSABAAAAAQRwA4AAAAEEIATwAAAAFTY0EAAAAAAAAA8D8BU2NSAAAAAOA2OXU/AVNjRwAAAACAZz+kPwFTY0IAAAAAYBcEtD8AEEZvbnRUaGVtZUNvbG9yAAAAAAAQRm9udFNjaGVtZUNvbG9yAAAAAAABRm9udFRpbnRBbmRTaGFkZQAAAAAAAAAAAANQYXR0ZXJuQ29sb3IAVQAAABBBAAAAAAAQUgAAAAAAEEcAAAAAABBCAAAAAAABU2NBAAAAAAAAAAAAAVNjUgAAAAAAAAAAAAFTY0cAAAAAAAAAAAABU2NCAAAAAAAAAAAAABBQYXR0ZXJuVGhlbWVDb2xvcgAAAAAAAVBhdHRlcm5UaW50QW5kU2hhZGUAAAAAAAAAAAADRGF0YVN0eWxlRm9udENvbG9yVmFsdWUAVQAAABBBAAAAAAAQUgAAAAAAEEcAAAAAABBCAAAAAAABU2NBAAAAAAAAAAAAAVNjUgAAAAAAAAAAAAFTY0cAAAAAAAAAAAABU2NCAAAAAAAAAAAAAAhEYXRhU3R5bGVGb250Q29sb3JIYXNWYWx1ZQAAAUhlaWdodAAAAADg3TIoQAJEYXNoU3R5bGUADQAAAG1zb0xpbmVTb2xpZAAISGFzV2lzaEZpbGxDb2xvcgAAA0ZpbGxDb2xvcgBVAAAAEEEA/wAAABBSAJkAAAAQRwDTAAAAEEIA8gAAAAFTY0EAAAAAAAAA8D8BU2NSAAAAACASY9Q/AVNjRwAAAACgUNjkPwFTY0IAAAAAwN1p7D8AEEZpbGxTY2hlbWVDb2xvcgAAAAAAEEZpbGxUaGVtZUNvbG9yAAAAAAABRmlsbFRpbnRBbmRTaGFkZQAAAAAAAAAAAANCb3JkZXJDb2xvcgBVAAAAEEEAAAAAABBSAAAAAAAQRwAAAAAAEEIAAAAAAAFTY0EAAAAAAAAAAAABU2NSAAAAAAAAAAAAAVNjRwAAAAAAAAAAAAFTY0IAAAAAAAAAAAAAEEJvcmRlclRoZW1lQ29sb3IAAAAAAAFCb3JkZXJUaW50QW5kU2hhZGUAAAAAAAAAAAAISXNGaWxsZWQAAQJQYXR0ZXJuABAAAABtc29QYXR0ZXJuTWl4ZWQAAlNoYXBlVHlwZQAOAAAAbXNvU2hhcGVNaXhlZAADTGFiZWxPZmZzZXQAQgAAAAFYAAAAAAAAAAAAAVkAAAAAAAAAAAABTGVuZ3RoAAAAAAAAAAAAAUxlbmd0aFNxdWFyZWQAAAAAAAAAAAAACElzRm9udEJvbGQAAAhJc0ZvbnRJdGFsaWMAAAhJc0ZvbnRVbmRlcmxpbmVkAAAITGFiZWxIYXNCYWNrZ3JvdW5kAAACVGV4dEFsaWdubWVudAAFAAAATGVmdAAACERpc3BsYXlMYWJlbAABA1JlbmRlckluZm8A/RYAAANSZWN0YW5nbGVGcmVlZm9ybQD8CAAABFZlcnRpY2VzAJsCAAADMAAsAAAAEEluZGV4MAAAAAAAEEluZGV4MQAAAAAAAVZhbHVlAAAAAACW83dAAAMxACwAAAAQSW5kZXgwAAAAAAAQSW5kZXgxAAEAAAABVmFsdWUAAAAAYDfJZEAAAzIALAAAABBJbmRleDAAAQAAABBJbmRleDEAAAAAAAFWYWx1ZQAAAAAAlvN3QAADMwAsAAAAEEluZGV4MAABAAAAEEluZGV4MQABAAAAAVZhbHVlAAAAAEDOimVAAAM0ACwAAAAQSW5kZXgwaQAAAAVoAAAAagAAAOcPAAAAAAAAAAAAAAACAAAAEEluZGV4MQAAAAAAAVZhbHVlAAAAAACW83dAAAM1ACwAAAAQSW5kZXgwAAIAAAAQSW5kZXgxAAEAAAABVmFsdWUAAAAAQGVMZkAAAzYALAAAABBJbmRleDAAAwAAABBJbmRleDEAAAAAAAFWYWx1ZQAAAABAGwB9QAADNwAsAAAAEEluZGV4MAADAAAAEEluZGV4MQABAAAAAVZhbHVlAAAAAEBlTGZAAAM4ACwAAAAQSW5kZXgwAAQAAAAQSW5kZXgxAAAAAAABVmFsdWUAAAAAQBsAfUAAAzkALAAAABBJbmRleDAABAAAABBJbmRleDEAAQAAAAFWYWx1ZQAAAABAzoplQAADMTAALAAAABBJbmRleDAABQAAABBJbmRleDEAAAAAAAFWYWx1ZQAAAABAGwB9QAADMTEALAAAABBJbmRleDAABQAAABBJbmRleDEAAQAAAAFWYWx1ZQAAAABgN8lkQAADMTIALAAAABBJbmRleDAABgAAABBJbmRleDEAAAAAAAFWYWx1ZQAAAAAAlvN3QAADMTMALAAAABBJbmRleDAABgAAABBJbmRleDEAAQAAAAFWYWx1ZQAAAABgN8lkQAAABU1hbmFnZWRJZAAQAAAABJ2Ngm/tb7BLohzafY4ygysISGFzQ2hhbmdlcwAACFVzZU5hbWVJbnN0ZWFkT2ZUYWdBc0lkAAAIU2hhcGVQcmV2aW91c2x5Q3JlYXRlZAAAA0ZpbGxDb2xvcgBVAAAAEEEA/wAAABBSAJkAAAAQRwDTAAAAEEIA8gAAAAFTY0EAAAAAAAAA8D8BU2NSAAAAACASY9Q/AVNjRwAAAACgUNjkPwFTY0IAAAAAwN1p7D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DA3TIoQAFXaWR0aAAAAADAFDJUQAFUb3AAAAAAYDfJZEABTGVmdAAAAAAAlvN3QAhGbGlwSG9yaXpvbnRhbGx5AAAIRmxpcEhvcml6b250YWxseUFwcGxpZWQAAAhGbGlwVmVydGljYWxseQAACEZsaXBWZXJ0aWNhbGx5QXBwbGllZAAAAVJvdGF0aW9uAAAAAAAAAAAAAVpPcmRlcgAAAAAAAIBRQANCb3JkZXJDb2xvcgBVAAAAEEEA/wAAABBSAP8AAAAQRwD/AAAAEEIA/wAAAAFTY0EAAAAAAAAA8D8BU2NSAAAAAAAAAPA/AVNjRwAAAAAAAADwPwFTY0IAAAAAAAAA8D8AEEJvcmRlclRoZW1lQ29sb3IAAAAAAAFCb3JkZXJUaW50QW5kU2hhZGUAAAAAAAAAAAAQQm9yZGVyU2NoZW1lQ29sb3IAAAAAAAFCb3JkZXJUaGlja25lc3MAAAAAAAAA8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QmFyU3R5bGVEYXRhACYAAAACQmFyU3R5bGVTaGFwZVR5cGUACgAAAFJlY3RhbmdsZQAAA0xhYmVsALoGAAAFTWFuYWdlZElkABAAAAAE06+qjzu2mUeAL7Cx/GJO+AhIYXNDaGFuZ2VzAAAIVXNlTmFtZUluc3RlYWRPZlRhZ0FzSWQAAAhTaGFwZVByZXZpb3VzbHlDcmVhdGVkAAEDRmlsbENvbG9yAFUAAAAQQQD/AAAAEFIAmQAAABBHANMAAAAQQgDyAAAAAVNjQQAAAAAAAADwPwFTY1IAAAAAIBJj1D8BU2NHAAAAAKBQ2OQ/AVNjQgAAAADA3WnsP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ABIAAABGYXNlIDIgRGVzYXJyb2xsbwACVGV4dEhvcml6b250YWxBbGlnbm1lbnQADgAAAG1zb0FuY2hvck5vbmUAAlBhcmFncmFwaEFsaWdubWVudAAPAAAAbXNvQWxpZ25DZW50ZXIAAlRleHRWZXJ0aWNhbEFsaWdubWVudAAQAAAAbXNvQW5jaG9yTWlkZGxlAANGb250U3R5bGUAQAEAABBGb250QmFja2dyb3VuZAAAAAAACEZvbnRCb2xkAAADRm9udENvbG9yAFUAAAAQQQD/AAAAEFIAEAAAABBHADgAAAAQQgBPAAAAAVNjQQAAAAAAAADwPwFTY1IAAAAA4DY5dT8BU2NHAAAAAIBnP6Q/AVNjQgAAAABgFwS0PwAQRm9udFRoZW1lQ29sb3IAAAAAAAFGb250VGludEFuZFNoYWRlAAAAAAAAAAAAEEZvbnRTY2hlbWVDb2xvcgAAAAAACEZvbnRJdGFsaWMAAAJGb250TmFtZQAGAAAAQXJpYWwAAUZvbnRTaXplAAAAAAAAACBACEZvbnRTdHJpa2V0aHJvdWdoAAAIRm9udFN1YnNjcmlwdAAACEZvbnRTdXBlcnNjcmlwdAAACEZvbnRVbmRlcmxpbmUAAAAIU2l6ZVRvVGV4dFdpZHRoAAAIU2l6ZVRvVGV4dEhlaWdodAAAA1RleHRNYXJnaW4APwAAAAFMZWZ0AAAAAAAAAAAAAVRvcAAAAAAAAAAAAAFSaWdodAAAAAAAAAAAAAFCb3R0b20AAAAAAAAAAAAAAkRpc3BsYXlUZXh0ABIAAABGYXNlIDIgRGVzYXJyb2xsbwABSGVpZ2h0AAAAAAAWXCNAAVdpZHRoAAAAAIDr0U9AAVRvcAAAAACg7e9kQAFMZWZ0AAAAAOC5fHhACEZsaXBIb3Jpem9udGFsbHkAAAhGbGlwSG9yaXpvbnRhbGx5QXBwbGllZAAACEZsaXBWZXJ0aWNhbGx5AAAIRmxpcFZlcnRpY2FsbHlBcHBsaWVkAAABUm90YXRpb24AAAAAAAAAAAABWk9yZGVyAAAAAAAAAFJ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Db25uZWN0b3JMaW5lRGF0YQDhBgAAA1N0YXJ0ABsAAAABWAAAAAAAlvN3QAFZAAAAAGA3yWRAAANFbmQAGwAAAAFYAAAAAACW83dAAVkAAAAAYDfJZEAAAlN0YXJ0QXJyb3dIZWFkABEAAABtc29BcnJvd2hlYWROb25lAAJFbmRBcnJvd0hlYWQAEQAAAG1zb0Fycm93aGVhZE5vbmUABU1hbmFnZWRJZAAQAAAABAzEMCvrRTxJohdmdGTwh6IISGFzQ2hhbmdlcwAACFVzZWoAAAAFaQAAAGsAAADnDwAAAAAAAAAAAABOYW1lSW5zdGVhZE9mVGFnQXNJZAAACFNoYXBlUHJldmlvdXNseUNyZWF0ZWQAAA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A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AAAAAAABVG9wAAAAAGA3yWRAAUxlZnQAAAAAAJbzd0AIRmxpcEhvcml6b250YWxseQAACEZsaXBIb3Jpem9udGFsbHlBcHBsaWVkAAAIRmxpcFZlcnRpY2FsbHkAAAhGbGlwVmVydGljYWxseUFwcGxpZWQAAAFSb3RhdGlvbgAAAAAAAAAAAAFaT3JkZXIAAAAAAADAUUADQm9yZGVyQ29sb3IAVQAAABBBAP8AAAAQUgCZAAAAEEcA0wAAABBCAPIAAAABU2NBAAAAAAAAAPA/AVNjUgAAAAAgEmPUPwFTY0cAAAAAoFDY5D8BU2NCAAAAAMDdaew/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AlFbmRUaW1lAABbYTmQAQAAEEluZGV4AAEAAAACRGVzY3JpcHRpb24AEgAAAEZhc2UgMiBEZXNhcnJvbGxvAAJOYW1lAAUAAABUYXNrAAhJc0xlYWRlckxpbmVJbkF1dG9Nb2RlAAEJU3RhcnRUaW1lAAD3IeyPAQAAAAACTmFtZQAJAAAAU3ByaW50IDIACElzSGlnaGxpZ2h0ZWQAAAhJc1NlcGFyYXRvckxpbmVWaXNpYmxlAAEDU3R5bGUAdAQAAAFEZWZhdWx0Rm9udFNpemUAAAAAAAAAJEABRm9udFNpemUAAAAAAAAAJEADRm9udENvbG9yAFUAAAAQQQD/AAAAEFIAEAAAABBHADgAAAAQQgBPAAAAAVNjQQAAAAAAAADwPwFTY1IAAAAA4DY5dT8BU2NHAAAAAIBnP6Q/AVNjQgAAAABgFwS0PwAQRm9udFRoZW1lQ29sb3IAAAAAABBGb250U2NoZW1lQ29sb3IAAAAAAAFGb250VGludEFuZFNoYWRlAAAAAAAAAAAAA1BhdHRlcm5Db2xvcgBVAAAAEEEAAAAAABBSAAAAAAAQRwAAAAAAEEIAAAAAAAFTY0EAAAAAAAAAAAABU2NSAAAAAAAAAAAAAVNjRwAAAAAAAAAAAAFTY0IAAAAAAAAAAAAAEFBhdHRlcm5UaGVtZUNvbG9yAAAAAAABUGF0dGVyblRpbnRBbmRTaGFkZQAAAAAAAAAAAANEYXRhU3R5bGVGb250Q29sb3JWYWx1ZQBVAAAAEEEA/wAAABBSABAAAAAQRwA4AAAAEEIATwAAAAFTY0EAAAAAAAAA8D8BU2NSAAAAAOA2OXU/AVNjRwAAAACAZz+kPwFTY0IAAAAAYBcEtD8ACERhdGFTdHlsZUZvbnRDb2xvckhhc1ZhbHVlAAEBSGVpZ2h0AAAAAAAAAAAAAkRhc2hTdHlsZQANAAAAbXNvTGluZVNvbGlkAAhIYXNXaXNoRmlsbENvbG9yAAEDRmlsbENvbG9yAFUAAAAQQQAAAAAAEFIA/wAAABBHAP8AAAAQQgD/AAAAAVNjQQAAAAAAAAAAAAFTY1IAAAAAAAAA8D8BU2NHAAAAAAAAAPA/AVNjQgAAAAAAAADwPwAQRmlsbFNjaGVtZUNvbG9yAAAAAAAQRmlsbFRoZW1lQ29sb3IAAAAAAAFGaWxsVGludEFuZFNoYWRlAAAAAAAAAAAAA0JvcmRlckNvbG9yAFUAAAAQQQD/AAAAEFIA4wAAABBHAOMAAAAQQgDjAAAAAVNjQQAAAAAAAADwPwFTY1IAAAAAwLGU6D8BU2NHAAAAAMCxlOg/AVNjQgAAAADAsZToPwAQQm9yZGVyVGhlbWVDb2xvcgAAAAAAAUJvcmRlclRpbnRBbmRTaGFkZQAAAAAAAAAAAAhJc0ZpbGxlZAABAlBhdHRlcm4AEAAAAG1zb1BhdHRlcm5NaXhlZAACU2hhcGVUeXBlAA4AAABtc29TaGFwZU1peGVkAANMYWJlbE9mZnNldABCAAAAAVgAAAAAAAAAAAABWQAAAAAAAAAAAAFMZW5ndGgAAAAAAAAAAAABTGVuZ3RoU3F1YXJlZAAAAAAAAAAAAAABQm9yZGVyVGhpY2tuZXNzAAAAAAAAAPA/CElzRm9udEJvbGQAAAhJc0ZvbnRJdGFsaWMAAAhJc0ZvbnRVbmRlcmxpbmVkAAAITGFiZWxIYXNCYWNrZ3JvdW5kAAACVGV4dEFsaWdubWVudAAFAAAATGVmdAAAAVJvd1RvcABlYVp/e/pjQAFSb3dIZWlnaHQAbjUqMi0FOUADTGVmdE5vdGVzAMcEAAADVGV4dFN0eWxlAFsEAAABRGVmYXVsdEZvbnRTaXplAAAAAAAAACRAAUZvbnRTaXplAAAAAAAAACRAA0ZvbnRDb2xvcgBVAAAAEEEA/wAAABBSABAAAAAQRwA4AAAAEEIATwAAAAFTY0EAAAAAAAAA8D8BU2NSAAAAAOA2OXU/AVNjRwAAAACAZz+kPwFTY0IAAAAAYBcEtD8AEEZvbnRUaGVtZUNvbG9yAAAAAAAQRm9udFNjaGVtZUNvbG9yAAAAAAABRm9udFRpbnRBbmRTaGFkZQAAAAAAAAAAAANQYXR0ZXJuQ29sb3IAVQAAABBBAAAAAAAQUgAAAAAAEEcAAAAAABBCAAAAAAABU2NBAAAAAAAAAAAAAVNjUgAAAAAAAAAAAAFTY0cAAAAAAAAAAAABU2NCAAAAAAAAAAAAABBQYXR0ZXJuVGhlbWVDb2xvcgAAAAAAAVBhdHRlcm5UaW50QW5kU2hhZGUAAAAAAAAAAAADRGF0YVN0eWxlRm9udENvbG9yVmFsdWUAVQAAABBBAP8AAAAQUgAQAAAAEEcAOAAAABBCAE8AAAABU2NBAAAAAAAAAPA/AVNjUgAAAADgNjl1PwFTY0cAAAAAgGc/pD8BU2NCAAAAAGAXBLQ/AAhEYXRhU3R5bGVGb250Q29sb3JIYXNWYWx1ZQABAUhlaWdodAAAAAAAAAAAAAJEYXNoU3R5bGUADQAAAG1zb0xpbmVTb2xpZAAISGFzV2lzaEZpbGxDb2xvcgAAA0ZpbGxDb2xvcgBVAAAAEEEA/wAAABBSAAAAAAAQRwAAAAAAEEIAAAAAAAFTY0EAAAAAAAAA8D8BU2NSAAAAAAAAAAAAAVNjRwAAAAAAAAAAAAFTY0IAAAAAAAAAAAAAEEZpbGxTY2hlbWVDb2xvcgAAAAAAEEZpbGxUaGVtZUNvbG9yAAAAAAABRmlsbFRpbnRBbmRTaGFkZQAAAAAAAAAAAANCb3JkZXJDb2xvcgBVAAAAEEEAAAAAABBSAAAAAAAQRwAAAAAAEEIAAAAAAAFTY0EAAAAAAAAAAAABU2NSAAAAAAAAAAAAAVNjRwAAAAAAAAAAAAFTY0IAAAAAAAAAAAAAEEJvcmRlclRoZW1lQ29sb3IAAAAAAAFCb3JkZXJUaW50QW5kU2hhZGUAAAAAAAAAAAAISXNGaWxsZWQAAQJQYXR0ZXJuABAAAABtc29QYXR0ZXJuTWl4ZWQAAlNoYXBlVHlwZQAOAAAAbXNvU2hhcGVNaXhlZAADTGFiZWxPZmZzZXQAQgAAAAFYAAAAAAAAAAAAAVkAAAAAAAAAAAABTGVuZ3RoAAAAAAAAAAAAAUxlbmd0aFNxdWFyZWQAAAAAAAAAAAAACElzRm9udEJvbGQAAAhJc0ZvbnRJdGFsaWMAAAhJc0ZvbnRVbmRlcmxpbmVkAAAITGFiZWxIYXNCYWNrZ3JvdW5kAAACVGV4dEFsaWdubWVudAAFAABrAAAABWoAAABsAAAA5w8AAAAAAAAAAAAAAExlZnQAAAhIYXJ2ZXlCYWxsVmlzaWJsZQABEEhhcnZleUJhbGxWYWx1ZQAAAAAAAkNoZWNrQm94U3RhdGUABQAAAE5vbmUAAlRyYWZmaWNMaWdodFN0YXRlAAQAAABPZmYAAANSaWdodE5vdGVzAMcEAAADVGV4dFN0eWxlAFsEAAABRGVmYXVsdEZvbnRTaXplAAAAAAAAACRAAUZvbnRTaXplAAAAAAAAACRAA0ZvbnRDb2xvcgBVAAAAEEEA/wAAABBSABAAAAAQRwA4AAAAEEIATwAAAAFTY0EAAAAAAAAA8D8BU2NSAAAAAOA2OXU/AVNjRwAAAACAZz+kPwFTY0IAAAAAYBcEtD8AEEZvbnRUaGVtZUNvbG9yAAAAAAAQRm9udFNjaGVtZUNvbG9yAAAAAAABRm9udFRpbnRBbmRTaGFkZQAAAAAAAAAAAANQYXR0ZXJuQ29sb3IAVQAAABBBAAAAAAAQUgAAAAAAEEcAAAAAABBCAAAAAAABU2NBAAAAAAAAAAAAAVNjUgAAAAAAAAAAAAFTY0cAAAAAAAAAAAABU2NCAAAAAAAAAAAAABBQYXR0ZXJuVGhlbWVDb2xvcgAAAAAAAVBhdHRlcm5UaW50QW5kU2hhZGUAAAAAAAAAAAADRGF0YVN0eWxlRm9udENvbG9yVmFsdWUAVQAAABBBAP8AAAAQUgAQAAAAEEcAOAAAABBCAE8AAAABU2NBAAAAAAAAAPA/AVNjUgAAAADgNjl1PwFTY0cAAAAAgGc/pD8BU2NCAAAAAGAXBLQ/AAhEYXRhU3R5bGVGb250Q29sb3JIYXNWYWx1ZQABAUhlaWdodAAAAAAAAAAAAAJEYXNoU3R5bGUADQAAAG1zb0xpbmVTb2xpZAAISGFzV2lzaEZpbGxDb2xvcgAAA0ZpbGxDb2xvcgBVAAAAEEEA/wAAABBSAAAAAAAQRwAAAAAAEEIAAAAAAAFTY0EAAAAAAAAA8D8BU2NSAAAAAAAAAAAAAVNjRwAAAAAAAAAAAAFTY0IAAAAAAAAAAAAAEEZpbGxTY2hlbWVDb2xvcgAAAAAAEEZpbGxUaGVtZUNvbG9yAAAAAAABRmlsbFRpbnRBbmRTaGFkZQAAAAAAAAAAAANCb3JkZXJDb2xvcgBVAAAAEEEAAAAAABBSAAAAAAAQRwAAAAAAEEIAAAAAAAFTY0EAAAAAAAAAAAABU2NSAAAAAAAAAAAAAVNjRwAAAAAAAAAAAAFTY0IAAAAAAAAAAAAAEEJvcmRlclRoZW1lQ29sb3IAAAAAAAFCb3JkZXJUaW50QW5kU2hhZGUAAAAAAAAAAAAISXNGaWxsZWQAAQJQYXR0ZXJuABAAAABtc29QYXR0ZXJuTWl4ZWQAAlNoYXBlVHlwZQAOAAAAbXNvU2hhcGVNaXhlZAADTGFiZWxPZmZzZXQAQgAAAAFYAAAAAAAAAAAAAVkAAAAAAAAAAAABTGVuZ3RoAAAAAAAAAAAAAUxlbmd0aFNxdWFyZWQAAAAAAAAAAAAACElzRm9udEJvbGQAAAhJc0ZvbnRJdGFsaWMAAAhJc0ZvbnRVbmRlcmxpbmVkAAAITGFiZWxIYXNCYWNrZ3JvdW5kAAACVGV4dEFsaWdubWVudAAFAAAATGVmdAAACEhhcnZleUJhbGxWaXNpYmxlAAEQSGFydmV5QmFsbFZhbHVlAAAAAAACQ2hlY2tCb3hTdGF0ZQAFAAAATm9uZQACVHJhZmZpY0xpZ2h0U3RhdGUABAAAAE9mZgAAA0xlZnROb3Rlc1JlbmRlckluZm8AYRQAAANMYWJlbAB0BgAABU1hbmFnZWRJZAAQAAAABEvTNRvWndlOnt2mN/huRtwISGFzQ2hhbmdlcwABCFVzZU5hbWVJbnN0ZWFkT2ZUYWdBc0lkAAAIU2hhcGVQcmV2aW91c2x5Q3JlYXRlZAAA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ACRmlsbFBhdHRlcm4AEAAAAG1zb1BhdHRlcm5NaXhlZAACVGV4dAABAAAA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CRGlzcGxheVRleHQAAQAAAAABSGVpZ2h0AAAAAAAAAPA/AVdpZHRoAAAAAAAAAPA/AVRvcAAAAAAAjJZxQAFMZWZ0AAAAAEBl9o1ACEZsaXBIb3Jpem9udGFsbHkAAAhGbGlwSG9yaXpvbnRhbGx5QXBwbGllZAAACEZsaXBWZXJ0aWNhbGx5AAAIRmxpcFZlcnRpY2FsbHlBcHBsaWVkAAABUm90YXRpb24AAAAAAAAAAAABWk9yZGVyAAAAAAAAAAA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TZXBhcmF0b3JMaW5lAOEGAAADU3RhcnQAGwAAAAFYAM3MzBYy841AAVkAAAAAICELZ0AAA0VuZAAbAAAAAVgAMzMzfZj5jUABWQAAAAAgIQtnQAACU3RhcnRBcnJvd0hlYWQAEQAAAG1zb0Fycm93aGVhZE5vbmUAAkVuZEFycm93SGVhZAARAAAAbXNvQXJyb3doZWFkTm9uZQAFTWFuYWdlZElkABAAAAAEA1zfmIDnfkafgj39hHlDAwhIYXNDaGFuZ2VzAAEIVXNlTmFtZUluc3RlYWRPZlRhZ0FzSWQAAAhTaGFwZVByZXZpb3VzbHlDcmVhdGVkAAA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bAAAAAVrAAAAbwAAAOcPAAAAAAAAAAAAAGV4dFdpZHRoAAAIU2l6ZVRvVGV4dEhlaWdodAAAA1RleHRNYXJnaW4APwAAAAFMZWZ0AAAAAAAAAAAAAVRvcAAAAAAAAAAAAAFSaWdodAAAAAAAAAAAAAFCb3R0b20AAAAAAAAAAAAAAUhlaWdodAAAAAAAAAAAAAFXaWR0aAAAAACgmZnpPwFUb3AAAAAAICELZ0ABTGVmdAAAAAAgMvONQAhGbGlwSG9yaXpvbnRhbGx5AAAIRmxpcEhvcml6b250YWxseUFwcGxpZWQAAAhGbGlwVmVydGljYWxseQAACEZsaXBWZXJ0aWNhbGx5QXBwbGllZAAAAVJvdGF0aW9uAAAAAAAAAAAAAVpPcmRlcgAAAAAAAIBVQANCb3JkZXJDb2xvcgBVAAAAEEEA/wAAABBSAOMAAAAQRwDjAAAAEEIA4wAAAAFTY0EAAAAAAAAA8D8BU2NSAAAAAMCxlOg/AVNjRwAAAADAsZToPwFTY0IAAAAAwLGU6D8AEEJvcmRlclRoZW1lQ29sb3IAAAAAAAFCb3JkZXJUaW50QW5kU2hhZGUAAAAAAAAAAAAQQm9yZGVyU2NoZW1lQ29sb3IAAAAAAAFCb3JkZXJUaGlja25lc3MAAAAAAAAA8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mVjdGFuZ2xlAHQGAAACQXV0b1NoYXBlVHlwZQAKAAAAUmVjdGFuZ2xlAAVNYW5hZ2VkSWQAEAAAAAQ6/V22ki+9RIBH2m4zg18qCEhhc0NoYW5nZXMAAQhVc2VOYW1lSW5zdGVhZE9mVGFnQXNJZAAACFNoYXBlUHJldmlvdXNseUNyZWF0ZWQAAANGaWxsQ29sb3IAVQAAABBBAAAAAAAQUgD/AAAAEEcA/wAAABBCAP8AAAABU2NBAAAAAAAAAAAAAVNjUgAAAAAAAADwPwFTY0cAAAAAAAAA8D8BU2NCAAAAAAAAAPA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A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QC0FOEABV2lkdGgAAAAAAAAAAAABVG9wAAAAAIB7CmRAAUxlZnQAAAAAQGXujUAIRmxpcEhvcml6b250YWxseQAACEZsaXBIb3Jpem9udGFsbHlBcHBsaWVkAAAIRmxpcFZlcnRpY2FsbHkAAAhGbGlwVmVydGljYWxseUFwcGxpZWQAAAFSb3RhdGlvbgAAAAAAAAAAAAFaT3JkZXIAAAAAAABAVU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BFRyYWZmaWNMaWdodERhdGEABQAAAAAESGFydmV5QmFsbERhdGEABQAAAAACVHJhZmZpY0xpZ2h0U3RhdGUABAAAAE9mZgAEQ2hlY2tCb3hEYXRhAAUAAAAAAkNoZWNrQm94U3RhdGUABQAAAE5vbmUAAANSaWdodE5vdGVzUmVuZGVySW5mbwBhFAAAA0xhYmVsAHQGAAAFTWFuYWdlZElkABAAAAAEe3CYMAeTKEuyFT8+wuK5TghIYXNDaGFuZ2VzAAEIVXNlTmFtZUluc3RlYWRPZlRhZ0FzSWQAAAhTaGFwZVByZXZpb3VzbHlDcmVhdGVkAAA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AJGaWxsUGF0dGVybgAQAAAAbXNvUGF0dGVybk1peGVkAAJUZXh0AAEAAAA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JEaXNwbGF5VGV4dAABAAAAAAFIZWlnaHQAAAAAAAAA8D8BV2lkdGgAAAAAAAAA8D8BVG9wAAAAAACMlnFAAUxlZnQAAAAAQGX2jU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0AAAAFQgAAAG4AAADnDwAAAAAAAAAAAABmdGVyAAAITGluZVJ1bGVCZWZvcmUAAAhMaW5lUnVsZVdpdGhpbgAAAVJpZ2h0SW5kZW50AAAAAAAAAAAAAVNwYWNlQWZ0ZXIAAAAAAAAAAAABU3BhY2VCZWZvcmUAAAAAAAAAAAABU3BhY2VXaXRoaW4AAAAAAAAAAAAAA1NlcGFyYXRvckxpbmUA4QYAAANTdGFydAAbAAAAAVgAzczMFjLzjUABWQAAAAAgIQtnQAADRW5kABsAAAABWAAzMzN9mPmNQAFZAAAAACAhC2dAAAJTdGFydEFycm93SGVhZAARAAAAbXNvQXJyb3doZWFkTm9uZQACRW5kQXJyb3dIZWFkABEAAABtc29BcnJvd2hlYWROb25lAAVNYW5hZ2VkSWQAEAAAAATytp6SLGTNQrONWgBIcDWYCEhhc0NoYW5nZXMAAQhVc2VOYW1lSW5zdGVhZE9mVGFnQXNJZAAACFNoYXBlUHJldmlvdXNseUNyZWF0ZWQAAA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oJmZ6T8BVG9wAAAAACAhC2dAAUxlZnQAAAAAIDLzjUAIRmxpcEhvcml6b250YWxseQAACEZsaXBIb3Jpem9udGFsbHlBcHBsaWVkAAAIRmxpcFZlcnRpY2FsbHkAAAhGbGlwVmVydGljYWxseUFwcGxpZWQAAAFSb3RhdGlvbgAAAAAAAAAAAAFaT3JkZXIAAAAAAACAVUADQm9yZGVyQ29sb3IAVQAAABBBAP8AAAAQUgDjAAAAEEcA4wAAABBCAOMAAAABU2NBAAAAAAAAAPA/AVNjUgAAAADAsZToPwFTY0cAAAAAwLGU6D8BU2NCAAAAAMCxlOg/ABBCb3JkZXJUaGVtZUNvbG9yAAAAAAABQm9yZGVyVGludEFuZFNoYWRlAAAAAAAAAAAAEEJvcmRlclNjaGVtZUNvbG9yAAAAAAABQm9yZGVyVGhpY2tuZXNzAAAAAAAAAPA/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JlY3RhbmdsZQB0BgAAAkF1dG9TaGFwZVR5cGUACgAAAFJlY3RhbmdsZQAFTWFuYWdlZElkABAAAAAEilFDQOT+b0SyJD5LtrKwywhIYXNDaGFuZ2VzAAEIVXNlTmFtZUluc3RlYWRPZlRhZ0FzSWQAAAhTaGFwZVByZXZpb3VzbHlDcmVhdGVkAAADRmlsbENvbG9yAFUAAAAQQQAAAAAAEFIA/wAAABBHAP8AAAAQQgD/AAAAAVNjQQAAAAAAAAAAAAFTY1IAAAAAAAAA8D8BU2NHAAAAAAAAAPA/AVNjQgAAAAAAAADwP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A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EAtBThAAVdpZHRoAAAAAAAAAAAAAVRvcAAAAACAewpkQAFMZWZ0AAAAAEBl7o1ACEZsaXBIb3Jpem9udGFsbHkAAAhGbGlwSG9yaXpvbnRhbGx5QXBwbGllZAAACEZsaXBWZXJ0aWNhbGx5AAAIRmxpcFZlcnRpY2FsbHlBcHBsaWVkAAABUm90YXRpb24AAAAAAAAAAAABWk9yZGVyAAAAAAAAQFV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RUcmFmZmljTGlnaHREYXRhAAUAAAAABEhhcnZleUJhbGxEYXRhAAUAAAAAAlRyYWZmaWNMaWdodFN0YXRlAAQAAABPZmYABENoZWNrQm94RGF0YQAFAAAAAAJDaGVja0JveFN0YXRlAAUAAABOb25lAAADTGVmdFNpZGVSZW5kZXJJbmZvACEUAAADTGFiZWwApgYAAAVNYW5hZ2VkSWQAEAAAAAS2pn6w5/xNTaF0fDkd3UeDCEhhc0NoYW5nZXMAAAhVc2VOYW1lSW5zdGVhZE9mVGFnQXNJZAAACFNoYXBlUHJldmlvdXNseUNyZWF0ZWQAAQ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BuAAAABW0AAABxAAAA5w8AAAAAAAAAAAAAEFBhdHRlcm5UaGVtZUNvbG9yAAAAAAABUGF0dGVyblRpbnRBbmRTaGFkZQAAAAAAAAAAAAhGaWxsVmlzaWJsZQAACFZpc2libGUAAQJGaWxsUGF0dGVybgAQAAAAbXNvUGF0dGVybk1peGVkAAJUZXh0AAkAAABTcHJpbnQgMgACVGV4dEhvcml6b250YWxBbGlnbm1lbnQADgAAAG1zb0FuY2hvck5vbmUAAlBhcmFncmFwaEFsaWdubWVudAANAAAAbXNvQWxpZ25MZWZ0AAJUZXh0VmVydGljYWxBbGlnbm1lbnQAEAAAAG1zb0FuY2hvck1pZGRsZQADRm9udFN0eWxlAEABAAAQRm9udEJhY2tncm91bmQAAAAAAAhGb250Qm9sZAAAA0ZvbnRDb2xvcgBVAAAAEEEA/wAAABBSABAAAAAQRwA4AAAAEEIATwAAAAFTY0EAAAAAAAAA8D8BU2NSAAAAAOA2OXU/AVNjRwAAAACAZz+kPwFTY0IAAAAAYBcEtD8AEEZvbnRUaGVtZUNvbG9yAAAAAAABRm9udFRpbnRBbmRTaGFkZQAAAAAAAAAAABBGb250U2NoZW1lQ29sb3IAAAAAAAhGb250SXRhbGljAAACRm9udE5hbWUABgAAAEFyaWFsAAFGb250U2l6ZQAAAAAAAAAkQAhGb250U3RyaWtldGhyb3VnaAAACEZvbnRTdWJzY3JpcHQAAAhGb250U3VwZXJzY3JpcHQAAAhGb250VW5kZXJsaW5lAAAACFNpemVUb1RleHRXaWR0aAAACFNpemVUb1RleHRIZWlnaHQAAANUZXh0TWFyZ2luAD8AAAABTGVmdAAAAAAAAAAAAAFUb3AAAAAAAAAAAAABUmlnaHQAAAAAAAAAAAABQm90dG9tAAAAAAAAAAAAAAJEaXNwbGF5VGV4dAAJAAAAU3ByaW50IDIAAUhlaWdodAAAAABg3wsnQAFXaWR0aAAAAAAAdHpDQAFUb3AAAAAAYG/SZEABTGVmdAAAAABASVw3QAhGbGlwSG9yaXpvbnRhbGx5AAAIRmxpcEhvcml6b250YWxseUFwcGxpZWQAAAhGbGlwVmVydGljYWxseQAACEZsaXBWZXJ0aWNhbGx5QXBwbGllZAAAAVJvdGF0aW9uAAAAAAAAAAAAAVpPcmRlcgAAAAAAAAA+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mVjdGFuZ2xlAHQGAAACQXV0b1NoYXBlVHlwZQAKAAAAUmVjdGFuZ2xlAAVNYW5hZ2VkSWQAEAAAAAQP4cDqDrjeSIhtpweD7cizCEhhc0NoYW5nZXMAAAhVc2VOYW1lSW5zdGVhZE9mVGFnQXNJZAAACFNoYXBlUHJldmlvdXNseUNyZWF0ZWQAAANGaWxsQ29sb3IAVQAAABBBAAAAAAAQUgD/AAAAEEcA/wAAABBCAP8AAAABU2NBAAAAAAAAAAAAAVNjUgAAAAAAAADwPwFTY0cAAAAAAAAA8D8BU2NCAAAAAAAAAPA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A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QC0FOEABV2lkdGgAAAAAAIPbjUABVG9wAAAAAIB7CmRAAUxlZnQAAAAAAEriCkAIRmxpcEhvcml6b250YWxseQAACEZsaXBIb3Jpem9udGFsbHlBcHBsaWVkAAAIRmxpcFZlcnRpY2FsbHkAAAhGbGlwVmVydGljYWxseUFwcGxpZWQAAAFSb3RhdGlvbgAAAAAAAAAAAAFaT3JkZXIAAAAAAAAAJk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NlcGFyYXRvckxpbmUA4QYAAANTdGFydAAbAAAAAVgAzczMzBavB0ABWQATqJ8lIQtnQAADRW5kABsAAAABWAAzMzN9mPmNQAFZABOonyUhC2dAAAJTdGFydEFycm93SGVhZAARAAAAbXNvQXJyb3doZWFkTm9uZQACRW5kQXJyb3dIZWFkABEAAABtc29BcnJvd2hlYWROb25lAAVNYW5hZ2VkSWQAEAAAAAQtPfspe2+CQLspoZh4klS1CEhhc0NoYW5nZXMAAAhVc2VOYW1lSW5zdGVhZE9mVGFnQXNJZAAACFNoYXBlUHJldmlvdXNseUNyZWF0ZWQAAA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wAAAAVsAAAAcAAAAOcPAAAAAAAAAAAAAGluZVJ1bGVCZWZvcmUAAAhMaW5lUnVsZVdpdGhpbgAAAVJpZ2h0SW5kZW50AAAAAAAAAAAAAVNwYWNlQWZ0ZXIAAAAAAAAAAAABU3BhY2VCZWZvcmUAAAAAAAAAAAABU3BhY2VXaXRoaW4AAAAAAAAAAAAAA1NlcGFyYXRvckxpbmUA4QYAAANTdGFydAAbAAAAAVgAzczMFjLzjUABWQAAAAAgIQtnQAADRW5kABsAAAABWAAzMzN9mPmNQAFZAAAAACAhC2dAAAJTdGFydEFycm93SGVhZAARAAAAbXNvQXJyb3doZWFkTm9uZQACRW5kQXJyb3dIZWFkABEAAABtc29BcnJvd2hlYWROb25lAAVNYW5hZ2VkSWQAEAAAAATytp6SLGTNQrONWgBIcDWYCEhhc0NoYW5nZXMAAQhVc2VOYW1lSW5zdGVhZE9mVGFnQXNJZAAACFNoYXBlUHJldmlvdXNseUNyZWF0ZWQAAA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oJmZ6T8BVG9wAAAAACAhC2dAAUxlZnQAAAAAIDLzjUAIRmxpcEhvcml6b250YWxseQAACEZsaXBIb3Jpem9udGFsbHlBcHBsaWVkAAAIRmxpcFZlcnRpY2FsbHkAAAhGbGlwVmVydGljYWxseUFwcGxpZWQAAAFSb3RhdGlvbgAAAAAAAAAAAAFaT3JkZXIAAAAAAACAVUADQm9yZGVyQ29sb3IAVQAAABBBAP8AAAAQUgDjAAAAEEcA4wAAABBCAOMAAAABU2NBAAAAAAAAAPA/AVNjUgAAAADAsZToPwFTY0cAAAAAwLGU6D8BU2NCAAAAAMCxlOg/ABBCb3JkZXJUaGVtZUNvbG9yAAAAAAABQm9yZGVyVGludEFuZFNoYWRlAAAAAAAAAAAAEEJvcmRlclNjaGVtZUNvbG9yAAAAAAABQm9yZGVyVGhpY2tuZXNzAAAAAAAAAPA/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JlY3RhbmdsZQB0BgAAAkF1dG9TaGFwZVR5cGUACgAAAFJlY3RhbmdsZQAFTWFuYWdlZElkABAAAAAEilFDQOT+b0SyJD5LtrKwywhIYXNDaGFuZ2VzAAEIVXNlTmFtZUluc3RlYWRPZlRhZ0FzSWQAAAhTaGFwZVByZXZpb3VzbHlDcmVhdGVkAAADRmlsbENvbG9yAFUAAAAQQQAAAAAAEFIA/wAAABBHAP8AAAAQQgD/AAAAAVNjQQAAAAAAAAAAAAFTY1IAAAAAAAAA8D8BU2NHAAAAAAAAAPA/AVNjQgAAAAAAAADwP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A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EAtBThAAVdpZHRoAAAAAAAAAAAAAVRvcAAAAACAewpkQAFMZWZ0AAAAAEBl7o1ACEZsaXBIb3Jpem9udGFsbHkAAAhGbGlwSG9yaXpvbnRhbGx5QXBwbGllZAAACEZsaXBWZXJ0aWNhbGx5AAAIRmxpcFZlcnRpY2FsbHlBcHBsaWVkAAABUm90YXRpb24AAAAAAAAAAAABWk9yZGVyAAAAAAAAQFV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RUcmFmZmljTGlnaHREYXRhAAUAAAAABEhhcnZleUJhbGxEYXRhAAUAAAAAAlRyYWZmaWNMaWdodFN0YXRlAAQAAABPZmYABENoZWNrQm94RGF0YQAFAAAAAAJDaGVja0JveFN0YXRlAAUAAABOb25lAAADTGVmdFNpZGVSZW5kZXJJbmZvACEUAAADTGFiZWwApgYAAAVNYW5hZ2VkSWQAEAAAAAS2pn6w5/xNTaF0fDkd3UeDCEhhc0NoYW5nZXMAAAhVc2VOYW1lSW5zdGVhZE9mVGFnQXNJZAAACFNoYXBlUHJldmlvdXNseUNyZWF0ZWQAAQ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nAAAAAFbwAAAHIAAADnDwAAAAAAAAAAAABUaGVtZUNvbG9yAAAAAAABUGF0dGVyblRpbnRBbmRTaGFkZQAAAAAAAAAAAAhGaWxsVmlzaWJsZQAACFZpc2libGUAAQJGaWxsUGF0dGVybgAQAAAAbXNvUGF0dGVybk1peGVkAAJUZXh0AAkAAABTcHJpbnQgMgACVGV4dEhvcml6b250YWxBbGlnbm1lbnQADgAAAG1zb0FuY2hvck5vbmUAAlBhcmFncmFwaEFsaWdubWVudAANAAAAbXNvQWxpZ25MZWZ0AAJUZXh0VmVydGljYWxBbGlnbm1lbnQAEAAAAG1zb0FuY2hvck1pZGRsZQADRm9udFN0eWxlAEABAAAQRm9udEJhY2tncm91bmQAAAAAAAhGb250Qm9sZAAAA0ZvbnRDb2xvcgBVAAAAEEEA/wAAABBSABAAAAAQRwA4AAAAEEIATwAAAAFTY0EAAAAAAAAA8D8BU2NSAAAAAOA2OXU/AVNjRwAAAACAZz+kPwFTY0IAAAAAYBcEtD8AEEZvbnRUaGVtZUNvbG9yAAAAAAABRm9udFRpbnRBbmRTaGFkZQAAAAAAAAAAABBGb250U2NoZW1lQ29sb3IAAAAAAAhGb250SXRhbGljAAACRm9udE5hbWUABgAAAEFyaWFsAAFGb250U2l6ZQAAAAAAAAAkQAhGb250U3RyaWtldGhyb3VnaAAACEZvbnRTdWJzY3JpcHQAAAhGb250U3VwZXJzY3JpcHQAAAhGb250VW5kZXJsaW5lAAAACFNpemVUb1RleHRXaWR0aAAACFNpemVUb1RleHRIZWlnaHQAAANUZXh0TWFyZ2luAD8AAAABTGVmdAAAAAAAAAAAAAFUb3AAAAAAAAAAAAABUmlnaHQAAAAAAAAAAAABQm90dG9tAAAAAAAAAAAAAAJEaXNwbGF5VGV4dAAJAAAAU3ByaW50IDIAAUhlaWdodAAAAABg3wsnQAFXaWR0aAAAAAAAdHpDQAFUb3AAAAAAYG/SZEABTGVmdAAAAABASVw3QAhGbGlwSG9yaXpvbnRhbGx5AAAIRmxpcEhvcml6b250YWxseUFwcGxpZWQAAAhGbGlwVmVydGljYWxseQAACEZsaXBWZXJ0aWNhbGx5QXBwbGllZAAAAVJvdGF0aW9uAAAAAAAAAAAAAVpPcmRlcgAAAAAAAAA+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mVjdGFuZ2xlAHQGAAACQXV0b1NoYXBlVHlwZQAKAAAAUmVjdGFuZ2xlAAVNYW5hZ2VkSWQAEAAAAAQP4cDqDrjeSIhtpweD7cizCEhhc0NoYW5nZXMAAAhVc2VOYW1lSW5zdGVhZE9mVGFnQXNJZAAACFNoYXBlUHJldmlvdXNseUNyZWF0ZWQAAANGaWxsQ29sb3IAVQAAABBBAAAAAAAQUgD/AAAAEEcA/wAAABBCAP8AAAABU2NBAAAAAAAAAAAAAVNjUgAAAAAAAADwPwFTY0cAAAAAAAAA8D8BU2NCAAAAAAAAAPA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A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QC0FOEABV2lkdGgAAAAAAIPbjUABVG9wAAAAAIB7CmRAAUxlZnQAAAAAAEriCkAIRmxpcEhvcml6b250YWxseQAACEZsaXBIb3Jpem9udGFsbHlBcHBsaWVkAAAIRmxpcFZlcnRpY2FsbHkAAAhGbGlwVmVydGljYWxseUFwcGxpZWQAAAFSb3RhdGlvbgAAAAAAAAAAAAFaT3JkZXIAAAAAAAAAJk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NlcGFyYXRvckxpbmUA4QYAAANTdGFydAAbAAAAAVgAzczMzBavB0ABWQATqJ8lIQtnQAADRW5kABsAAAABWAAzMzN9mPmNQAFZABOonyUhC2dAAAJTdGFydEFycm93SGVhZAARAAAAbXNvQXJyb3doZWFkTm9uZQACRW5kQXJyb3dIZWFkABEAAABtc29BcnJvd2hlYWROb25lAAVNYW5hZ2VkSWQAEAAAAAQtPfspe2+CQLspoZh4klS1CEhhc0NoYW5nZXMAAAhVc2VOYW1lSW5zdGVhZE9mVGFnQXNJZAAACFNoYXBlUHJldmlvdXNseUNyZWF0ZWQAAA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xAAAABW4AAABzAAAA5w8AAAAAAAAAAAAAb1RleHRIZWlnaHQAAANUZXh0TWFyZ2luAD8AAAABTGVmdAAAAAAAAAAAAAFUb3AAAAAAAAAAAAABUmlnaHQAAAAAAAAAAAABQm90dG9tAAAAAAAAAAAAAAFIZWlnaHQAAAAAAAAAAAABV2lkdGgAAAAAYOnhjUABVG9wAAAAACAhC2dAAUxlZnQAAAAAwBavB0AIRmxpcEhvcml6b250YWxseQAACEZsaXBIb3Jpem9udGFsbHlBcHBsaWVkAAAIRmxpcFZlcnRpY2FsbHkAAAhGbGlwVmVydGljYWxseUFwcGxpZWQAAAFSb3RhdGlvbgAAAAAAAAAAAAFaT3JkZXIAAAAAAAAAKEADQm9yZGVyQ29sb3IAVQAAABBBAP8AAAAQUgDjAAAAEEcA4wAAABBCAOMAAAABU2NBAAAAAAAAAPA/AVNjUgAAAADAsZToPwFTY0cAAAAAwLGU6D8BU2NCAAAAAMCxlOg/ABBCb3JkZXJUaGVtZUNvbG9yAAAAAAABQm9yZGVyVGludEFuZFNoYWRlAAAAAAAAAAAAEEJvcmRlclNjaGVtZUNvbG9yAAAAAAABQm9yZGVyVGhpY2tuZXNzAAAAAAAAAPA/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AADMgAhggAAEF9pZAAIAAAABEl0ZW1zAGs2AAADMABwHAAAAl90eXBlAEsAAABlbXBvd2VyLkNoYXJ0cy5EYXRhLkdhbnR0LkNocm9ub2xvZ3kuRGF0YS5CYXJUYXNrRGF0YSwgZW1wb3dlci5DaGFydHMuRGF0YQACTGFiZWxQb3NpdGlvbgAHAAAAQ2VudGVyAAhJc0xhYmVsSW5zaWRlQm91bmRzAAEDU3R5bGUAWwQAAAFEZWZhdWx0Rm9udFNpemUAAAAAAAAAJEABRm9udFNpemUAAAAAAAAAIEADRm9udENvbG9yAFUAAAAQQQD/AAAAEFIAEAAAABBHADgAAAAQQgBPAAAAAVNjQQAAAAAAAADwPwFTY1IAAAAA4DY5dT8BU2NHAAAAAIBnP6Q/AVNjQgAAAABgFwS0PwAQRm9udFRoZW1lQ29sb3IAAAAAABBGb250U2NoZW1lQ29sb3IAAAAAAAFGb250VGludEFuZFNoYWRlAAAAAAAAAAAAA1BhdHRlcm5Db2xvcgBVAAAAEEEAAAAAABBSAAAAAAAQRwAAAAAAEEIAAAAAAAFTY0EAAAAAAAAAAAABU2NSAAAAAAAAAAAAAVNjRwAAAAAAAAAAAAFTY0IAAAAAAAAAAAAAEFBhdHRlcm5UaGVtZUNvbG9yAAAAAAABUGF0dGVyblRpbnRBbmRTaGFkZQAAAAAAAAAAAANEYXRhU3R5bGVGb250Q29sb3JWYWx1ZQBVAAAAEEEAAAAAABBSAAAAAAAQRwAAAAAAEEIAAAAAAAFTY0EAAAAAAAAAAAABU2NSAAAAAAAAAAAAAVNjRwAAAAAAAAAAAAFTY0IAAAAAAAAAAAAACERhdGFTdHlsZUZvbnRDb2xvckhhc1ZhbHVlAAABSGVpZ2h0AAAAAODdMihAAkRhc2hTdHlsZQANAAAAbXNvTGluZVNvbGlkAAhIYXNXaXNoRmlsbENvbG9yAAADRmlsbENvbG9yAFUAAAAQQQD/AAAAEFIAmQAAABBHANMAAAAQQgDyAAAAAVNjQQAAAAAAAADwPwFTY1IAAAAAIBJj1D8BU2NHAAAAAKBQ2OQ/AVNjQgAAAADA3WnsPwAQRmlsbFNjaGVtZUNvbG9yAAAAAAAQRmlsbFRoZW1lQ29sb3IAAAAAAAFGaWxsVGludEFuZFNoYWRlAAAAAAAAAAAAA0JvcmRlckNvbG9yAFUAAAAQQQAAAAAAEFIAAAAAABBHAAAAAAAQQgAAAAAAAVNjQQAAAAAAAAAAAAFTY1IAAAAAAAAAAAABU2NHAAAAAAAAAAAAAVNjQgAAAAAAAAAAAAAQQm9yZGVyVGhlbWVDb2xvcgAAAAAAAUJvcmRlclRpbnRBbmRTaGFkZQAAAAAAAAAAAAhJc0ZpbGxlZAABAlBhdHRlcm4AEAAAAG1zb1BhdHRlcm5NaXhlZAACU2hhcGVUeXBlAA4AAABtc29TaGFwZU1peGVkAANMYWJlbE9mZnNldABCAAAAAVgAAAAAAAAAAAABWQAAAAAAAAAAAAFMZW5ndGgAAAAAAAAAAAABTGVuZ3RoU3F1YXJlZAAAAAAAAAAAAAAISXNGb250Qm9sZAAACElzRm9udEl0YWxpYwAACElzRm9udFVuZGVybGluZWQAAAhMYWJlbEhhc0JhY2tncm91bmQAAAJUZXh0QWxpZ25tZW50AAUAAABMZWZ0AAAIRGlzcGxheUxhYmVsAAEDUmVuZGVySW5mbwDzFgAAA1JlY3RhbmdsZUZyZWVmb3JtAPwIAAAEVmVydGljZXMAmwIAAAMwACwAAAAQSW5kZXgwAAAAAAAQSW5kZXgxAAAAAAABVmFsdWUAAAAAQBsAfUAAAzEALAAAABBJbmRleDAAAAAAABBJbmRleDEAAQAAAAFWYWx1ZQAAAAAA3elnQAADMgAsAAAAEEluZGV4MAABAAAAEEluZGV4MQAAAAAAAVZhbHVlAAAAAEAbAH1AAAMzACwAAAAQSW5kZXgwAAEAAAAQSW5kZXgxAAEAAAABVmFsdWUAAAAA4HOraEAAAzQALAAAABBJbmRleDAAAgAAABBJbmRleDEAAAAAAAFWYWx1ZQAAAABAGwB9QAADNQAsAAAAEEluZGV4MAACAAAAEEluZGV4MQABAAAAAVZhbHVlAAAAAOAKbWlAAAM2ACwAAAAQSW5kZXgwAAMAAAAQSW5kZXgxAAAAAAABVmFsdWUAAAAA4ETQgUAAAzcALAAAABBJbmRleDAAAwAAABBJbmRleDEAAQAAAAFWYWx1ZQAAAADgCm1pQAADOAAsAAAAEEluZGV4MAAEAAAAEEluZGV4MQAAAAAAAVZhbHVlAAAAAOBE0IFAAAM5ACwAAAAQSW5kZXgwAAQAAAAQSW5kZXgxAAEAAAABVmFsdWUAAAAA4HOraEAAAzEwACwAAAAQSW5kZXgwAAUAAAAQSW5kZXgxAAAAAAABVmFsdWUAAAAA4ETQgUAAAzExACwAAAAQSW5kZXgwAAUAAAAQSW5kZXgxAAEAAAABVmFsdWUAAAAAAN3pZ0AAAzEyACwAAAAQSW5kZXgwAAYAAAAQSW5kZXgxAAAAAAABVmFsdWUAAAAAQBsAfUAAAzEzACwAAAAQSW5kZXgwAAYAAAAQSW5kZXgxAAEAAAABVmFsdWUAAAAAAN3pZ0AAAAVNYW5hZ2VkSWQAEAAAAASHubdhNu+xSpODsSX99nAACEhhc0NoYW5nZXMAAAhVc2VOYW1lSW5zdGVhZE9mVGFnQXNJZAAACFNoYXBlUHJldmlvdXNseUNyZWF0ZWQAAANGaWxsQ29sb3IAVQAAABBBAP8AAAAQUgCZAAAAEEcA0wAAABBCAPIAAAABU2NBAAAAAAAAAPA/AVNjUgAAAAAgEmPUPwFTY0cAAAAAoFDY5D8BU2NCAAAAAMDdaew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wN0yKEABV2lkdGgAAAAAQLqBWkABVG9wAAAAAADd6WdAAUxlZnQAAAAAQBsAfUAIRmxpcEhvcml6b250YWxseQAACEZsaXBIb3Jpem9udGFsbHlBcHBsaWVkAAAIRmxpcFZlcnRpY2FsbHkAAAhGbGlwVmVydGljYWxseUFwcGxpZWQAAAFSb3RhdGlvbgAAAAAAAAAAAAFaT3JkZXIAAAAAAACAUUADQm9yZGVyQ29sb3IAVQAAABBBAP8AAAAQUgD/AAAAEEcA/wAAABBCAP8AAAABU2NBAAAAAAAAAPA/AVNjUgAAAAAAAADwPwFTY0cAAAAAAAAA8D8BU2NCAAAAAAAAAPA/ABBCb3JkZXJUaGVtZUNvbG9yAAAAAAABQm9yZGVyVGludEFuZFNoYWRlAAAAAAAAAAAAEEJvcmRlclNjaGVtZUNvcgAAAAVwAAAAdQAAAOcPAAAAAAAAAAAAAGdodAAAA1RleHRNYXJnaW4APwAAAAFMZWZ0AAAAAAAAAAAAAVRvcAAAAAAAAAAAAAFSaWdodAAAAAAAAAAAAAFCb3R0b20AAAAAAAAAAAAAAUhlaWdodAAAAAAAAAAAAAFXaWR0aAAAAABg6eGNQAFUb3AAAAAAICELZ0ABTGVmdAAAAADAFq8HQAhGbGlwSG9yaXpvbnRhbGx5AAAIRmxpcEhvcml6b250YWxseUFwcGxpZWQAAAhGbGlwVmVydGljYWxseQAACEZsaXBWZXJ0aWNhbGx5QXBwbGllZAAAAVJvdGF0aW9uAAAAAAAAAAAAAVpPcmRlcgAAAAAAAAAoQANCb3JkZXJDb2xvcgBVAAAAEEEA/wAAABBSAOMAAAAQRwDjAAAAEEIA4wAAAAFTY0EAAAAAAAAA8D8BU2NSAAAAAMCxlOg/AVNjRwAAAADAsZToPwFTY0IAAAAAwLGU6D8AEEJvcmRlclRoZW1lQ29sb3IAAAAAAAFCb3JkZXJUaW50QW5kU2hhZGUAAAAAAAAAAAAQQm9yZGVyU2NoZW1lQ29sb3IAAAAAAAFCb3JkZXJUaGlja25lc3MAAAAAAAAA8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AAAMyACGCAAAQX2lkAAgAAAAESXRlbXMAazYAAAMwAHAcAAACX3R5cGUASwAAAGVtcG93ZXIuQ2hhcnRzLkRhdGEuR2FudHQuQ2hyb25vbG9neS5EYXRhLkJhclRhc2tEYXRhLCBlbXBvd2VyLkNoYXJ0cy5EYXRhAAJMYWJlbFBvc2l0aW9uAAcAAABDZW50ZXIACElzTGFiZWxJbnNpZGVCb3VuZHMAAQNTdHlsZQBbBAAAAURlZmF1bHRGb250U2l6ZQAAAAAAAAAkQAFGb250U2l6ZQAAAAAAAAAgQANGb250Q29sb3IAVQAAABBBAP8AAAAQUgAQAAAAEEcAOAAAABBCAE8AAAABU2NBAAAAAAAAAPA/AVNjUgAAAADgNjl1PwFTY0cAAAAAgGc/pD8BU2NCAAAAAGAXBLQ/ABBGb250VGhlbWVDb2xvcgAAAAAAEEZvbnRTY2hlbWVDb2xvcgAAAAAAAUZvbnRUaW50QW5kU2hhZGUAAAAAAAAAAAADUGF0dGVybkNvbG9yAFUAAAAQQQAAAAAAEFIAAAAAABBHAAAAAAAQQgAAAAAAAVNjQQAAAAAAAAAAAAFTY1IAAAAAAAAAAAABU2NHAAAAAAAAAAAAAVNjQgAAAAAAAAAAAAAQUGF0dGVyblRoZW1lQ29sb3IAAAAAAAFQYXR0ZXJuVGludEFuZFNoYWRlAAAAAAAAAAAAA0RhdGFTdHlsZUZvbnRDb2xvclZhbHVlAFUAAAAQQQAAAAAAEFIAAAAAABBHAAAAAAAQQgAAAAAAAVNjQQAAAAAAAAAAAAFTY1IAAAAAAAAAAAABU2NHAAAAAAAAAAAAAVNjQgAAAAAAAAAAAAAIRGF0YVN0eWxlRm9udENvbG9ySGFzVmFsdWUAAAFIZWlnaHQAAAAA4N0yKEACRGFzaFN0eWxlAA0AAABtc29MaW5lU29saWQACEhhc1dpc2hGaWxsQ29sb3IAAANGaWxsQ29sb3IAVQAAABBBAP8AAAAQUgCZAAAAEEcA0wAAABBCAPIAAAABU2NBAAAAAAAAAPA/AVNjUgAAAAAgEmPUPwFTY0cAAAAAoFDY5D8BU2NCAAAAAMDdaew/ABBGaWxsU2NoZW1lQ29sb3IAAAAAABBGaWxsVGhlbWVDb2xvcgAAAAAAAUZpbGxUaW50QW5kU2hhZGUAAAAAAAAAAAADQm9yZGVyQ29sb3IAVQAAABBBAAAAAAAQUgAAAAAAEEcAAAAAABBCAAAAAAABU2NBAAAAAAAAAAAAAVNjUgAAAAAAAAAAAAFTY0cAAAAAAAAAAAABU2NCAAAAAAAAAAAAABBCb3JkZXJUaGVtZUNvbG9yAAAAAAABQm9yZGVyVGludEFuZFNoYWRlAAAAAAAAAAAACElzRmlsbGVkAAECUGF0dGVybgAQAAAAbXNvUGF0dGVybk1peGVkAAJTaGFwZVR5cGUADgAAAG1zb1NoYXBlTWl4ZWQAA0xhYmVsT2Zmc2V0AEIAAAABWAAAAAAAAAAAAAFZAAAAAAAAAAAAAUxlbmd0aAAAAAAAAAAAAAFMZW5ndGhTcXVhcmVkAAAAAAAAAAAAAAhJc0ZvbnRCb2xkAAAISXNGb250SXRhbGljAAAISXNGb250VW5kZXJsaW5lZAAACExhYmVsSGFzQmFja2dyb3VuZAAAAlRleHRBbGlnbm1lbnQABQAAAExlZnQAAAhEaXNwbGF5TGFiZWwAAQNSZW5kZXJJbmZvAPMWAAADUmVjdGFuZ2xlRnJlZWZvcm0A/AgAAARWZXJ0aWNlcwCbAgAAAzAALAAAABBJbmRleDAAAAAAABBJbmRleDEAAAAAAAFWYWx1ZQAAAABAGwB9QAADMQAsAAAAEEluZGV4MAAAAAAAEEluZGV4MQABAAAAAVZhbHVlAAAAAADd6WdAAAMyACwAAAAQSW5kZXgwAAEAAAAQSW5kZXgxAAAAAAABVmFsdWUAAAAAQBsAfUAAAzMALAAAABBJbmRleDAAAQAAABBJbmRleDEAAQAAAAFWYWx1ZQAAAADgc6toQAADNAAsAAAAEEluZGV4MAACAAAAEEluZGV4MQAAAAAAAVZhbHVlAAAAAEAbAH1AAAM1ACwAAAAQSW5kZXgwAAIAAAAQSW5kZXgxAAEAAAABVmFsdWUAAAAA4AptaUAAAzYALAAAABBJbmRleDAAAwAAABBJbmRleDEAAAAAAAFWYWx1ZQAAAADgRNCBQAADNwAsAAAAEEluZGV4MAADAAAAEEluZGV4MQABAAAAAVZhbHVlAAAAAOAKbWlAAAM4ACwAAAAQSW5kZXgwAAQAAAAQSW5kZXgxAAAAAAABVmFsdWUAAAAA4ETQgUAAAzkALAAAABBJbmRleDAABAAAABBJbmRleDEAAQAAAAFWYWx1ZQAAAADgc6toQAADMTAALAAAABBJbmRleDAABQAAABBJbmRleDEAAAAAAAFWYWx1ZQAAAADgRNCBQAADMTEALAAAABBJbmRleDAABQAAABBJbmRleDEAAQAAAAFWYWx1ZQAAAAAA3elnQAADMTIALAAAABBJbmRleDAABgAAABBJbmRleDEAAAAAAAFWYWx1ZQAAAABAGwB9QAADMTMALAAAABBJbmRleDAABgAAABBJbmRleDEAAQAAAAFWYWx1ZQAAAAAA3elnQAAABU1hbmFnZWRJZAAQAAAABIe5t2E277FKk4OxJf32cAAISGFzQ2hhbmdlcwAACFVzZU5hbWVJbnN0ZWFkT2ZUYWdBc0lkAAAIU2hhcGVQcmV2aW91c2x5Q3JlYXRlZAAAA0ZpbGxDb2xvcgBVAAAAEEEA/wAAABBSAJkAAAAQRwDTAAAAEEIA8gAAAAFTY0EAAAAAAAAA8D8BU2NSAAAAACASY9Q/AVNjRwAAAACgUNjkPwFTY0IAAAAAwN1p7D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DA3TIoQAFXaWR0aAAAAABAuoFaQAFUb3AAAAAAAN3pZ0ABTGVmdAAAAABAGwB9QAhGbGlwSG9yaXpvbnRhbGx5AAAIRmxpcEhvcml6b250YWxseUFwcGxpZWQAAAhGbGlwVmVydGljYWxseQAACEZsaXBWZXJ0aWNhbGx5QXBwbGllZAAAAVJvdGF0aW9uAAAAAAAAAAAAAVpPcmRlcgAAAAAAAIBRQANCb3JkZXJDb2xvcgBVAAAAEEEA/wAAABBSAP8AAAAQRwD/AAAAEEIA/wAAAAFTY0EAAAAAAAAA8D8BU2NSAAAAAAAAAPA/AVNjRwAAAAAAAADwPwFTY0IAAAAAAAAA8D8AEEJvcmRlclRoZW1lQ29sb3IAAAAAAAFCb3JkZXJUaW50QW5kU2hhZGUAAAAAAAAAAAAQQm9yZGVyU2NoZW1lQ29sb3IAAAAAAHMAAAAFcQAAAHQAAADnDwAAAAAAAAAAAABsb3IAAAAAAAFCb3JkZXJUaGlja25lc3MAAAAAAAAA8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QmFyU3R5bGVEYXRhACYAAAACQmFyU3R5bGVTaGFwZVR5cGUACgAAAFJlY3RhbmdsZQAAA0xhYmVsALAGAAAFTWFuYWdlZElkABAAAAAE4i9XoSBVa0GQW3esnR7jsQhIYXNDaGFuZ2VzAAAIVXNlTmFtZUluc3RlYWRPZlRhZ0FzSWQAAAhTaGFwZVByZXZpb3VzbHlDcmVhdGVkAAEDRmlsbENvbG9yAFUAAAAQQQD/AAAAEFIAmQAAABBHANMAAAAQQgDyAAAAAVNjQQAAAAAAAADwPwFTY1IAAAAAIBJj1D8BU2NHAAAAAKBQ2OQ/AVNjQgAAAADA3WnsP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AA0AAABGYXNlIFBydWViYXMAAlRleHRIb3Jpem9udGFsQWxpZ25tZW50AA4AAABtc29BbmNob3JOb25lAAJQYXJhZ3JhcGhBbGlnbm1lbnQADwAAAG1zb0FsaWduQ2VudGVyAAJUZXh0VmVydGljYWxBbGlnbm1lbnQAEAAAAG1zb0FuY2hvck1pZGRsZQADRm9udFN0eWxlAEABAAAQRm9udEJhY2tncm91bmQAAAAAAAhGb250Qm9sZAAAA0ZvbnRDb2xvcgBVAAAAEEEA/wAAABBSABAAAAAQRwA4AAAAEEIATwAAAAFTY0EAAAAAAAAA8D8BU2NSAAAAAOA2OXU/AVNjRwAAAACAZz+kPwFTY0IAAAAAYBcEtD8AEEZvbnRUaGVtZUNvbG9yAAAAAAABRm9udFRpbnRBbmRTaGFkZQAAAAAAAAAAABBGb250U2NoZW1lQ29sb3IAAAAAAAhGb250SXRhbGljAAACRm9udE5hbWUABgAAAEFyaWFsAAFGb250U2l6ZQAAAAAAAAAgQAhGb250U3RyaWtldGhyb3VnaAAACEZvbnRTdWJzY3JpcHQAAAhGb250U3VwZXJzY3JpcHQAAAhGb250VW5kZXJsaW5lAAAACFNpemVUb1RleHRXaWR0aAAACFNpemVUb1RleHRIZWlnaHQAAANUZXh0TWFyZ2luAD8AAAABTGVmdAAAAAAAAAAAAAFUb3AAAAAAAAAAAAABUmlnaHQAAAAAAAAAAAABQm90dG9tAAAAAAAAAAAAAAJEaXNwbGF5VGV4dAANAAAARmFzZSBQcnVlYmFzAAFIZWlnaHQAAAAAABZcI0ABV2lkdGgAAAAAIK4nSUABVG9wAAAAAECTEGhAAUxlZnQAAAAAoNe9fkAIRmxpcEhvcml6b250YWxseQAACEZsaXBIb3Jpem9udGFsbHlBcHBsaWVkAAAIRmxpcFZlcnRpY2FsbHkAAAhGbGlwVmVydGljYWxseUFwcGxpZWQAAAFSb3RhdGlvbgAAAAAAAAAAAAFaT3JkZXIAAAAAAAAAUk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Nvbm5lY3RvckxpbmVEYXRhAOEGAAADU3RhcnQAGwAAAAFYAAAAAEAbAH1AAVkAAAAAAN3pZ0AAA0VuZAAbAAAAAVgAAAAAQBsAfUABWQAAAAAA3elnQAACU3RhcnRBcnJvd0hlYWQAEQAAAG1zb0Fycm93aGVhZE5vbmUAAkVuZEFycm93SGVhZAARAAAAbXNvQXJyb3doZWFkTm9uZQAFTWFuYWdlZElkABAAAAAEp//DYjDzc06dHygeL6YdlAhIYXNDaGFuZ2VzAAAIVXNlTmFtZUluc3RlYWRPZlRhZ0FzSWQAAAhTaGFwZVByZXZpb3VzbHlDcmVhdGVkAAA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A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AAAAAAAAVdpZHRoAAAAAAAAAAAAAVRvcAAAAAAA3elnQAFMZWZ0AAAAAEAbAH1ACEZsaXBIb3Jpem9udGFsbHkAAAhGbGlwSG9yaXpvbnRhbGx5QXBwbGllZAAACEZsaXBWZXJ0aWNhbGx5AAAIRmxpcFZlcnRpY2FsbHlBcHBsaWVkAAABUm90YXRpb24AAAAAAAAAAAABWk9yZGVyAAAAAAAAwFFAA0JvcmRlckNvbG9yAFUAAAAQQQD/AAAAEFIAmQAAABBHANMAAAAQQgDyAAAAAVNjQQAAAAAAAADwPwFTY1IAAAAAIBJj1D8BU2NHAAAAAKBQ2OQ/AVNjQgAAAADA3WnsPw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AJRW5kVGltZQAA54alkAEAABBJbmRleAABAAAAAkRlc2NyaXB0aW9uAA0AAABGYXNlIFBydWViYXMAAk5hbWUABQAAAFRhc2sACElzTGVhZGVyTGluZUluQXV0b01vZGUAAQlTdGFydFRpbWUAALeHPpABAAAAAzEA8BkAAAJfdHlwZQBNAAAAZW1wb3dlci5DaGFydHMuRGF0YS5HYW50dC5DaHJvbm9sb2d5LkRhdGEuTWlsZXN0b25lRGF0YSwgZW1wb3dlci5DaGFydHMuRGF0YQADU3R5bGUAdgQAAAFEZWZhdWx0Rm9udFNpemV0AAAABXMAAAB3AAAA5w8AAAAAAAAAAAAAAAAAAAAAACRAAUZvbnRTaXplAAAAAAAAACBAA0ZvbnRDb2xvcgBVAAAAEEEA/wAAABBSABAAAAAQRwA4AAAAEEIATwAAAAFTY0EAAAAAAAAA8D8BU2NSAAAAAOA2OXU/AVNjRwAAAACAZz+kPwFTY0IAAAAAYBcEtD8AEEZvbnRUaGVtZUNvbG9yAAAAAAAQRm9udFNjaGVtZUNvbG9yAAAAAAABRm9udFRpbnRBbmRTaGFkZQAAAAAAAAAAAANQYXR0ZXJuQ29sb3IAVQAAABBBAAAAAAAQUgAAAAAAEEcAAAAAABBCAAAAAAABU2NBAAAAAAAAAAAAAVNjUgAAAAAAAAAAAAFTY0cAAAAAAAAAAAABU2NCAAAAAAAAAAAAABBQYXR0ZXJuVGhlbWVDb2xvcgAAAAAAAVBhdHRlcm5UaW50QW5kU2hhZGUAAAAAAAAAAAADRGF0YVN0eWxlRm9udENvbG9yVmFsdWUAVQAAABBBAAAAAAAQUgAAAAAAEEcAAAAAABBCAAAAAAABU2NBAAAAAAAAAAAAAVNjUgAAAAAAAAAAAAFTY0cAAAAAAAAAAAABU2NCAAAAAAAAAAAAAAhEYXRhU3R5bGVGb250Q29sb3JIYXNWYWx1ZQAAAUhlaWdodAAAAADg3TIoQAJEYXNoU3R5bGUADQAAAG1zb0xpbmVTb2xpZAAISGFzV2lzaEZpbGxDb2xvcgAAA0ZpbGxDb2xvcgBVAAAAEEEA/wAAABBSAAAAAAAQRwCRAAAAEEIA3wAAAAFTY0EAAAAAAAAA8D8BU2NSAAAAAAAAAAAAAVNjRwAAAAAAHB/SPwFTY0IAAAAAYPac5z8AEEZpbGxTY2hlbWVDb2xvcgAAAAAAEEZpbGxUaGVtZUNvbG9yAAAAAAABRmlsbFRpbnRBbmRTaGFkZQAAAAAAAAAAAANCb3JkZXJDb2xvcgBVAAAAEEEA/wAAABBSAP8AAAAQRwD/AAAAEEIA/wAAAAFTY0EAAAAAAAAA8D8BU2NSAAAAAAAAAPA/AVNjRwAAAAAAAADwPwFTY0IAAAAAAAAA8D8AEEJvcmRlclRoZW1lQ29sb3IAAAAAAAFCb3JkZXJUaW50QW5kU2hhZGUAAAAAAAAAAAAISXNGaWxsZWQAAQJQYXR0ZXJuABAAAABtc29QYXR0ZXJuTWl4ZWQAAlNoYXBlVHlwZQAQAAAAbXNvU2hhcGVEaWFtb25kAANMYWJlbE9mZnNldABCAAAAAVgAAAAAAAAAAAABWQDgbDxwxNM/wAFMZW5ndGgA4Gw8cMTTP0ABTGVuZ3RoU3F1YXJlZAA8ELMExqePQAABQm9yZGVyVGhpY2tuZXNzAAAAAAAAAPA/CElzRm9udEJvbGQAAAhJc0ZvbnRJdGFsaWMAAAhJc0ZvbnRVbmRlcmxpbmVkAAAITGFiZWxIYXNCYWNrZ3JvdW5kAAACVGV4dEFsaWdubWVudAAFAAAATGVmdAAACERpc3BsYXlMYWJlbAABCExhYmVsSGFzQmFja2dyb3VuZAAAA1JlbmRlckluZm8AQxQAAANTeW1ib2wAcgYAAAJBdXRvU2hhcGVUeXBlAAgAAABEaWFtb25kAAVNYW5hZ2VkSWQAEAAAAAT7xDjFtb85RZQREmflQQfiCEhhc0NoYW5nZXMAAAhVc2VOYW1lSW5zdGVhZE9mVGFnQXNJZAAACFNoYXBlUHJldmlvdXNseUNyZWF0ZWQAAANGaWxsQ29sb3IAVQAAABBBAP8AAAAQUgAAAAAAEEcAkQAAABBCAN8AAAABU2NBAAAAAAAAAPA/AVNjUgAAAAAAAAAAAAFTY0cAAAAAABwf0j8BU2NCAAAAAGD2nO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wN0yKEABV2lkdGgAAAAAwN0yKEABVG9wAAAAAADd6WdAAUxlZnQAAAAAIN+fgUAIRmxpcEhvcml6b250YWxseQAACEZsaXBIb3Jpem9udGFsbHlBcHBsaWVkAAAIRmxpcFZlcnRpY2FsbHkAAAhGbGlwVmVydGljYWxseUFwcGxpZWQAAAFSb3RhdGlvbgAAAAAAAAAAAAFaT3JkZXIAAAAAAACAVEADQm9yZGVyQ29sb3IAVQAAABBBAP8AAAAQUgD/AAAAEEcA/wAAABBCAP8AAAABU2NBAAAAAAAAAPA/AVNjUgAAAAAAAADwPwFTY0cAAAAAAAAA8D8BU2NCAAAAAAAAAPA/ABBCb3JkZXJUaGVtZUNvbG9yAAAAAAABQm9yZGVyVGludEFuZFNoYWRlAAAAAAAAAAAAEEJvcmRlclNjaGVtZUNvbG9yAAAAAAABQm9yZGVyVGhpY2tuZXNzAAAAAAAAAPA/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xhYmVsAM0GAAAFTWFuYWdlZElkABAAAAAEk77aLiIVmUuUxvIvFTqw+AhIYXNDaGFuZ2VzAAAIVXNlTmFtZUluc3RlYWRPZlRhZ0FzSWQAAAhTaGFwZVByZXZpb3VzbHlDcmVhdGVkAAEDRmlsbENvbG9yAFUAAAAQQQD/AAAAEFIAAAAAABBHAJEAAAAQQgDfAAAAAVNjQQAAAAAAAADwPwFTY1IAAAAAAAAAAAABU2NHAAAAAAAcH9I/AVNjQgAAAABg9pznP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ACIAAABJbXBsZW1lbnRhY2nDs24gDQo34oCLLzEyLzIwMuKAizQAAlRleHRIb3Jpem9udGFsQWxpZ25tZW50AA4AAABtc29BbmNob3JOb25lAAJQYXJhZ3JhcGhBbGlnbm1lbnQAAgAAADAAAlRleHRWZXJ0aWNhbEFsaWdubWVudAAQAAAAbXNvQW5jaG9yTWlkZGxlAANGb250U3R5bGUAQAEAABBGb250QmFja2dyb3VuZAAAAAAACEZvbnRCb2xkAAADRm9udENvbG9yAFUAAAAQQQD/AAAAEFIAEAAAABBHADgAAAAQQgBPAAAAAVNjQQAAAAAAAADwPwFTY1IAAAAA4DY5dT8BU2NHAAAAAIBnP6Q/AVNjQgAAAABgFwS0PwAQRm9udFRoZW1lQ29sb3IAAAAAAAFGb250VGludEFuZFNoYWRlAAAAAAAAAAAAEEZvbnRTY2hlbWVDb2xvcgAAAAAACEZvbnRJdGFsaWMAAAJGb250TmFtZQAGAAAAQXJpYWwAAUZvbnRTaXplAAAAAAAAACBACEZvbnRTdHJpa2V0aHJvdWdoAAAIRm9udFN1YnNjcmlwdAAACEZvbnRTdXBlcnNjcmlwdAAACEZvbnRVbmRlcmxpbmUAAAAIU2l6ZVRvVGV4dFdpZHRoAAAIU2l6ZVRvVGV4dEhlaWdodAAAA1RleHRNYXJnaW4APwAAAAFMZWZ0AAAAAAAAAAAAAVRvcAAAAAAAAAAAAAFSaWdodAAAAAAAAAAAAAFCb3R0b20AAAAAAAAAAAAAAkRpc3BsYXlUZXh0ACIAAABJbXBsZW1lbnRhY2nDs24gDQo34oCLLzEyLzIwMuKAizQAAUhlaWdodAAAAAAADcc2QAFXaWR0aAAAAADgeiRQQAFUb3AAAAAAYPuwZEABTGVmdAAAAADgRNCBQAhGbGlwSG9yaXpvbnRhbGx5AAAIRmxpcEhvcml6b250YWxseUFwcGxpZWQAAAhGbGlwVmVydQAAAAVyAAAAdgAAAOcPAAAAAAAAAAAAAAFCb3JkZXJUaGlja25lc3MAAAAAAAAA8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QmFyU3R5bGVEYXRhACYAAAACQmFyU3R5bGVTaGFwZVR5cGUACgAAAFJlY3RhbmdsZQAAA0xhYmVsALAGAAAFTWFuYWdlZElkABAAAAAE4i9XoSBVa0GQW3esnR7jsQhIYXNDaGFuZ2VzAAAIVXNlTmFtZUluc3RlYWRPZlRhZ0FzSWQAAAhTaGFwZVByZXZpb3VzbHlDcmVhdGVkAAEDRmlsbENvbG9yAFUAAAAQQQD/AAAAEFIAmQAAABBHANMAAAAQQgDyAAAAAVNjQQAAAAAAAADwPwFTY1IAAAAAIBJj1D8BU2NHAAAAAKBQ2OQ/AVNjQgAAAADA3WnsP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AA0AAABGYXNlIFBydWViYXMAAlRleHRIb3Jpem9udGFsQWxpZ25tZW50AA4AAABtc29BbmNob3JOb25lAAJQYXJhZ3JhcGhBbGlnbm1lbnQADwAAAG1zb0FsaWduQ2VudGVyAAJUZXh0VmVydGljYWxBbGlnbm1lbnQAEAAAAG1zb0FuY2hvck1pZGRsZQADRm9udFN0eWxlAEABAAAQRm9udEJhY2tncm91bmQAAAAAAAhGb250Qm9sZAAAA0ZvbnRDb2xvcgBVAAAAEEEA/wAAABBSABAAAAAQRwA4AAAAEEIATwAAAAFTY0EAAAAAAAAA8D8BU2NSAAAAAOA2OXU/AVNjRwAAAACAZz+kPwFTY0IAAAAAYBcEtD8AEEZvbnRUaGVtZUNvbG9yAAAAAAABRm9udFRpbnRBbmRTaGFkZQAAAAAAAAAAABBGb250U2NoZW1lQ29sb3IAAAAAAAhGb250SXRhbGljAAACRm9udE5hbWUABgAAAEFyaWFsAAFGb250U2l6ZQAAAAAAAAAgQAhGb250U3RyaWtldGhyb3VnaAAACEZvbnRTdWJzY3JpcHQAAAhGb250U3VwZXJzY3JpcHQAAAhGb250VW5kZXJsaW5lAAAACFNpemVUb1RleHRXaWR0aAAACFNpemVUb1RleHRIZWlnaHQAAANUZXh0TWFyZ2luAD8AAAABTGVmdAAAAAAAAAAAAAFUb3AAAAAAAAAAAAABUmlnaHQAAAAAAAAAAAABQm90dG9tAAAAAAAAAAAAAAJEaXNwbGF5VGV4dAANAAAARmFzZSBQcnVlYmFzAAFIZWlnaHQAAAAAABZcI0ABV2lkdGgAAAAAIK4nSUABVG9wAAAAAECTEGhAAUxlZnQAAAAAoNe9fkAIRmxpcEhvcml6b250YWxseQAACEZsaXBIb3Jpem9udGFsbHlBcHBsaWVkAAAIRmxpcFZlcnRpY2FsbHkAAAhGbGlwVmVydGljYWxseUFwcGxpZWQAAAFSb3RhdGlvbgAAAAAAAAAAAAFaT3JkZXIAAAAAAAAAUk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Nvbm5lY3RvckxpbmVEYXRhAOEGAAADU3RhcnQAGwAAAAFYAAAAAEAbAH1AAVkAAAAAAN3pZ0AAA0VuZAAbAAAAAVgAAAAAQBsAfUABWQAAAAAA3elnQAACU3RhcnRBcnJvd0hlYWQAEQAAAG1zb0Fycm93aGVhZE5vbmUAAkVuZEFycm93SGVhZAARAAAAbXNvQXJyb3doZWFkTm9uZQAFTWFuYWdlZElkABAAAAAEp//DYjDzc06dHygeL6YdlAhIYXNDaGFuZ2VzAAAIVXNlTmFtZUluc3RlYWRPZlRhZ0FzSWQAAAhTaGFwZVByZXZpb3VzbHlDcmVhdGVkAAA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A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AAAAAAAAVdpZHRoAAAAAAAAAAAAAVRvcAAAAAAA3elnQAFMZWZ0AAAAAEAbAH1ACEZsaXBIb3Jpem9udGFsbHkAAAhGbGlwSG9yaXpvbnRhbGx5QXBwbGllZAAACEZsaXBWZXJ0aWNhbGx5AAAIRmxpcFZlcnRpY2FsbHlBcHBsaWVkAAABUm90YXRpb24AAAAAAAAAAAABWk9yZGVyAAAAAAAAwFFAA0JvcmRlckNvbG9yAFUAAAAQQQD/AAAAEFIAmQAAABBHANMAAAAQQgDyAAAAAVNjQQAAAAAAAADwPwFTY1IAAAAAIBJj1D8BU2NHAAAAAKBQ2OQ/AVNjQgAAAADA3WnsPw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AJRW5kVGltZQAA54alkAEAABBJbmRleAABAAAAAkRlc2NyaXB0aW9uAA0AAABGYXNlIFBydWViYXMAAk5hbWUABQAAAFRhc2sACElzTGVhZGVyTGluZUluQXV0b01vZGUAAQlTdGFydFRpbWUAALeHPpABAAAAAzEA8BkAAAJfdHlwZQBNAAAAZW1wb3dlci5DaGFydHMuRGF0YS5HYW50dC5DaHJvbm9sb2d5LkRhdGEuTWlsZXN0b25lRGF0YSwgZW1wb3dlci5DaGFydHMuRGF0YQADU3R5bGUAdgQAAAFEZWZhdWx0Rm9udFNpemUAAAAAAAAAJHYAAAAFdQAAAHkAAADnDwAAAAAAAAAAAABAAUZvbnRTaXplAAAAAAAAACBAA0ZvbnRDb2xvcgBVAAAAEEEA/wAAABBSABAAAAAQRwA4AAAAEEIATwAAAAFTY0EAAAAAAAAA8D8BU2NSAAAAAOA2OXU/AVNjRwAAAACAZz+kPwFTY0IAAAAAYBcEtD8AEEZvbnRUaGVtZUNvbG9yAAAAAAAQRm9udFNjaGVtZUNvbG9yAAAAAAABRm9udFRpbnRBbmRTaGFkZQAAAAAAAAAAAANQYXR0ZXJuQ29sb3IAVQAAABBBAAAAAAAQUgAAAAAAEEcAAAAAABBCAAAAAAABU2NBAAAAAAAAAAAAAVNjUgAAAAAAAAAAAAFTY0cAAAAAAAAAAAABU2NCAAAAAAAAAAAAABBQYXR0ZXJuVGhlbWVDb2xvcgAAAAAAAVBhdHRlcm5UaW50QW5kU2hhZGUAAAAAAAAAAAADRGF0YVN0eWxlRm9udENvbG9yVmFsdWUAVQAAABBBAAAAAAAQUgAAAAAAEEcAAAAAABBCAAAAAAABU2NBAAAAAAAAAAAAAVNjUgAAAAAAAAAAAAFTY0cAAAAAAAAAAAABU2NCAAAAAAAAAAAAAAhEYXRhU3R5bGVGb250Q29sb3JIYXNWYWx1ZQAAAUhlaWdodAAAAADg3TIoQAJEYXNoU3R5bGUADQAAAG1zb0xpbmVTb2xpZAAISGFzV2lzaEZpbGxDb2xvcgAAA0ZpbGxDb2xvcgBVAAAAEEEA/wAAABBSAAAAAAAQRwCRAAAAEEIA3wAAAAFTY0EAAAAAAAAA8D8BU2NSAAAAAAAAAAAAAVNjRwAAAAAAHB/SPwFTY0IAAAAAYPac5z8AEEZpbGxTY2hlbWVDb2xvcgAAAAAAEEZpbGxUaGVtZUNvbG9yAAAAAAABRmlsbFRpbnRBbmRTaGFkZQAAAAAAAAAAAANCb3JkZXJDb2xvcgBVAAAAEEEA/wAAABBSAP8AAAAQRwD/AAAAEEIA/wAAAAFTY0EAAAAAAAAA8D8BU2NSAAAAAAAAAPA/AVNjRwAAAAAAAADwPwFTY0IAAAAAAAAA8D8AEEJvcmRlclRoZW1lQ29sb3IAAAAAAAFCb3JkZXJUaW50QW5kU2hhZGUAAAAAAAAAAAAISXNGaWxsZWQAAQJQYXR0ZXJuABAAAABtc29QYXR0ZXJuTWl4ZWQAAlNoYXBlVHlwZQAQAAAAbXNvU2hhcGVEaWFtb25kAANMYWJlbE9mZnNldABCAAAAAVgAAAAAAAAAAAABWQDgbDxwxNM/wAFMZW5ndGgA4Gw8cMTTP0ABTGVuZ3RoU3F1YXJlZAA8ELMExqePQAABQm9yZGVyVGhpY2tuZXNzAAAAAAAAAPA/CElzRm9udEJvbGQAAAhJc0ZvbnRJdGFsaWMAAAhJc0ZvbnRVbmRlcmxpbmVkAAAITGFiZWxIYXNCYWNrZ3JvdW5kAAACVGV4dEFsaWdubWVudAAFAAAATGVmdAAACERpc3BsYXlMYWJlbAABCExhYmVsSGFzQmFja2dyb3VuZAAAA1JlbmRlckluZm8AQxQAAANTeW1ib2wAcgYAAAJBdXRvU2hhcGVUeXBlAAgAAABEaWFtb25kAAVNYW5hZ2VkSWQAEAAAAAT7xDjFtb85RZQREmflQQfiCEhhc0NoYW5nZXMAAAhVc2VOYW1lSW5zdGVhZE9mVGFnQXNJZAAACFNoYXBlUHJldmlvdXNseUNyZWF0ZWQAAANGaWxsQ29sb3IAVQAAABBBAP8AAAAQUgAAAAAAEEcAkQAAABBCAN8AAAABU2NBAAAAAAAAAPA/AVNjUgAAAAAAAAAAAAFTY0cAAAAAABwf0j8BU2NCAAAAAGD2nO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wN0yKEABV2lkdGgAAAAAwN0yKEABVG9wAAAAAADd6WdAAUxlZnQAAAAAIN+fgUAIRmxpcEhvcml6b250YWxseQAACEZsaXBIb3Jpem9udGFsbHlBcHBsaWVkAAAIRmxpcFZlcnRpY2FsbHkAAAhGbGlwVmVydGljYWxseUFwcGxpZWQAAAFSb3RhdGlvbgAAAAAAAAAAAAFaT3JkZXIAAAAAAACAVEADQm9yZGVyQ29sb3IAVQAAABBBAP8AAAAQUgD/AAAAEEcA/wAAABBCAP8AAAABU2NBAAAAAAAAAPA/AVNjUgAAAAAAAADwPwFTY0cAAAAAAAAA8D8BU2NCAAAAAAAAAPA/ABBCb3JkZXJUaGVtZUNvbG9yAAAAAAABQm9yZGVyVGludEFuZFNoYWRlAAAAAAAAAAAAEEJvcmRlclNjaGVtZUNvbG9yAAAAAAABQm9yZGVyVGhpY2tuZXNzAAAAAAAAAPA/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xhYmVsAM0GAAAFTWFuYWdlZElkABAAAAAEk77aLiIVmUuUxvIvFTqw+AhIYXNDaGFuZ2VzAAAIVXNlTmFtZUluc3RlYWRPZlRhZ0FzSWQAAAhTaGFwZVByZXZpb3VzbHlDcmVhdGVkAAEDRmlsbENvbG9yAFUAAAAQQQD/AAAAEFIAAAAAABBHAJEAAAAQQgDfAAAAAVNjQQAAAAAAAADwPwFTY1IAAAAAAAAAAAABU2NHAAAAAAAcH9I/AVNjQgAAAABg9pznP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ACIAAABJbXBsZW1lbnRhY2nDs24gDQo34oCLLzEyLzIwMuKAizQAAlRleHRIb3Jpem9udGFsQWxpZ25tZW50AA4AAABtc29BbmNob3JOb25lAAJQYXJhZ3JhcGhBbGlnbm1lbnQAAgAAADAAAlRleHRWZXJ0aWNhbEFsaWdubWVudAAQAAAAbXNvQW5jaG9yTWlkZGxlAANGb250U3R5bGUAQAEAABBGb250QmFja2dyb3VuZAAAAAAACEZvbnRCb2xkAAADRm9udENvbG9yAFUAAAAQQQD/AAAAEFIAEAAAABBHADgAAAAQQgBPAAAAAVNjQQAAAAAAAADwPwFTY1IAAAAA4DY5dT8BU2NHAAAAAIBnP6Q/AVNjQgAAAABgFwS0PwAQRm9udFRoZW1lQ29sb3IAAAAAAAFGb250VGludEFuZFNoYWRlAAAAAAAAAAAAEEZvbnRTY2hlbWVDb2xvcgAAAAAACEZvbnRJdGFsaWMAAAJGb250TmFtZQAGAAAAQXJpYWwAAUZvbnRTaXplAAAAAAAAACBACEZvbnRTdHJpa2V0aHJvdWdoAAAIRm9udFN1YnNjcmlwdAAACEZvbnRTdXBlcnNjcmlwdAAACEZvbnRVbmRlcmxpbmUAAAAIU2l6ZVRvVGV4dFdpZHRoAAAIU2l6ZVRvVGV4dEhlaWdodAAAA1RleHRNYXJnaW4APwAAAAFMZWZ0AAAAAAAAAAAAAVRvcAAAAAAAAAAAAAFSaWdodAAAAAAAAAAAAAFCb3R0b20AAAAAAAAAAAAAAkRpc3BsYXlUZXh0ACIAAABJbXBsZW1lbnRhY2nDs24gDQo34oCLLzEyLzIwMuKAizQAAUhlaWdodAAAAAAADcc2QAFXaWR0aAAAAADgeiRQQAFUb3AAAAAAYPuwZEABTGVmdAAAAADgRNCBQAhGbGlwSG9yaXpvbnRhbGx5AAAIRmxpcEhvcml6b250YWxseUFwcGxpZWQAAAhGbGlwVmVydGljYWxseQB3AAAABXQAAAB4AAAA5w8AAAAAAAAAAAAAdGljYWxseQAACEZsaXBWZXJ0aWNhbGx5QXBwbGllZAAAAVJvdGF0aW9uAAAAAAAAAAAAAVpPcmRlcgAAAAAAAMBU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Q29ubmVjdG9yTGluZQDhBgAAA1N0YXJ0ABsAAAABWAAAAAAg35+BQAFZAAAAAADd6WdAAANFbmQAGwAAAAFYAAAAACDfn4FAAVkAAAAAAN3pZ0AAAlN0YXJ0QXJyb3dIZWFkABEAAABtc29BcnJvd2hlYWROb25lAAJFbmRBcnJvd0hlYWQAEQAAAG1zb0Fycm93aGVhZE5vbmUABU1hbmFnZWRJZAAQAAAABF2+g8RBMbZNl1lQwW7K78AISGFzQ2hhbmdlcwAACFVzZU5hbWVJbnN0ZWFkT2ZUYWdBc0lkAAAIU2hhcGVQcmV2aW91c2x5Q3JlYXRlZAAA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A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AAAAAAAAFUb3AAAAAAAN3pZ0ABTGVmdAAAAAAg35+BQAhGbGlwSG9yaXpvbnRhbGx5AAAIRmxpcEhvcml6b250YWxseUFwcGxpZWQAAAhGbGlwVmVydGljYWxseQAACEZsaXBWZXJ0aWNhbGx5QXBwbGllZAAAAVJvdGF0aW9uAAAAAAAAAAAAAVpPcmRlcgAAAAAAAEBUQANCb3JkZXJDb2xvcgBVAAAAEEEA/wAAABBSAAAAAAAQRwCRAAAAEEIA3wAAAAFTY0EAAAAAAAAA8D8BU2NSAAAAAAAAAAAAAVNjRwAAAAAAHB/SPwFTY0IAAAAAYPac5z8AEEJvcmRlclRoZW1lQ29sb3IAAAAAAAFCb3JkZXJUaW50QW5kU2hhZGUAAAAAAAAAAAAQQm9yZGVyU2NoZW1lQ29sb3IAAAAAAAFCb3JkZXJUaGlja25lc3MAAAAAAAAA4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AAk1pbGVzdG9uZUxhYmVsUG9zaXRpb24ACQAAAFRvcFJpZ2h0ABBJbmRleAACAAAAAkRlc2NyaXB0aW9uACIAAABJbXBsZW1lbnRhY2nDs24gDQo34oCLLzEyLzIwMuKAizQAAk5hbWUACgAAAE1pbGVzdG9uZQAISXNMZWFkZXJMaW5lSW5BdXRvTW9kZQABCVN0YXJ0VGltZQAA54alkAEAAAAAAk5hbWUACQAAAFNwcmludCAzAAhJc0hpZ2hsaWdodGVkAAAISXNTZXBhcmF0b3JMaW5lVmlzaWJsZQABA1N0eWxlAHQEAAABRGVmYXVsdEZvbnRTaXplAAAAAAAAACRAAUZvbnRTaXplAAAAAAAAACRAA0ZvbnRDb2xvcgBVAAAAEEEA/wAAABBSABAAAAAQRwA4AAAAEEIATwAAAAFTY0EAAAAAAAAA8D8BU2NSAAAAAOA2OXU/AVNjRwAAAACAZz+kPwFTY0IAAAAAYBcEtD8AEEZvbnRUaGVtZUNvbG9yAAAAAAAQRm9udFNjaGVtZUNvbG9yAAAAAAABRm9udFRpbnRBbmRTaGFkZQAAAAAAAAAAAANQYXR0ZXJuQ29sb3IAVQAAABBBAAAAAAAQUgAAAAAAEEcAAAAAABBCAAAAAAABU2NBAAAAAAAAAAAAAVNjUgAAAAAAAAAAAAFTY0cAAAAAAAAAAAABU2NCAAAAAAAAAAAAABBQYXR0ZXJuVGhlbWVDb2xvcgAAAAAAAVBhdHRlcm5UaW50QW5kU2hhZGUAAAAAAAAAAAADRGF0YVN0eWxlRm9udENvbG9yVmFsdWUAVQAAABBBAP8AAAAQUgAQAAAAEEcAOAAAABBCAE8AAAABU2NBAAAAAAAAAPA/AVNjUgAAAADgNjl1PwFTY0cAAAAAgGc/pD8BU2NCAAAAAGAXBLQ/AAhEYXRhU3R5bGVGb250Q29sb3JIYXNWYWx1ZQABAUhlaWdodAAAAAAAAAAAAAJEYXNoU3R5bGUADQAAAG1zb0xpbmVTb2xpZAAISGFzV2lzaEZpbGxDb2xvcgABA0ZpbGxDb2xvcgBVAAAAEEEAAAAAABBSAP8AAAAQRwD/AAAAEEIA/wAAAAFTY0EAAAAAAAAAAAABU2NSAAAAAAAAAPA/AVNjRwAAAAAAAADwPwFTY0IAAAAAAAAA8D8AEEZpbGxTY2hlbWVDb2xvcgAAAAAAEEZpbGxUaGVtZUNvbG9yAAAAAAABRmlsbFRpbnRBbmRTaGFkZQAAAAAAAAAAAANCb3JkZXJDb2xvcgBVAAAAEEEA/wAAABBSAOMAAAAQRwDjAAAAEEIA4wAAAAFTY0EAAAAAAAAA8D8BU2NSAAAAAMCxlOg/AVNjRwAAAADAsZToPwFTY0IAAAAAwLGU6D8AEEJvcmRlclRoZW1lQ29sb3IAAAAAAAFCb3JkZXJUaW50QW5kU2hhZGUAAAAAAAAAAAAISXNGaWxsZWQAAQJQYXR0ZXJuABAAAABtc29QYXR0ZXJuTWl4ZWQAAlNoYXBlVHlwZQAOAAAAbXNvU2hhcGVNaXhlZAADTGFiZWxPZmZzZXQAQgAAAAFYAAAAAAAAAAAAAVkAAAAAAAAAAAABTGVuZ3RoAAAAAAAAAAAAAUxlbmd0aFNxdWFyZWQAAAAAAAAAAAAAAUJvcmRlclRoaWNrbmVzcwAAAAAAAADwPwhJc0ZvbnRCb2xkAAAISXNGb250SXRhbGljAAAISXNGb250VW5kZXJsaW5lZAAACExhYmVsSGFzQmFja2dyb3VuZAAAAlRleHRBbGlnbm1lbnQABQAAAExlZnQAAAFSb3dUb3AAE6ifJSEbZ0ABUm93SGVpZ2h0AG41KjItBTlAA0xlZnROb3RlcwDHBAAAA1RleHRTdHlsZQBbBAAAAURlZmF1bHRGb250U2l6ZQAAAAAAAAAkQAFGb250U2l6ZQAAAAAAAAAkQANGb250Q29sb3IAVQAAABBBAP8AAAAQUgAQAAAAEEcAOAAAABBCAE8AAAABU2NBAAAAAAAAAPA/AVNjUgAAAADgNjl1PwFTY0cAAAAAgGc/pD8BU2NCAAAAAGAXBLQ/ABBGb250VGhlbWVDb2xvcgAAAAAAEEZvbnRTY2hlbWVDb2xvcgAAAAAAAUZvbnRUaW50QW5kU2hhZGUAAAAAAAAAAAADUGF0dGVybkNvbG9yAFUAAAAQQQAAAAAAEFIAAAAAABBHAAAAAAAQQgAAAAAAAVNjQQAAAAAAAAAAAAFTY1IAAAAAAAAAAAABU2NHAAAAAAAAAAAAAVNjQgAAAAAAAAAAAAAQUGF0dGVyblRoZW1lQ29sb3IAAAAAAAFQYXR0ZXJuVGludEFuZFNoYWRleAAAAAV3AAAAewAAAOcPAAAAAAAAAAAAAAAAAAAAAAAAAANEYXRhU3R5bGVGb250Q29sb3JWYWx1ZQBVAAAAEEEA/wAAABBSABAAAAAQRwA4AAAAEEIATwAAAAFTY0EAAAAAAAAA8D8BU2NSAAAAAOA2OXU/AVNjRwAAAACAZz+kPwFTY0IAAAAAYBcEtD8ACERhdGFTdHlsZUZvbnRDb2xvckhhc1ZhbHVlAAEBSGVpZ2h0AAAAAAAAAAAAAkRhc2hTdHlsZQANAAAAbXNvTGluZVNvbGlkAAhIYXNXaXNoRmlsbENvbG9yAAADRmlsbENvbG9yAFUAAAAQQQD/AAAAEFIAAAAAABBHAAAAAAAQQgAAAAAAAVNjQQAAAAAAAADwPwFTY1IAAAAAAAAAAAABU2NHAAAAAAAAAAAAAVNjQgAAAAAAAAAAAAAQRmlsbFNjaGVtZUNvbG9yAAAAAAAQRmlsbFRoZW1lQ29sb3IAAAAAAAFGaWxsVGludEFuZFNoYWRlAAAAAAAAAAAAA0JvcmRlckNvbG9yAFUAAAAQQQAAAAAAEFIAAAAAABBHAAAAAAAQQgAAAAAAAVNjQQAAAAAAAAAAAAFTY1IAAAAAAAAAAAABU2NHAAAAAAAAAAAAAVNjQgAAAAAAAAAAAAAQQm9yZGVyVGhlbWVDb2xvcgAAAAAAAUJvcmRlclRpbnRBbmRTaGFkZQAAAAAAAAAAAAhJc0ZpbGxlZAABAlBhdHRlcm4AEAAAAG1zb1BhdHRlcm5NaXhlZAACU2hhcGVUeXBlAA4AAABtc29TaGFwZU1peGVkAANMYWJlbE9mZnNldABCAAAAAVgAAAAAAAAAAAABWQAAAAAAAAAAAAFMZW5ndGgAAAAAAAAAAAABTGVuZ3RoU3F1YXJlZAAAAAAAAAAAAAAISXNGb250Qm9sZAAACElzRm9udEl0YWxpYwAACElzRm9udFVuZGVybGluZWQAAAhMYWJlbEhhc0JhY2tncm91bmQAAAJUZXh0QWxpZ25tZW50AAUAAABMZWZ0AAAISGFydmV5QmFsbFZpc2libGUAARBIYXJ2ZXlCYWxsVmFsdWUAAAAAAAJDaGVja0JveFN0YXRlAAUAAABOb25lAAJUcmFmZmljTGlnaHRTdGF0ZQAEAAAAT2ZmAAADUmlnaHROb3RlcwDHBAAAA1RleHRTdHlsZQBbBAAAAURlZmF1bHRGb250U2l6ZQAAAAAAAAAkQAFGb250U2l6ZQAAAAAAAAAkQANGb250Q29sb3IAVQAAABBBAP8AAAAQUgAQAAAAEEcAOAAAABBCAE8AAAABU2NBAAAAAAAAAPA/AVNjUgAAAADgNjl1PwFTY0cAAAAAgGc/pD8BU2NCAAAAAGAXBLQ/ABBGb250VGhlbWVDb2xvcgAAAAAAEEZvbnRTY2hlbWVDb2xvcgAAAAAAAUZvbnRUaW50QW5kU2hhZGUAAAAAAAAAAAADUGF0dGVybkNvbG9yAFUAAAAQQQAAAAAAEFIAAAAAABBHAAAAAAAQQgAAAAAAAVNjQQAAAAAAAAAAAAFTY1IAAAAAAAAAAAABU2NHAAAAAAAAAAAAAVNjQgAAAAAAAAAAAAAQUGF0dGVyblRoZW1lQ29sb3IAAAAAAAFQYXR0ZXJuVGludEFuZFNoYWRlAAAAAAAAAAAAA0RhdGFTdHlsZUZvbnRDb2xvclZhbHVlAFUAAAAQQQD/AAAAEFIAEAAAABBHADgAAAAQQgBPAAAAAVNjQQAAAAAAAADwPwFTY1IAAAAA4DY5dT8BU2NHAAAAAIBnP6Q/AVNjQgAAAABgFwS0PwAIRGF0YVN0eWxlRm9udENvbG9ySGFzVmFsdWUAAQFIZWlnaHQAAAAAAAAAAAACRGFzaFN0eWxlAA0AAABtc29MaW5lU29saWQACEhhc1dpc2hGaWxsQ29sb3IAAANGaWxsQ29sb3IAVQAAABBBAP8AAAAQUgAAAAAAEEcAAAAAABBCAAAAAAABU2NBAAAAAAAAAPA/AVNjUgAAAAAAAAAAAAFTY0cAAAAAAAAAAAABU2NCAAAAAAAAAAAAABBGaWxsU2NoZW1lQ29sb3IAAAAAABBGaWxsVGhlbWVDb2xvcgAAAAAAAUZpbGxUaW50QW5kU2hhZGUAAAAAAAAAAAADQm9yZGVyQ29sb3IAVQAAABBBAAAAAAAQUgAAAAAAEEcAAAAAABBCAAAAAAABU2NBAAAAAAAAAAAAAVNjUgAAAAAAAAAAAAFTY0cAAAAAAAAAAAABU2NCAAAAAAAAAAAAABBCb3JkZXJUaGVtZUNvbG9yAAAAAAABQm9yZGVyVGludEFuZFNoYWRlAAAAAAAAAAAACElzRmlsbGVkAAECUGF0dGVybgAQAAAAbXNvUGF0dGVybk1peGVkAAJTaGFwZVR5cGUADgAAAG1zb1NoYXBlTWl4ZWQAA0xhYmVsT2Zmc2V0AEIAAAABWAAAAAAAAAAAAAFZAAAAAAAAAAAAAUxlbmd0aAAAAAAAAAAAAAFMZW5ndGhTcXVhcmVkAAAAAAAAAAAAAAhJc0ZvbnRCb2xkAAAISXNGb250SXRhbGljAAAISXNGb250VW5kZXJsaW5lZAAACExhYmVsSGFzQmFja2dyb3VuZAAAAlRleHRBbGlnbm1lbnQABQAAAExlZnQAAAhIYXJ2ZXlCYWxsVmlzaWJsZQABEEhhcnZleUJhbGxWYWx1ZQAAAAAAAkNoZWNrQm94U3RhdGUABQAAAE5vbmUAAlRyYWZmaWNMaWdodFN0YXRlAAQAAABPZmYAAANMZWZ0Tm90ZXNSZW5kZXJJbmZvAGEUAAADTGFiZWwAdAYAAAVNYW5hZ2VkSWQAEAAAAAT1X8xw4a05T5mRZWs/cU2LCEhhc0NoYW5nZXMAAQhVc2VOYW1lSW5zdGVhZE9mVGFnQXNJZAAACFNoYXBlUHJldmlvdXNseUNyZWF0ZWQAAA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AAkZpbGxQYXR0ZXJuABAAAABtc29QYXR0ZXJuTWl4ZWQAAlRleHQAAQAAA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kRpc3BsYXlUZXh0AAEAAAAAAUhlaWdodAAAAAAAAADwPwFXaWR0aAAAAAAAAADwPwFUb3AAAAAAAIyWcUABTGVmdAAAAABAZfaNQAhGbGlwSG9yaXpvbnRhbGx5AAAIRmxpcEhvcml6b250YWxseUFwcGxpZWQAAAhGbGlwVmVydGljYWxseQAACEZsaXBWZXJ0aWNhbGx5QXBwbGllZAAAAVJvdGF0aW9uAAAAAAAAAAAAAVpPcmRlcgAAAAAAAAAAA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2VwYXJhdG9yTGluZQDhBgAAA1N0YXJ0ABsAAAABWADNzMwWMvONQAFZAAAAAMDGK2pAAANFbmQAGwAAAAFYADMzM32Y+Y1AAVkAAAAAwMYrakAAAlN0YXJ0QXJyb3dIZWFkABEAAABtc29BcnJvd2hlYWROb25lAAJFbmRBcnJvd0hlYWQAEQAAAG1zb0Fycm93aGVhZE5vbmUABU1hbmFnZWRJZAAQAAAABJGpywoFCp9NkP6dHeSxlq0ISGFzQ2hhbmdlcwABCFVzZU5hbWVJbnN0ZWFkT2ZUYWdBc0lkAAAIU2hhcGVQcmV2aW91c2x5Q3JlYXRlZAAAA0ZpbGxDb2xvcgBVAAAAEEEAAAAAABBSAAAAAAAQRwAAAAAAEEIAAAAAAHkAAAAFdgAAAHoAAADnDwAAAAAAAAAAAAAACEZsaXBWZXJ0aWNhbGx5QXBwbGllZAAAAVJvdGF0aW9uAAAAAAAAAAAAAVpPcmRlcgAAAAAAAMBU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Q29ubmVjdG9yTGluZQDhBgAAA1N0YXJ0ABsAAAABWAAAAAAg35+BQAFZAAAAAADd6WdAAANFbmQAGwAAAAFYAAAAACDfn4FAAVkAAAAAAN3pZ0AAAlN0YXJ0QXJyb3dIZWFkABEAAABtc29BcnJvd2hlYWROb25lAAJFbmRBcnJvd0hlYWQAEQAAAG1zb0Fycm93aGVhZE5vbmUABU1hbmFnZWRJZAAQAAAABF2+g8RBMbZNl1lQwW7K78AISGFzQ2hhbmdlcwAACFVzZU5hbWVJbnN0ZWFkT2ZUYWdBc0lkAAAIU2hhcGVQcmV2aW91c2x5Q3JlYXRlZAAA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A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AAAAAAAAFUb3AAAAAAAN3pZ0ABTGVmdAAAAAAg35+BQAhGbGlwSG9yaXpvbnRhbGx5AAAIRmxpcEhvcml6b250YWxseUFwcGxpZWQAAAhGbGlwVmVydGljYWxseQAACEZsaXBWZXJ0aWNhbGx5QXBwbGllZAAAAVJvdGF0aW9uAAAAAAAAAAAAAVpPcmRlcgAAAAAAAEBUQANCb3JkZXJDb2xvcgBVAAAAEEEA/wAAABBSAAAAAAAQRwCRAAAAEEIA3wAAAAFTY0EAAAAAAAAA8D8BU2NSAAAAAAAAAAAAAVNjRwAAAAAAHB/SPwFTY0IAAAAAYPac5z8AEEJvcmRlclRoZW1lQ29sb3IAAAAAAAFCb3JkZXJUaW50QW5kU2hhZGUAAAAAAAAAAAAQQm9yZGVyU2NoZW1lQ29sb3IAAAAAAAFCb3JkZXJUaGlja25lc3MAAAAAAAAA4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AAk1pbGVzdG9uZUxhYmVsUG9zaXRpb24ACQAAAFRvcFJpZ2h0ABBJbmRleAACAAAAAkRlc2NyaXB0aW9uACIAAABJbXBsZW1lbnRhY2nDs24gDQo34oCLLzEyLzIwMuKAizQAAk5hbWUACgAAAE1pbGVzdG9uZQAISXNMZWFkZXJMaW5lSW5BdXRvTW9kZQABCVN0YXJ0VGltZQAA54alkAEAAAAAAk5hbWUACQAAAFNwcmludCAzAAhJc0hpZ2hsaWdodGVkAAAISXNTZXBhcmF0b3JMaW5lVmlzaWJsZQABA1N0eWxlAHQEAAABRGVmYXVsdEZvbnRTaXplAAAAAAAAACRAAUZvbnRTaXplAAAAAAAAACRAA0ZvbnRDb2xvcgBVAAAAEEEA/wAAABBSABAAAAAQRwA4AAAAEEIATwAAAAFTY0EAAAAAAAAA8D8BU2NSAAAAAOA2OXU/AVNjRwAAAACAZz+kPwFTY0IAAAAAYBcEtD8AEEZvbnRUaGVtZUNvbG9yAAAAAAAQRm9udFNjaGVtZUNvbG9yAAAAAAABRm9udFRpbnRBbmRTaGFkZQAAAAAAAAAAAANQYXR0ZXJuQ29sb3IAVQAAABBBAAAAAAAQUgAAAAAAEEcAAAAAABBCAAAAAAABU2NBAAAAAAAAAAAAAVNjUgAAAAAAAAAAAAFTY0cAAAAAAAAAAAABU2NCAAAAAAAAAAAAABBQYXR0ZXJuVGhlbWVDb2xvcgAAAAAAAVBhdHRlcm5UaW50QW5kU2hhZGUAAAAAAAAAAAADRGF0YVN0eWxlRm9udENvbG9yVmFsdWUAVQAAABBBAP8AAAAQUgAQAAAAEEcAOAAAABBCAE8AAAABU2NBAAAAAAAAAPA/AVNjUgAAAADgNjl1PwFTY0cAAAAAgGc/pD8BU2NCAAAAAGAXBLQ/AAhEYXRhU3R5bGVGb250Q29sb3JIYXNWYWx1ZQABAUhlaWdodAAAAAAAAAAAAAJEYXNoU3R5bGUADQAAAG1zb0xpbmVTb2xpZAAISGFzV2lzaEZpbGxDb2xvcgABA0ZpbGxDb2xvcgBVAAAAEEEAAAAAABBSAP8AAAAQRwD/AAAAEEIA/wAAAAFTY0EAAAAAAAAAAAABU2NSAAAAAAAAAPA/AVNjRwAAAAAAAADwPwFTY0IAAAAAAAAA8D8AEEZpbGxTY2hlbWVDb2xvcgAAAAAAEEZpbGxUaGVtZUNvbG9yAAAAAAABRmlsbFRpbnRBbmRTaGFkZQAAAAAAAAAAAANCb3JkZXJDb2xvcgBVAAAAEEEA/wAAABBSAOMAAAAQRwDjAAAAEEIA4wAAAAFTY0EAAAAAAAAA8D8BU2NSAAAAAMCxlOg/AVNjRwAAAADAsZToPwFTY0IAAAAAwLGU6D8AEEJvcmRlclRoZW1lQ29sb3IAAAAAAAFCb3JkZXJUaW50QW5kU2hhZGUAAAAAAAAAAAAISXNGaWxsZWQAAQJQYXR0ZXJuABAAAABtc29QYXR0ZXJuTWl4ZWQAAlNoYXBlVHlwZQAOAAAAbXNvU2hhcGVNaXhlZAADTGFiZWxPZmZzZXQAQgAAAAFYAAAAAAAAAAAAAVkAAAAAAAAAAAABTGVuZ3RoAAAAAAAAAAAAAUxlbmd0aFNxdWFyZWQAAAAAAAAAAAAAAUJvcmRlclRoaWNrbmVzcwAAAAAAAADwPwhJc0ZvbnRCb2xkAAAISXNGb250SXRhbGljAAAISXNGb250VW5kZXJsaW5lZAAACExhYmVsSGFzQmFja2dyb3VuZAAAAlRleHRBbGlnbm1lbnQABQAAAExlZnQAAAFSb3dUb3AAE6ifJSEbZ0ABUm93SGVpZ2h0AG41KjItBTlAA0xlZnROb3RlcwDHBAAAA1RleHRTdHlsZQBbBAAAAURlZmF1bHRGb250U2l6ZQAAAAAAAAAkQAFGb250U2l6ZQAAAAAAAAAkQANGb250Q29sb3IAVQAAABBBAP8AAAAQUgAQAAAAEEcAOAAAABBCAE8AAAABU2NBAAAAAAAAAPA/AVNjUgAAAADgNjl1PwFTY0cAAAAAgGc/pD8BU2NCAAAAAGAXBLQ/ABBGb250VGhlbWVDb2xvcgAAAAAAEEZvbnRTY2hlbWVDb2xvcgAAAAAAAUZvbnRUaW50QW5kU2hhZGUAAAAAAAAAAAADUGF0dGVybkNvbG9yAFUAAAAQQQAAAAAAEFIAAAAAABBHAAAAAAAQQgAAAAAAAVNjQQAAAAAAAAAAAAFTY1IAAAAAAAAAAAABU2NHAAAAAAAAAAAAAVNjQgAAAAAAAAAAAAAQUGF0dGVyblRoZW1lQ29sb3IAAAAAAAFQYXR0ZXJuVGludEFuZFNoYWRlAAAAAAAAAAB6AAAABXkAAAB8AAAA5w8AAAAAAAAAAAAAAANEYXRhU3R5bGVGb250Q29sb3JWYWx1ZQBVAAAAEEEA/wAAABBSABAAAAAQRwA4AAAAEEIATwAAAAFTY0EAAAAAAAAA8D8BU2NSAAAAAOA2OXU/AVNjRwAAAACAZz+kPwFTY0IAAAAAYBcEtD8ACERhdGFTdHlsZUZvbnRDb2xvckhhc1ZhbHVlAAEBSGVpZ2h0AAAAAAAAAAAAAkRhc2hTdHlsZQANAAAAbXNvTGluZVNvbGlkAAhIYXNXaXNoRmlsbENvbG9yAAADRmlsbENvbG9yAFUAAAAQQQD/AAAAEFIAAAAAABBHAAAAAAAQQgAAAAAAAVNjQQAAAAAAAADwPwFTY1IAAAAAAAAAAAABU2NHAAAAAAAAAAAAAVNjQgAAAAAAAAAAAAAQRmlsbFNjaGVtZUNvbG9yAAAAAAAQRmlsbFRoZW1lQ29sb3IAAAAAAAFGaWxsVGludEFuZFNoYWRlAAAAAAAAAAAAA0JvcmRlckNvbG9yAFUAAAAQQQAAAAAAEFIAAAAAABBHAAAAAAAQQgAAAAAAAVNjQQAAAAAAAAAAAAFTY1IAAAAAAAAAAAABU2NHAAAAAAAAAAAAAVNjQgAAAAAAAAAAAAAQQm9yZGVyVGhlbWVDb2xvcgAAAAAAAUJvcmRlclRpbnRBbmRTaGFkZQAAAAAAAAAAAAhJc0ZpbGxlZAABAlBhdHRlcm4AEAAAAG1zb1BhdHRlcm5NaXhlZAACU2hhcGVUeXBlAA4AAABtc29TaGFwZU1peGVkAANMYWJlbE9mZnNldABCAAAAAVgAAAAAAAAAAAABWQAAAAAAAAAAAAFMZW5ndGgAAAAAAAAAAAABTGVuZ3RoU3F1YXJlZAAAAAAAAAAAAAAISXNGb250Qm9sZAAACElzRm9udEl0YWxpYwAACElzRm9udFVuZGVybGluZWQAAAhMYWJlbEhhc0JhY2tncm91bmQAAAJUZXh0QWxpZ25tZW50AAUAAABMZWZ0AAAISGFydmV5QmFsbFZpc2libGUAARBIYXJ2ZXlCYWxsVmFsdWUAAAAAAAJDaGVja0JveFN0YXRlAAUAAABOb25lAAJUcmFmZmljTGlnaHRTdGF0ZQAEAAAAT2ZmAAADUmlnaHROb3RlcwDHBAAAA1RleHRTdHlsZQBbBAAAAURlZmF1bHRGb250U2l6ZQAAAAAAAAAkQAFGb250U2l6ZQAAAAAAAAAkQANGb250Q29sb3IAVQAAABBBAP8AAAAQUgAQAAAAEEcAOAAAABBCAE8AAAABU2NBAAAAAAAAAPA/AVNjUgAAAADgNjl1PwFTY0cAAAAAgGc/pD8BU2NCAAAAAGAXBLQ/ABBGb250VGhlbWVDb2xvcgAAAAAAEEZvbnRTY2hlbWVDb2xvcgAAAAAAAUZvbnRUaW50QW5kU2hhZGUAAAAAAAAAAAADUGF0dGVybkNvbG9yAFUAAAAQQQAAAAAAEFIAAAAAABBHAAAAAAAQQgAAAAAAAVNjQQAAAAAAAAAAAAFTY1IAAAAAAAAAAAABU2NHAAAAAAAAAAAAAVNjQgAAAAAAAAAAAAAQUGF0dGVyblRoZW1lQ29sb3IAAAAAAAFQYXR0ZXJuVGludEFuZFNoYWRlAAAAAAAAAAAAA0RhdGFTdHlsZUZvbnRDb2xvclZhbHVlAFUAAAAQQQD/AAAAEFIAEAAAABBHADgAAAAQQgBPAAAAAVNjQQAAAAAAAADwPwFTY1IAAAAA4DY5dT8BU2NHAAAAAIBnP6Q/AVNjQgAAAABgFwS0PwAIRGF0YVN0eWxlRm9udENvbG9ySGFzVmFsdWUAAQFIZWlnaHQAAAAAAAAAAAACRGFzaFN0eWxlAA0AAABtc29MaW5lU29saWQACEhhc1dpc2hGaWxsQ29sb3IAAANGaWxsQ29sb3IAVQAAABBBAP8AAAAQUgAAAAAAEEcAAAAAABBCAAAAAAABU2NBAAAAAAAAAPA/AVNjUgAAAAAAAAAAAAFTY0cAAAAAAAAAAAABU2NCAAAAAAAAAAAAABBGaWxsU2NoZW1lQ29sb3IAAAAAABBGaWxsVGhlbWVDb2xvcgAAAAAAAUZpbGxUaW50QW5kU2hhZGUAAAAAAAAAAAADQm9yZGVyQ29sb3IAVQAAABBBAAAAAAAQUgAAAAAAEEcAAAAAABBCAAAAAAABU2NBAAAAAAAAAAAAAVNjUgAAAAAAAAAAAAFTY0cAAAAAAAAAAAABU2NCAAAAAAAAAAAAABBCb3JkZXJUaGVtZUNvbG9yAAAAAAABQm9yZGVyVGludEFuZFNoYWRlAAAAAAAAAAAACElzRmlsbGVkAAECUGF0dGVybgAQAAAAbXNvUGF0dGVybk1peGVkAAJTaGFwZVR5cGUADgAAAG1zb1NoYXBlTWl4ZWQAA0xhYmVsT2Zmc2V0AEIAAAABWAAAAAAAAAAAAAFZAAAAAAAAAAAAAUxlbmd0aAAAAAAAAAAAAAFMZW5ndGhTcXVhcmVkAAAAAAAAAAAAAAhJc0ZvbnRCb2xkAAAISXNGb250SXRhbGljAAAISXNGb250VW5kZXJsaW5lZAAACExhYmVsSGFzQmFja2dyb3VuZAAAAlRleHRBbGlnbm1lbnQABQAAAExlZnQAAAhIYXJ2ZXlCYWxsVmlzaWJsZQABEEhhcnZleUJhbGxWYWx1ZQAAAAAAAkNoZWNrQm94U3RhdGUABQAAAE5vbmUAAlRyYWZmaWNMaWdodFN0YXRlAAQAAABPZmYAAANMZWZ0Tm90ZXNSZW5kZXJJbmZvAGEUAAADTGFiZWwAdAYAAAVNYW5hZ2VkSWQAEAAAAAT1X8xw4a05T5mRZWs/cU2LCEhhc0NoYW5nZXMAAQhVc2VOYW1lSW5zdGVhZE9mVGFnQXNJZAAACFNoYXBlUHJldmlvdXNseUNyZWF0ZWQAAA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AAkZpbGxQYXR0ZXJuABAAAABtc29QYXR0ZXJuTWl4ZWQAAlRleHQAAQAAA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kRpc3BsYXlUZXh0AAEAAAAAAUhlaWdodAAAAAAAAADwPwFXaWR0aAAAAAAAAADwPwFUb3AAAAAAAIyWcUABTGVmdAAAAABAZfaNQAhGbGlwSG9yaXpvbnRhbGx5AAAIRmxpcEhvcml6b250YWxseUFwcGxpZWQAAAhGbGlwVmVydGljYWxseQAACEZsaXBWZXJ0aWNhbGx5QXBwbGllZAAAAVJvdGF0aW9uAAAAAAAAAAAAAVpPcmRlcgAAAAAAAAAAA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2VwYXJhdG9yTGluZQDhBgAAA1N0YXJ0ABsAAAABWADNzMwWMvONQAFZAAAAAMDGK2pAAANFbmQAGwAAAAFYADMzM32Y+Y1AAVkAAAAAwMYrakAAAlN0YXJ0QXJyb3dIZWFkABEAAABtc29BcnJvd2hlYWROb25lAAJFbmRBcnJvd0hlYWQAEQAAAG1zb0Fycm93aGVhZE5vbmUABU1hbmFnZWRJZAAQAAAABJGpywoFCp9NkP6dHeSxlq0ISGFzQ2hhbmdlcwABCFVzZU5hbWVJbnN0ZWFkT2ZUYWdBc0lkAAAIU2hhcGVQcmV2aW91c2x5Q3JlYXRlZAAAA0ZpbGxDb2xvcgBVAAAAEEEAAAAAABBSAAAAAAAQRwAAAAAAEEIAAAAAAAFTY0EAAAAAewAAAAV4AAAAfQAAAOcPAAAAAAA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CgmZnpPwFUb3AAAAAAwMYrakABTGVmdAAAAAAgMvONQAhGbGlwSG9yaXpvbnRhbGx5AAAIRmxpcEhvcml6b250YWxseUFwcGxpZWQAAAhGbGlwVmVydGljYWxseQAACEZsaXBWZXJ0aWNhbGx5QXBwbGllZAAAAVJvdGF0aW9uAAAAAAAAAAAAAVpPcmRlcgAAAAAAAIBVQANCb3JkZXJDb2xvcgBVAAAAEEEA/wAAABBSAOMAAAAQRwDjAAAAEEIA4wAAAAFTY0EAAAAAAAAA8D8BU2NSAAAAAMCxlOg/AVNjRwAAAADAsZToPwFTY0IAAAAAwLGU6D8AEEJvcmRlclRoZW1lQ29sb3IAAAAAAAFCb3JkZXJUaW50QW5kU2hhZGUAAAAAAAAAAAAQQm9yZGVyU2NoZW1lQ29sb3IAAAAAAAFCb3JkZXJUaGlja25lc3MAAAAAAAAA8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mVjdGFuZ2xlAHQGAAACQXV0b1NoYXBlVHlwZQAKAAAAUmVjdGFuZ2xlAAVNYW5hZ2VkSWQAEAAAAARZrgg5+EcqS4sfIiiuaag6CEhhc0NoYW5nZXMAAQhVc2VOYW1lSW5zdGVhZE9mVGFnQXNJZAAACFNoYXBlUHJldmlvdXNseUNyZWF0ZWQAAANGaWxsQ29sb3IAVQAAABBBAAAAAAAQUgD/AAAAEEcA/wAAABBCAP8AAAABU2NBAAAAAAAAAAAAAVNjUgAAAAAAAADwPwFTY0cAAAAAAAAA8D8BU2NCAAAAAAAAAPA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A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QC0FOEABV2lkdGgAAAAAAAAAAAABVG9wAAAAACAhK2dAAUxlZnQAAAAAQGXujUAIRmxpcEhvcml6b250YWxseQAACEZsaXBIb3Jpem9udGFsbHlBcHBsaWVkAAAIRmxpcFZlcnRpY2FsbHkAAAhGbGlwVmVydGljYWxseUFwcGxpZWQAAAFSb3RhdGlvbgAAAAAAAAAAAAFaT3JkZXIAAAAAAABAVU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BFRyYWZmaWNMaWdodERhdGEABQAAAAAESGFydmV5QmFsbERhdGEABQAAAAACVHJhZmZpY0xpZ2h0U3RhdGUABAAAAE9mZgAEQ2hlY2tCb3hEYXRhAAUAAAAAAkNoZWNrQm94U3RhdGUABQAAAE5vbmUAAANSaWdodE5vdGVzUmVuZGVySW5mbwBhFAAAA0xhYmVsAHQGAAAFTWFuYWdlZElkABAAAAAEluxIjxNxvEeCPGqyPrVCowhIYXNDaGFuZ2VzAAEIVXNlTmFtZUluc3RlYWRPZlRhZ0FzSWQAAAhTaGFwZVByZXZpb3VzbHlDcmVhdGVkAAA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AJGaWxsUGF0dGVybgAQAAAAbXNvUGF0dGVybk1peGVkAAJUZXh0AAEAAAA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HwAAAAFegAAAH8AAADnDwAAAAAAAA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AAAAAAAAVdpZHRoAAAAAKCZmek/AVRvcAAAAADAxitqQAFMZWZ0AAAAACAy841ACEZsaXBIb3Jpem9udGFsbHkAAAhGbGlwSG9yaXpvbnRhbGx5QXBwbGllZAAACEZsaXBWZXJ0aWNhbGx5AAAIRmxpcFZlcnRpY2FsbHlBcHBsaWVkAAABUm90YXRpb24AAAAAAAAAAAABWk9yZGVyAAAAAAAAgFVAA0JvcmRlckNvbG9yAFUAAAAQQQD/AAAAEFIA4wAAABBHAOMAAAAQQgDjAAAAAVNjQQAAAAAAAADwPwFTY1IAAAAAwLGU6D8BU2NHAAAAAMCxlOg/AVNjQgAAAADAsZToPwAQQm9yZGVyVGhlbWVDb2xvcgAAAAAAAUJvcmRlclRpbnRBbmRTaGFkZQAAAAAAAAAAABBCb3JkZXJTY2hlbWVDb2xvcgAAAAAAAUJvcmRlclRoaWNrbmVzcwAAAAAAAADw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SZWN0YW5nbGUAdAYAAAJBdXRvU2hhcGVUeXBlAAoAAABSZWN0YW5nbGUABU1hbmFnZWRJZAAQAAAABFmuCDn4RypLix8iKK5pqDoISGFzQ2hhbmdlcwABCFVzZU5hbWVJbnN0ZWFkT2ZUYWdBc0lkAAAIU2hhcGVQcmV2aW91c2x5Q3JlYXRlZAAAA0ZpbGxDb2xvcgBVAAAAEEEAAAAAABBSAP8AAAAQRwD/AAAAEEIA/wAAAAFTY0EAAAAAAAAAAAABU2NSAAAAAAAAAPA/AVNjRwAAAAAAAADwPwFTY0IAAAAAAAAA8D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A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BALQU4QAFXaWR0aAAAAAAAAAAAAAFUb3AAAAAAICErZ0ABTGVmdAAAAABAZe6NQAhGbGlwSG9yaXpvbnRhbGx5AAAIRmxpcEhvcml6b250YWxseUFwcGxpZWQAAAhGbGlwVmVydGljYWxseQAACEZsaXBWZXJ0aWNhbGx5QXBwbGllZAAAAVJvdGF0aW9uAAAAAAAAAAAAAVpPcmRlcgAAAAAAAEBV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EVHJhZmZpY0xpZ2h0RGF0YQAFAAAAAARIYXJ2ZXlCYWxsRGF0YQAFAAAAAAJUcmFmZmljTGlnaHRTdGF0ZQAEAAAAT2ZmAARDaGVja0JveERhdGEABQAAAAACQ2hlY2tCb3hTdGF0ZQAFAAAATm9uZQAAA1JpZ2h0Tm90ZXNSZW5kZXJJbmZvAGEUAAADTGFiZWwAdAYAAAVNYW5hZ2VkSWQAEAAAAASW7EiPE3G8R4I8arI+tUKjCEhhc0NoYW5nZXMAAQhVc2VOYW1lSW5zdGVhZE9mVGFnQXNJZAAACFNoYXBlUHJldmlvdXNseUNyZWF0ZWQAAA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AAkZpbGxQYXR0ZXJuABAAAABtc29QYXR0ZXJuTWl4ZWQAAlRleHQAAQAAA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9AAAABXsAAAB+AAAA5w8AAAAAAAAAAAAA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kRpc3BsYXlUZXh0AAEAAAAAAUhlaWdodAAAAAAAAADwPwFXaWR0aAAAAAAAAADwPwFUb3AAAAAAAIyWcUABTGVmdAAAAABAZfaNQAhGbGlwSG9yaXpvbnRhbGx5AAAIRmxpcEhvcml6b250YWxseUFwcGxpZWQAAAhGbGlwVmVydGljYWxseQAACEZsaXBWZXJ0aWNhbGx5QXBwbGllZAAAAVJvdGF0aW9uAAAAAAAAAAAAAVpPcmRlcgAAAAAAAAAAA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2VwYXJhdG9yTGluZQDhBgAAA1N0YXJ0ABsAAAABWADNzMwWMvONQAFZAAAAAMDGK2pAAANFbmQAGwAAAAFYADMzM32Y+Y1AAVkAAAAAwMYrakAAAlN0YXJ0QXJyb3dIZWFkABEAAABtc29BcnJvd2hlYWROb25lAAJFbmRBcnJvd0hlYWQAEQAAAG1zb0Fycm93aGVhZE5vbmUABU1hbmFnZWRJZAAQAAAABAkHA94K87NAjz0RGekHZmYISGFzQ2hhbmdlcwABCFVzZU5hbWVJbnN0ZWFkT2ZUYWdBc0lkAAAIU2hhcGVQcmV2aW91c2x5Q3JlYXRlZAAA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CgmZnpPwFUb3AAAAAAwMYrakABTGVmdAAAAAAgMvONQAhGbGlwSG9yaXpvbnRhbGx5AAAIRmxpcEhvcml6b250YWxseUFwcGxpZWQAAAhGbGlwVmVydGljYWxseQAACEZsaXBWZXJ0aWNhbGx5QXBwbGllZAAAAVJvdGF0aW9uAAAAAAAAAAAAAVpPcmRlcgAAAAAAAIBVQANCb3JkZXJDb2xvcgBVAAAAEEEA/wAAABBSAOMAAAAQRwDjAAAAEEIA4wAAAAFTY0EAAAAAAAAA8D8BU2NSAAAAAMCxlOg/AVNjRwAAAADAsZToPwFTY0IAAAAAwLGU6D8AEEJvcmRlclRoZW1lQ29sb3IAAAAAAAFCb3JkZXJUaW50QW5kU2hhZGUAAAAAAAAAAAAQQm9yZGVyU2NoZW1lQ29sb3IAAAAAAAFCb3JkZXJUaGlja25lc3MAAAAAAAAA8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mVjdGFuZ2xlAHQGAAACQXV0b1NoYXBlVHlwZQAKAAAAUmVjdGFuZ2xlAAVNYW5hZ2VkSWQAEAAAAASAZ/foB1mJSr9dIMabJHNACEhhc0NoYW5nZXMAAQhVc2VOYW1lSW5zdGVhZE9mVGFnQXNJZAAACFNoYXBlUHJldmlvdXNseUNyZWF0ZWQAAANGaWxsQ29sb3IAVQAAABBBAAAAAAAQUgD/AAAAEEcA/wAAABBCAP8AAAABU2NBAAAAAAAAAAAAAVNjUgAAAAAAAADwPwFTY0cAAAAAAAAA8D8BU2NCAAAAAAAAAPA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A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QC0FOEABV2lkdGgAAAAAAAAAAAABVG9wAAAAACAhK2dAAUxlZnQAAAAAQGXujUAIRmxpcEhvcml6b250YWxseQAACEZsaXBIb3Jpem9udGFsbHlBcHBsaWVkAAAIRmxpcFZlcnRpY2FsbHkAAAhGbGlwVmVydGljYWxseUFwcGxpZWQAAAFSb3RhdGlvbgAAAAAAAAAAAAFaT3JkZXIAAAAAAABAVUADQm9yZGVyQ29sb3IAVQAAABBBAAAAAAAQUgAAAAAAEEcAAAAAABBCAAAAAAABU2NBAAAAAAAAAAAAAVNjUgAAAAAAAAAAAAFTY0cAAAAAAAAAAAABU2NCAAAAAAAAAAAAABBCb3JkZXJUaGVtZUNvbG9yAAAAAAABQm9yZGVyVGludEFuZFNoYWRlAAAAAAAAAAAAEEJvcmRlclNjaGVtZUNvbG9yAAAAAAABQm9yZGVyVGhpY2tuZXNzAAAAAAAAAAAAAkxpbmVEfgAAAAV9AAAAiwAAAOcPAAAAAAAAAAAAA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RUcmFmZmljTGlnaHREYXRhAAUAAAAABEhhcnZleUJhbGxEYXRhAAUAAAAAAlRyYWZmaWNMaWdodFN0YXRlAAQAAABPZmYABENoZWNrQm94RGF0YQAFAAAAAAJDaGVja0JveFN0YXRlAAUAAABOb25lAAADTGVmdFNpZGVSZW5kZXJJbmZvACEUAAADTGFiZWwApgYAAAVNYW5hZ2VkSWQAEAAAAATHLIL1aRS9SIlW7DwV2bsPCEhhc0NoYW5nZXMAAAhVc2VOYW1lSW5zdGVhZE9mVGFnQXNJZAAACFNoYXBlUHJldmlvdXNseUNyZWF0ZWQAAQ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QACQAAAFNwcmludCAzAAJUZXh0SG9yaXpvbnRhbEFsaWdubWVudAAOAAAAbXNvQW5jaG9yTm9uZQACUGFyYWdyYXBoQWxpZ25tZW50AA0AAABtc29BbGlnbkxlZnQAAlRleHRWZXJ0aWNhbEFsaWdubWVudAAQAAAAbXNvQW5jaG9yTWlkZGxlAANGb250U3R5bGUAQAEAABBGb250QmFja2dyb3VuZAAAAAAACEZvbnRCb2xkAAADRm9udENvbG9yAFUAAAAQQQD/AAAAEFIAEAAAABBHADgAAAAQQgBPAAAAAVNjQQAAAAAAAADwPwFTY1IAAAAA4DY5dT8BU2NHAAAAAIBnP6Q/AVNjQgAAAABgFwS0PwAQRm9udFRoZW1lQ29sb3IAAAAAAAFGb250VGludEFuZFNoYWRlAAAAAAAAAAAAEEZvbnRTY2hlbWVDb2xvcgAAAAAACEZvbnRJdGFsaWMAAAJGb250TmFtZQAGAAAAQXJpYWwAAUZvbnRTaXplAAAAAAAAACRACEZvbnRTdHJpa2V0aHJvdWdoAAAIRm9udFN1YnNjcmlwdAAACEZvbnRTdXBlcnNjcmlwdAAACEZvbnRVbmRlcmxpbmUAAAAIU2l6ZVRvVGV4dFdpZHRoAAAIU2l6ZVRvVGV4dEhlaWdodAAAA1RleHRNYXJnaW4APwAAAAFMZWZ0AAAAAAAAAAAAAVRvcAAAAAAAAAAAAAFSaWdodAAAAAAAAAAAAAFCb3R0b20AAAAAAAAAAAAAAkRpc3BsYXlUZXh0AAkAAABTcHJpbnQgMwABSGVpZ2h0AAAAAGDfCydAAVdpZHRoAAAAAAB0ekNAAVRvcAAAAAAAFfNnQAFMZWZ0AAAAAEBJXDdACEZsaXBIb3Jpem9udGFsbHkAAAhGbGlwSG9yaXpvbnRhbGx5QXBwbGllZAAACEZsaXBWZXJ0aWNhbGx5AAAIRmxpcFZlcnRpY2FsbHlBcHBsaWVkAAABUm90YXRpb24AAAAAAAAAAAABWk9yZGVyAAAAAAAAAD5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SZWN0YW5nbGUAdAYAAAJBdXRvU2hhcGVUeXBlAAoAAABSZWN0YW5nbGUABU1hbmFnZWRJZAAQAAAABJwTo7ml9IFGi4U97ruO1GUISGFzQ2hhbmdlcwAACFVzZU5hbWVJbnN0ZWFkT2ZUYWdBc0lkAAAIU2hhcGVQcmV2aW91c2x5Q3JlYXRlZAAAA0ZpbGxDb2xvcgBVAAAAEEEAAAAAABBSAP8AAAAQRwD/AAAAEEIA/wAAAAFTY0EAAAAAAAAAAAABU2NSAAAAAAAAAPA/AVNjRwAAAAAAAADwPwFTY0IAAAAAAAAA8D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A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BALQU4QAFXaWR0aAAAAAAAg9uNQAFUb3AAAAAAICErZ0ABTGVmdAAAAAAASuIKQAhGbGlwSG9yaXpvbnRhbGx5AAAIRmxpcEhvcml6b250YWxseUFwcGxpZWQAAAhGbGlwVmVydGljYWxseQAACEZsaXBWZXJ0aWNhbGx5QXBwbGllZAAAAVJvdGF0aW9uAAAAAAAAAAAAAVpPcmRlcgAAAAAAAAAm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2VwYXJhdG9yTGluZQDhBgAAA1N0YXJ0ABsAAAABWADNzMzMFq8HQAFZAMHu5MvGK2pAAANFbmQAGwAAAAFYADMzM32Y+Y1AAVkAwe7ky8YrakAAAlN0YXJ0QXJyb3dIZWFkABEAAABtc29BcnJvd2hlYWROb25lAAJFbmRBcnJvd0hlYWQAEQAAAG1zb0Fycm93aGVhZE5vbmUABU1hbmFnZWRJZAAQAAAABNEtfHqu99tDlJwX9u2fs24ISGFzQ2hhbmdlcwAACFVzZU5hbWVJbnN0ZWFkT2ZUYWdBc0lkAAAIU2hhcGVQcmV2aW91c2x5Q3JlYXRlZAAAA0ZpbGxDb2xvcgBVAAAAEEEAAAAAABBSAAAAAAAQRwAAAAAAEEIAAAAAAAFTY0EAAAAAAAAA8L8BU2NSAAAAAAAAAH8AAAAFfAAAAIAAAADnDwAAAAAAAAAAAAB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kRpc3BsYXlUZXh0AAEAAAAAAUhlaWdodAAAAAAAAADwPwFXaWR0aAAAAAAAAADwPwFUb3AAAAAAAIyWcUABTGVmdAAAAABAZfaNQAhGbGlwSG9yaXpvbnRhbGx5AAAIRmxpcEhvcml6b250YWxseUFwcGxpZWQAAAhGbGlwVmVydGljYWxseQAACEZsaXBWZXJ0aWNhbGx5QXBwbGllZAAAAVJvdGF0aW9uAAAAAAAAAAAAAVpPcmRlcgAAAAAAAAAAA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2VwYXJhdG9yTGluZQDhBgAAA1N0YXJ0ABsAAAABWADNzMwWMvONQAFZAAAAAMDGK2pAAANFbmQAGwAAAAFYADMzM32Y+Y1AAVkAAAAAwMYrakAAAlN0YXJ0QXJyb3dIZWFkABEAAABtc29BcnJvd2hlYWROb25lAAJFbmRBcnJvd0hlYWQAEQAAAG1zb0Fycm93aGVhZE5vbmUABU1hbmFnZWRJZAAQAAAABAkHA94K87NAjz0RGekHZmYISGFzQ2hhbmdlcwABCFVzZU5hbWVJbnN0ZWFkT2ZUYWdBc0lkAAAIU2hhcGVQcmV2aW91c2x5Q3JlYXRlZAAA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CgmZnpPwFUb3AAAAAAwMYrakABTGVmdAAAAAAgMvONQAhGbGlwSG9yaXpvbnRhbGx5AAAIRmxpcEhvcml6b250YWxseUFwcGxpZWQAAAhGbGlwVmVydGljYWxseQAACEZsaXBWZXJ0aWNhbGx5QXBwbGllZAAAAVJvdGF0aW9uAAAAAAAAAAAAAVpPcmRlcgAAAAAAAIBVQANCb3JkZXJDb2xvcgBVAAAAEEEA/wAAABBSAOMAAAAQRwDjAAAAEEIA4wAAAAFTY0EAAAAAAAAA8D8BU2NSAAAAAMCxlOg/AVNjRwAAAADAsZToPwFTY0IAAAAAwLGU6D8AEEJvcmRlclRoZW1lQ29sb3IAAAAAAAFCb3JkZXJUaW50QW5kU2hhZGUAAAAAAAAAAAAQQm9yZGVyU2NoZW1lQ29sb3IAAAAAAAFCb3JkZXJUaGlja25lc3MAAAAAAAAA8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mVjdGFuZ2xlAHQGAAACQXV0b1NoYXBlVHlwZQAKAAAAUmVjdGFuZ2xlAAVNYW5hZ2VkSWQAEAAAAASAZ/foB1mJSr9dIMabJHNACEhhc0NoYW5nZXMAAQhVc2VOYW1lSW5zdGVhZE9mVGFnQXNJZAAACFNoYXBlUHJldmlvdXNseUNyZWF0ZWQAAANGaWxsQ29sb3IAVQAAABBBAAAAAAAQUgD/AAAAEEcA/wAAABBCAP8AAAABU2NBAAAAAAAAAAAAAVNjUgAAAAAAAADwPwFTY0cAAAAAAAAA8D8BU2NCAAAAAAAAAPA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A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QC0FOEABV2lkdGgAAAAAAAAAAAABVG9wAAAAACAhK2dAAUxlZnQAAAAAQGXujUAIRmxpcEhvcml6b250YWxseQAACEZsaXBIb3Jpem9udGFsbHlBcHBsaWVkAAAIRmxpcFZlcnRpY2FsbHkAAAhGbGlwVmVydGljYWxseUFwcGxpZWQAAAFSb3RhdGlvbgAAAAAAAAAAAAFaT3JkZXIAAAAAAABAVU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WAAAAABX8AAACKAAAA5w8AAAAAAAAAAAAA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RUcmFmZmljTGlnaHREYXRhAAUAAAAABEhhcnZleUJhbGxEYXRhAAUAAAAAAlRyYWZmaWNMaWdodFN0YXRlAAQAAABPZmYABENoZWNrQm94RGF0YQAFAAAAAAJDaGVja0JveFN0YXRlAAUAAABOb25lAAADTGVmdFNpZGVSZW5kZXJJbmZvACEUAAADTGFiZWwApgYAAAVNYW5hZ2VkSWQAEAAAAATHLIL1aRS9SIlW7DwV2bsPCEhhc0NoYW5nZXMAAAhVc2VOYW1lSW5zdGVhZE9mVGFnQXNJZAAACFNoYXBlUHJldmlvdXNseUNyZWF0ZWQAAQ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QACQAAAFNwcmludCAzAAJUZXh0SG9yaXpvbnRhbEFsaWdubWVudAAOAAAAbXNvQW5jaG9yTm9uZQACUGFyYWdyYXBoQWxpZ25tZW50AA0AAABtc29BbGlnbkxlZnQAAlRleHRWZXJ0aWNhbEFsaWdubWVudAAQAAAAbXNvQW5jaG9yTWlkZGxlAANGb250U3R5bGUAQAEAABBGb250QmFja2dyb3VuZAAAAAAACEZvbnRCb2xkAAADRm9udENvbG9yAFUAAAAQQQD/AAAAEFIAEAAAABBHADgAAAAQQgBPAAAAAVNjQQAAAAAAAADwPwFTY1IAAAAA4DY5dT8BU2NHAAAAAIBnP6Q/AVNjQgAAAABgFwS0PwAQRm9udFRoZW1lQ29sb3IAAAAAAAFGb250VGludEFuZFNoYWRlAAAAAAAAAAAAEEZvbnRTY2hlbWVDb2xvcgAAAAAACEZvbnRJdGFsaWMAAAJGb250TmFtZQAGAAAAQXJpYWwAAUZvbnRTaXplAAAAAAAAACRACEZvbnRTdHJpa2V0aHJvdWdoAAAIRm9udFN1YnNjcmlwdAAACEZvbnRTdXBlcnNjcmlwdAAACEZvbnRVbmRlcmxpbmUAAAAIU2l6ZVRvVGV4dFdpZHRoAAAIU2l6ZVRvVGV4dEhlaWdodAAAA1RleHRNYXJnaW4APwAAAAFMZWZ0AAAAAAAAAAAAAVRvcAAAAAAAAAAAAAFSaWdodAAAAAAAAAAAAAFCb3R0b20AAAAAAAAAAAAAAkRpc3BsYXlUZXh0AAkAAABTcHJpbnQgMwABSGVpZ2h0AAAAAGDfCydAAVdpZHRoAAAAAAB0ekNAAVRvcAAAAAAAFfNnQAFMZWZ0AAAAAEBJXDdACEZsaXBIb3Jpem9udGFsbHkAAAhGbGlwSG9yaXpvbnRhbGx5QXBwbGllZAAACEZsaXBWZXJ0aWNhbGx5AAAIRmxpcFZlcnRpY2FsbHlBcHBsaWVkAAABUm90YXRpb24AAAAAAAAAAAABWk9yZGVyAAAAAAAAAD5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SZWN0YW5nbGUAdAYAAAJBdXRvU2hhcGVUeXBlAAoAAABSZWN0YW5nbGUABU1hbmFnZWRJZAAQAAAABJwTo7ml9IFGi4U97ruO1GUISGFzQ2hhbmdlcwAACFVzZU5hbWVJbnN0ZWFkT2ZUYWdBc0lkAAAIU2hhcGVQcmV2aW91c2x5Q3JlYXRlZAAAA0ZpbGxDb2xvcgBVAAAAEEEAAAAAABBSAP8AAAAQRwD/AAAAEEIA/wAAAAFTY0EAAAAAAAAAAAABU2NSAAAAAAAAAPA/AVNjRwAAAAAAAADwPwFTY0IAAAAAAAAA8D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A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BALQU4QAFXaWR0aAAAAAAAg9uNQAFUb3AAAAAAICErZ0ABTGVmdAAAAAAASuIKQAhGbGlwSG9yaXpvbnRhbGx5AAAIRmxpcEhvcml6b250YWxseUFwcGxpZWQAAAhGbGlwVmVydGljYWxseQAACEZsaXBWZXJ0aWNhbGx5QXBwbGllZAAAAVJvdGF0aW9uAAAAAAAAAAAAAVpPcmRlcgAAAAAAAAAm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2VwYXJhdG9yTGluZQDhBgAAA1N0YXJ0ABsAAAABWADNzMzMFq8HQAFZAMHu5MvGK2pAAANFbmQAGwAAAAFYADMzM32Y+Y1AAVkAwe7ky8YrakAAAlN0YXJ0QXJyb3dIZWFkABEAAABtc29BcnJvd2hlYWROb25lAAJFbmRBcnJvd0hlYWQAEQAAAG1zb0Fycm93aGVhZE5vbmUABU1hbmFnZWRJZAAQAAAABNEtfHqu99tDlJwX9u2fs24ISGFzQ2hhbmdlcwAACFVzZU5hbWVJbnN0ZWFkT2ZUYWdBc0lkAAAIU2hhcGVQcmV2aW91c2x5Q3JlYXRlZAAAA0ZpbGxDb2xvcgBVAAAAEEEAAAAAABBSAAAAAAAQRwAAAAAAEEIAAAAAAAFTY0EAAAAAAAAA8L8BU2NSAAAAAAAAAPC/AVNjRwAAgQAAAAWCAAAAjwAAAOcPAAAAAAAAAAAAAAAAAAAAA1BhdHRlcm5Db2xvcgBVAAAAEEEAAAAAABBSAAAAAAAQRwAAAAAAEEIAAAAAAAFTY0EAAAAAAAAAAAABU2NSAAAAAAAAAAAAAVNjRwAAAAAAAAAAAAFTY0IAAAAAAAAAAAAAEFBhdHRlcm5UaGVtZUNvbG9yAAAAAAABUGF0dGVyblRpbnRBbmRTaGFkZQAAAAAAAAAAAANEYXRhU3R5bGVGb250Q29sb3JWYWx1ZQBVAAAAEEEA/wAAABBSABAAAAAQRwA4AAAAEEIATwAAAAFTY0EAAAAAAAAA8D8BU2NSAAAAAOA2OXU/AVNjRwAAAACAZz+kPwFTY0IAAAAAYBcEtD8ACERhdGFTdHlsZUZvbnRDb2xvckhhc1ZhbHVlAAEBSGVpZ2h0AAAAAAAAAAAAAkRhc2hTdHlsZQANAAAAbXNvTGluZVNvbGlkAAhIYXNXaXNoRmlsbENvbG9yAAEDRmlsbENvbG9yAFUAAAAQQQAAAAAAEFIA/wAAABBHAP8AAAAQQgD/AAAAAVNjQQAAAAAAAAAAAAFTY1IAAAAAAAAA8D8BU2NHAAAAAAAAAPA/AVNjQgAAAAAAAADwPwAQRmlsbFNjaGVtZUNvbG9yAAAAAAAQRmlsbFRoZW1lQ29sb3IAAAAAAAFGaWxsVGludEFuZFNoYWRlAAAAAAAAAAAAA0JvcmRlckNvbG9yAFUAAAAQQQD/AAAAEFIA4wAAABBHAOMAAAAQQgDjAAAAAVNjQQAAAAAAAADwPwFTY1IAAAAAwLGU6D8BU2NHAAAAAMCxlOg/AVNjQgAAAADAsZToPwAQQm9yZGVyVGhlbWVDb2xvcgAAAAAAAUJvcmRlclRpbnRBbmRTaGFkZQAAAAAAAAAAAAhJc0ZpbGxlZAABAlBhdHRlcm4AEAAAAG1zb1BhdHRlcm5NaXhlZAACU2hhcGVUeXBlAA4AAABtc29TaGFwZU1peGVkAANMYWJlbE9mZnNldABCAAAAAVgAAAAAAAAAAAABWQAAAAAAAAAAAAFMZW5ndGgAAAAAAAAAAAABTGVuZ3RoU3F1YXJlZAAAAAAAAAAAAAABQm9yZGVyVGhpY2tuZXNzAAAAAAAAAPA/CElzRm9udEJvbGQAAAhJc0ZvbnRJdGFsaWMAAAhJc0ZvbnRVbmRlcmxpbmVkAAAITGFiZWxIYXNCYWNrZ3JvdW5kAAACVGV4dEFsaWdubWVudAAFAAAATGVmdAAAA1N1bW1hcnlTdHlsZQB0BAAAAURlZmF1bHRGb250U2l6ZQAAAAAAAAAkQAFGb250U2l6ZQAAAAAAAAAkQANGb250Q29sb3IAVQAAABBBAP8AAAAQUgD/AAAAEEcA/wAAABBCAP8AAAABU2NBAAAAAAAAAPA/AVNjUgAAAAAAAADwPwFTY0cAAAAAAAAA8D8BU2NCAAAAAAAAAPA/ABBGb250VGhlbWVDb2xvcgAAAAAAEEZvbnRTY2hlbWVDb2xvcgAAAAAAAUZvbnRUaW50QW5kU2hhZGUAAAAAAAAAAAADUGF0dGVybkNvbG9yAFUAAAAQQQAAAAAAEFIAAAAAABBHAAAAAAAQQgAAAAAAAVNjQQAAAAAAAAAAAAFTY1IAAAAAAAAAAAABU2NHAAAAAAAAAAAAAVNjQgAAAAAAAAAAAAAQUGF0dGVyblRoZW1lQ29sb3IAAAAAAAFQYXR0ZXJuVGludEFuZFNoYWRlAAAAAAAAAAAAA0RhdGFTdHlsZUZvbnRDb2xvclZhbHVlAFUAAAAQQQAAAAAAEFIAAAAAABBHAAAAAAAQQgAAAAAAAVNjQQAAAAAAAAAAAAFTY1IAAAAAAAAAAAABU2NHAAAAAAAAAAAAAVNjQgAAAAAAAAAAAAAIRGF0YVN0eWxlRm9udENvbG9ySGFzVmFsdWUAAAFIZWlnaHQAAAAA4N0yKEACRGFzaFN0eWxlAA0AAABtc29MaW5lU29saWQACEhhc1dpc2hGaWxsQ29sb3IAAANGaWxsQ29sb3IAVQAAABBBAP8AAAAQUgBAAAAAEEcAYAAAABBCAHIAAAABU2NBAAAAAAAAAPA/AVNjUgAAAADA/T+qPwFTY0cAAAAAQMrxvT8BU2NCAAAAAADaicU/ABBGaWxsU2NoZW1lQ29sb3IAAAAAABBGaWxsVGhlbWVDb2xvcgAAAAAAAUZpbGxUaW50QW5kU2hhZGUAAAAAAAAAAAADQm9yZGVyQ29sb3IAVQAAABBBAP8AAAAQUgBAAAAAEEcAYAAAABBCAHIAAAABU2NBAAAAAAAAAPA/AVNjUgAAAADA/T+qPwFTY0cAAAAAQMrxvT8BU2NCAAAAAADaicU/ABBCb3JkZXJUaGVtZUNvbG9yAAAAAAABQm9yZGVyVGludEFuZFNoYWRlAAAAAAAAAAAACElzRmlsbGVkAAECUGF0dGVybgAQAAAAbXNvUGF0dGVybk1peGVkAAJTaGFwZVR5cGUADgAAAG1zb1NoYXBlTWl4ZWQAA0xhYmVsT2Zmc2V0AEIAAAABWAAAAAAAAAAAAAFZAAAAAAAAAAAAAUxlbmd0aAAAAAAAAAAAAAFMZW5ndGhTcXVhcmVkAAAAAAAAAAAAAAFCb3JkZXJUaGlja25lc3MAAAAAAAAA8D8ISXNGb250Qm9sZAAACElzRm9udEl0YWxpYwAACElzRm9udFVuZGVybGluZWQAAAhMYWJlbEhhc0JhY2tncm91bmQAAAJUZXh0QWxpZ25tZW50AAUAAABMZWZ0AAAIRGlzcGxheUxhYmVsAAEISXNDb2xsYXBzZWQAAAhJc0xlYWRlckxpbmVJbkF1dG9Nb2RlAAEBU2VjdGlvblRvcAASqJ9lYHJbQAFTZWN0aW9uSGVpZ2h0AMzCtH54Rl9AA0xlZnROb3RlcwDHBAAAA1RleHRTdHlsZQBbBAAAAURlZmF1bHRGb250U2l6ZQAAAAAAAAAkQAFGb250U2l6ZQAAAAAAAAAkQANGb250Q29sb3IAVQAAABBBAP8AAAAQUgAQAAAAEEcAOAAAABBCAE8AAAABU2NBAAAAAAAAAPA/AVNjUgAAAADgNjl1PwFTY0cAAAAAgGc/pD8BU2NCAAAAAGAXBLQ/ABBGb250VGhlbWVDb2xvcgAAAAAAEEZvbnRTY2hlbWVDb2xvcgAAAAAAAUZvbnRUaW50QW5kU2hhZGUAAAAAAAAAAAADUGF0dGVybkNvbG9yAFUAAAAQQQAAAAAAEFIAAAAAABBHAAAAAAAQQgAAAAAAAVNjQQAAAAAAAAAAAAFTY1IAAAAAAAAAAAABU2NHAAAAAAAAAAAAAVNjQgAAAAAAAAAAAAAQUGF0dGVyblRoZW1lQ29sb3IAAAAAAAFQYXR0ZXJuVGludEFuZFNoYWRlAAAAAAAAAAAAA0RhdGFTdHlsZUZvbnRDb2xvclZhbHVlAFUAAAAQQQD/AAAAEFIAEAAAABBHADgAAAAQQgBPAAAAAVNjQQAAAAAAAADwPwFTY1IAAAAA4DY5dT8BU2NHAAAAAIBnP6Q/AVNjQgAAAABgFwS0PwAIRGF0YVN0eWxlRm9udENvbG9ySGFzVmFsdWUAAQFIZWlnaHQAAAAAAAAAAAACRGFzaFN0eWxlAA0AAABtc29MaW5lU29saWQACEhhc1dpc2hGaWxsQ29sb3IAAANGaWxsQ29sb3IAVQAAABBBAP8AAAAQUgAAAAAAEEcAAAAAABBCAAAAAAABU2NBAAAAAAAAAPA/AVNjUgAAAAAAAAAAAAFTY0cAAAAAAAAAAAABU2NCAAAAAAAAAAAAABBGaWxsU2NoZW1lQ29sb3IAAAAAABBGaWxsVGhlbWVDb2xvcgAAAAAAAUZpbGxUaW50QW5kU2hhZGUAAAAAAAAAAAADQm9yZGVyQ29sb3IAVQAAABBBAAAAAAAQUgAAAAAAEEcAAAAAABBCAAAAAAABU2NBAAAAAAAAAAAAAVNjUgAAAAAAAAAAAAFTY0cAAAAAAAAAAAABU2NCAAAAAAAAAAAAABBCb3JkZXJUaGVtZUNvbG9yAAAAAAABQm9yZGVyVGludEFuZFNoYWRlAAAAAAAAAAAACElzRmlsbGVkAAECUGF0dGVybgAQAAAAbXNvUGF0dGVybk1peGVkAAJTaGFwZVR5cGUADgAAAG1zb1NoYXBlTWl4ZWQAA0xhYmVsT2Zmc2V0AEIAAAABWAAAAAAAAAAAAAFZAAAAAAAAAAAAAUxlbmd0aAAAAAAAAAAAAAFMZW5ndGhTcXVhcmVkAAAAAAAAAAAAAAhJc0ZvbnRCb2xkAAAISXNGb250SXRhbGljAAAISXNGb250VW5kZXJsaW5lZAAACExhYmVsSGFzQmFja2dyb3VuZAAAAlRleHRBbGlnbm1lbnQABQAAAExlZnQAAAhIYXJ2ZXlCYWxsVmlzaWJsZQABEEhhcnZleUJhbGxWYWx1ZQAAAAAAAkNoZWNrQm94U3RhdGUABQAAAE5vbmUAAlRyYWZmaWNMaWdodFN0YXRlAAQAAABPZmYAAANSaWdodE5vdGVzAMcEAAADVGV4dFN0eWxlAFsEAAABRGVmYXVsdEZvbnRTaXplAAAAAAAAACRAAUZvbnRTaXplAAAAAAAAACRAA0ZvbnRDb2xvcgBVAAAAEEEA/wAAABBSABAAAAAQRwA4AAAAEEIATwAAAAFTY0EAAAAAAAAA8D8BU2NSAAAAAOA2OXU/AVNjRwAAAACAZz+kPwFTY0IAAAAAYBcEtD8AEEZvbnRUaGVtZUNvbG9yAAAAAAAQRm9udFNjaGVtZUNvbG9yAAAAAAABRm9udFRpbnRBbmRTaGFkZQAAAAAAAAAAAANQYXR0ZXJuQ29sb3IAVQAAABBBAAAAAAAQUgAAAAAAEEcAAAAAABBCAAAAAAABU2NBAAAAAAAAAAAAAVNjUgAAAAAAAAAAAAFTY0cAAAAAAAAAAAABU2NCAAAAAAAAAAAAABBQYXR0ZXJuVGhlbWVDb2xvcgAAAAAAAVBhdHRlcm5UaW50QW5kU2hhZGUAAAAAAAAAAAADRGF0YVN0eWxlRm9udENvbG9yVmFsdWUAVQAAABBBAP8AAAAQUgAQAAAAEEcAOAAAABBCAE8AAAABU2NBAAAAAAAAAPA/AVNjUgAAAADgNjl1PwFTY0cAAAAAgGc/pD8BU2NCAAAAAGAXBLQ/AAhEYXRhU3R5bGVGb250Q29sb3JIYXNWYWx1ZQABAUhlaWdodAAAAAAAAAAAAAJEYXNoU3R5bGUADQAAAG1zb0xpbmVTb2xpZAAISGFzV2lzaEZpbGxDb2xvcgAAA0ZpbGxDb2xvcgBVAAAAEEEA/wAAABBSAAAAAAAQRwAAAAAAEEIAAAAAAAFTY0EAAAAAAAAA8D8BU2NSAIIAAAAFiAAAAIEAAADnDwAAAAAAAAAAAAA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mVjdGFuZ2xlAHQGAAACQXV0b1NoYXBlVHlwZQAKAAAAUmVjdGFuZ2xlAAVNYW5hZ2VkSWQAEAAAAAT3hPYOQyNmQIZCUk8fZcddCEhhc0NoYW5nZXMAAAhVc2VOYW1lSW5zdGVhZE9mVGFnQXNJZAAACFNoYXBlUHJldmlvdXNseUNyZWF0ZWQAAANGaWxsQ29sb3IAVQAAABBBAAAAAAAQUgD/AAAAEEcA/wAAABBCAP8AAAABU2NBAAAAAAAAAAAAAVNjUgAAAAAAAADwPwFTY0cAAAAAAAAA8D8BU2NCAAAAAAAAAPA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A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QC0FOEABV2lkdGgAAAAAAIPbjUABVG9wAAAAAMDGS2pAAUxlZnQAAAAAAEriCkAIRmxpcEhvcml6b250YWxseQAACEZsaXBIb3Jpem9udGFsbHlBcHBsaWVkAAAIRmxpcFZlcnRpY2FsbHkAAAhGbGlwVmVydGljYWxseUFwcGxpZWQAAAFSb3RhdGlvbgAAAAAAAAAAAAFaT3JkZXIAAAAAAAAAJk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NlcGFyYXRvckxpbmUA4QYAAANTdGFydAAbAAAAAVgAzczMzBavB0ABWQBvNSpybExtQAADRW5kABsAAAABWAAzMzN9mPmNQAFZAG81KnJsTG1AAAJTdGFydEFycm93SGVhZAARAAAAbXNvQXJyb3doZWFkTm9uZQACRW5kQXJyb3dIZWFkABEAAABtc29BcnJvd2hlYWROb25lAAVNYW5hZ2VkSWQAEAAAAAT+ZnBkGeiHRItgdL6103dsCEhhc0NoYW5nZXMAAAhVc2VOYW1lSW5zdGVhZE9mVGFnQXNJZAAACFNoYXBlUHJldmlvdXNseUNyZWF0ZWQAAA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YOnhjUABVG9wAAAAAIBsTG1AAUxlZnQAAAAAwBavB0AIRmxpcEhvcml6b250YWxseQAACEZsaXBIb3Jpem9udGFsbHlBcHBsaWVkAAAIRmxpcFZlcnRpY2FsbHkAAAhGbGlwVmVydGljYWxseUFwcGxpZWQAAAFSb3RhdGlvbgAAAAAAAAAAAAFaT3JkZXIAAAAAAAAAKEADQm9yZGVyQ29sb3IAVQAAABBBAP8AAAAQUgDjAAAAEEcA4wAAABBCAOMAAAABU2NBAAAAAAAAAPA/AVNjUgAAAADAsZToPwFTY0cAAAAAwLGU6D8BU2NCAAAAAMCxlOg/ABBCb3JkZXJUaGVtZUNvbG9yAAAAAAABQm9yZGVyVGludEFuZFNoYWRlAAAAAAAAAAAAEEJvcmRlclNjaGVtZUNvbG9yAAAAAAABQm9yZGVyVGhpY2tuZXNzAAAAAAAAAPA/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AAAAk5hbWUADAAAAEEzIFJlbG9hZGVkAAJTdW1tYXJ5TGFiZWwAGwAAADXigIsvMTgvMjAyNCAtIDgvMi8yMDLigIs0AAhJc0xhYmVsSW5zaWRlQm91bmRzAAECTGFiZWxQb3NpdGlvbgAFAAAATGVmdAAISXNIaWdobGlnaHRlZAAACElzU2VwYXJhdG9yTGluZVZpc2libGUAAQNMZWZ0U2lkZVN0eWxlAHQEAAABRGVmYXVsdEZvbnRTaXplAAAAAAAAACRAAUZvbnRTaXplAAAAAAAAAChAA0ZvbnRDb2xvcgBVAAAAEEEA/wAAABBSABAAAAAQRwA4AAAAEEIATwAAAAFTY0EAAAAAAAAA8D8BU2NSAAAAAOA2OXU/AVNjRwAAAACAZz+kPwFTY0IAAAAAYBcEtD8AEEZvbnRUaGVtZUNvbG9yAAAAAAAQRm9udFNjaGVtZUNvbG9yAAAAAAABRm9udFRpbnRBbmRTaGFkZQAAAACDAAAABYkAAACNAAAA5w8AAAAAAAAAAAAAcnRpY2FsbHlBcHBsaWVkAAABUm90YXRpb24AAAAAAAAAAAABWk9yZGVyAAAAAAAAwFFAA0JvcmRlckNvbG9yAFUAAAAQQQD/AAAAEFIAmQAAABBHANMAAAAQQgDyAAAAAVNjQQAAAAAAAADwPwFTY1IAAAAAIBJj1D8BU2NHAAAAAKBQ2OQ/AVNjQgAAAADA3WnsPw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AJRW5kVGltZQAAc6wRkQEAABBJbmRleAABAAAAAkRlc2NyaXB0aW9uAAoAAABIeXBlcmNhcmUAAk5hbWUABQAAAFRhc2sACElzTGVhZGVyTGluZUluQXV0b01vZGUAAQlTdGFydFRpbWUAAEOtqpABAAAAAAJOYW1lAAkAAABTcHJpbnQgNAAISXNIaWdobGlnaHRlZAAACElzU2VwYXJhdG9yTGluZVZpc2libGUAAQNTdHlsZQB0BAAAAURlZmF1bHRGb250U2l6ZQAAAAAAAAAkQAFGb250U2l6ZQAAAAAAAAAkQANGb250Q29sb3IAVQAAABBBAP8AAAAQUgAQAAAAEEcAOAAAABBCAE8AAAABU2NBAAAAAAAAAPA/AVNjUgAAAADgNjl1PwFTY0cAAAAAgGc/pD8BU2NCAAAAAGAXBLQ/ABBGb250VGhlbWVDb2xvcgAAAAAAEEZvbnRTY2hlbWVDb2xvcgAAAAAAAUZvbnRUaW50QW5kU2hhZGUAAAAAAAAAAAADUGF0dGVybkNvbG9yAFUAAAAQQQAAAAAAEFIAAAAAABBHAAAAAAAQQgAAAAAAAVNjQQAAAAAAAAAAAAFTY1IAAAAAAAAAAAABU2NHAAAAAAAAAAAAAVNjQgAAAAAAAAAAAAAQUGF0dGVyblRoZW1lQ29sb3IAAAAAAAFQYXR0ZXJuVGludEFuZFNoYWRlAAAAAAAAAAAAA0RhdGFTdHlsZUZvbnRDb2xvclZhbHVlAFUAAAAQQQD/AAAAEFIAEAAAABBHADgAAAAQQgBPAAAAAVNjQQAAAAAAAADwPwFTY1IAAAAA4DY5dT8BU2NHAAAAAIBnP6Q/AVNjQgAAAABgFwS0PwAIRGF0YVN0eWxlRm9udENvbG9ySGFzVmFsdWUAAQFIZWlnaHQAAAAAAAAAAAACRGFzaFN0eWxlAA0AAABtc29MaW5lU29saWQACEhhc1dpc2hGaWxsQ29sb3IAAQNGaWxsQ29sb3IAVQAAABBBAAAAAAAQUgD/AAAAEEcA/wAAABBCAP8AAAABU2NBAAAAAAAAAAAAAVNjUgAAAAAAAADwPwFTY0cAAAAAAAAA8D8BU2NCAAAAAAAAAPA/ABBGaWxsU2NoZW1lQ29sb3IAAAAAABBGaWxsVGhlbWVDb2xvcgAAAAAAAUZpbGxUaW50QW5kU2hhZGUAAAAAAAAAAAADQm9yZGVyQ29sb3IAVQAAABBBAP8AAAAQUgDjAAAAEEcA4wAAABBCAOMAAAABU2NBAAAAAAAAAPA/AVNjUgAAAADAsZToPwFTY0cAAAAAwLGU6D8BU2NCAAAAAMCxlOg/ABBCb3JkZXJUaGVtZUNvbG9yAAAAAAABQm9yZGVyVGludEFuZFNoYWRlAAAAAAAAAAAACElzRmlsbGVkAAECUGF0dGVybgAQAAAAbXNvUGF0dGVybk1peGVkAAJTaGFwZVR5cGUADgAAAG1zb1NoYXBlTWl4ZWQAA0xhYmVsT2Zmc2V0AEIAAAABWAAAAAAAAAAAAAFZAAAAAAAAAAAAAUxlbmd0aAAAAAAAAAAAAAFMZW5ndGhTcXVhcmVkAAAAAAAAAAAAAAFCb3JkZXJUaGlja25lc3MAAAAAAAAA8D8ISXNGb250Qm9sZAAACElzRm9udEl0YWxpYwAACElzRm9udFVuZGVybGluZWQAAAhMYWJlbEhhc0JhY2tncm91bmQAAAJUZXh0QWxpZ25tZW50AAUAAABMZWZ0AAABUm93VG9wAMHu5MvGO2pAAVJvd0hlaWdodABuNSoyLQU5QANMZWZ0Tm90ZXMAxwQAAANUZXh0U3R5bGUAWwQAAAFEZWZhdWx0Rm9udFNpemUAAAAAAAAAJEABRm9udFNpemUAAAAAAAAAJEADRm9udENvbG9yAFUAAAAQQQD/AAAAEFIAEAAAABBHADgAAAAQQgBPAAAAAVNjQQAAAAAAAADwPwFTY1IAAAAA4DY5dT8BU2NHAAAAAIBnP6Q/AVNjQgAAAABgFwS0PwAQRm9udFRoZW1lQ29sb3IAAAAAABBGb250U2NoZW1lQ29sb3IAAAAAAAFGb250VGludEFuZFNoYWRlAAAAAAAAAAAAA1BhdHRlcm5Db2xvcgBVAAAAEEEAAAAAABBSAAAAAAAQRwAAAAAAEEIAAAAAAAFTY0EAAAAAAAAAAAABU2NSAAAAAAAAAAAAAVNjRwAAAAAAAAAAAAFTY0IAAAAAAAAAAAAAEFBhdHRlcm5UaGVtZUNvbG9yAAAAAAABUGF0dGVyblRpbnRBbmRTaGFkZQAAAAAAAAAAAANEYXRhU3R5bGVGb250Q29sb3JWYWx1ZQBVAAAAEEEA/wAAABBSABAAAAAQRwA4AAAAEEIATwAAAAFTY0EAAAAAAAAA8D8BU2NSAAAAAOA2OXU/AVNjRwAAAACAZz+kPwFTY0IAAAAAYBcEtD8ACERhdGFTdHlsZUZvbnRDb2xvckhhc1ZhbHVlAAEBSGVpZ2h0AAAAAAAAAAAAAkRhc2hTdHlsZQANAAAAbXNvTGluZVNvbGlkAAhIYXNXaXNoRmlsbENvbG9yAAADRmlsbENvbG9yAFUAAAAQQQD/AAAAEFIAAAAAABBHAAAAAAAQQgAAAAAAAVNjQQAAAAAAAADwPwFTY1IAAAAAAAAAAAABU2NHAAAAAAAAAAAAAVNjQgAAAAAAAAAAAAAQRmlsbFNjaGVtZUNvbG9yAAAAAAAQRmlsbFRoZW1lQ29sb3IAAAAAAAFGaWxsVGludEFuZFNoYWRlAAAAAAAAAAAAA0JvcmRlckNvbG9yAFUAAAAQQQAAAAAAEFIAAAAAABBHAAAAAAAQQgAAAAAAAVNjQQAAAAAAAAAAAAFTY1IAAAAAAAAAAAABU2NHAAAAAAAAAAAAAVNjQgAAAAAAAAAAAAAQQm9yZGVyVGhlbWVDb2xvcgAAAAAAAUJvcmRlclRpbnRBbmRTaGFkZQAAAAAAAAAAAAhJc0ZpbGxlZAABAlBhdHRlcm4AEAAAAG1zb1BhdHRlcm5NaXhlZAACU2hhcGVUeXBlAA4AAABtc29TaGFwZU1peGVkAANMYWJlbE9mZnNldABCAAAAAVgAAAAAAAAAAAABWQAAAAAAAAAAAAFMZW5ndGgAAAAAAAAAAAABTGVuZ3RoU3F1YXJlZAAAAAAAAAAAAAAISXNGb250Qm9sZAAACElzRm9udEl0YWxpYwAACElzRm9udFVuZGVybGluZWQAAAhMYWJlbEhhc0JhY2tncm91bmQAAAJUZXh0QWxpZ25tZW50AAUAAABMZWZ0AAAISGFydmV5QmFsbFZpc2libGUAARBIYXJ2ZXlCYWxsVmFsdWUAAAAAAAJDaGVja0JveFN0YXRlAAUAAABOb25lAAJUcmFmZmljTGlnaHRTdGF0ZQAEAAAAT2ZmAAADUmlnaHROb3RlcwDHBAAAA1RleHRTdHlsZQBbBAAAAURlZmF1bHRGb250U2l6ZQAAAAAAAAAkQAFGb250U2l6ZQAAAAAAAAAkQANGb250Q29sb3IAVQAAABBBAP8AAAAQUgAQAAAAEEcAOAAAABBCAE8AAAABU2NBAAAAAAAAAPA/AVNjUgAAAADgNjl1PwFTY0cAAAAAgGc/pD8BU2NCAAAAAGAXBLQ/ABBGb250VGhlbWVDb2xvcgAAAAAAEEZvbnRTY2hlbWVDb2xvcgAAAAAAAUZvbnRUaW50QW5kU2hhZGUAAAAAAAAAAAADUGF0dGVybkNvbG9yAFUAAAAQQQAAAAAAEFIAAAAAABBHAAAAAAAQQgAAAAAAAVNjQQAAAAAAAAAAAAFTY1IAAAAAAAAAAAABU2NHAAAAAAAAAAAAAVNjQgAAAAAAAAAAAAAQUGF0dGVyblRoZW1lQ29sb3IAAAAAAAFQYXR0ZXJuVGludEFuZFNoYWRlAAAAAAAAAAAAA0RhdGFTdHlsZUZvbnRDb2xvclZhbHVlAFUAAAAQQQD/AAAAEFIAEAAAABBHADgAAAAQQgBPAAAAAVNjQQAAAAAAAADwPwFTY1IAAAAA4DY5dT8BU2NHAAAAAIBnP6Q/AVNjQgAAAABgFwS0PwAIRGF0YVN0eWxlRm9udENvbG9ySGFzVmFsdWUAAQFIZWlnaHQAAAAAAAAAAAACRGFzaFN0eWxlAA0AAABtc29MaW5lU29saWQACEhhc1dpc2hGaWxsQ29sb3IAAANGaWxsQ29sb3IAVQAAABBBAP8AAAAQUgAAAAAAEEcAAAAAABBCAAAAAAABU2NBAAAAAAAAAPA/AVNjUgAAAAAAAAAAAAFTY0cAAAAAAAAAAAABU2NCAAAAAAAAAAAAABBGaWxsU2NoZW1lQ29sb3IAAAAAABBGaWxsVGhlbWVDb2xvcgAAAAAAAUZpbGxUaW50QW5kU2hhZGUAAAAAAAAAAAADQm9yZGVyQ29sb3IAVQAAABBBAAAAAAAQUgAAAAAAEEcAAAAAABBCAAAAAAABU2NBAAAAAAAAAAAAAVNjUgAAAAAAAAAAAAFTY0cAAAAAAAAAAAABU2NCAAAAAAAAAAAAABBCb3JkZXJUaGVtZUNvbG9yAAAAAAABQm9yZGVyVGludEFuZFNoYWRlAAAAAAAAAAAACElzRmlsbGVkAAECUGF0dGVybgAQAAAAbXNvUGF0dGVybk1peGVkAAJTaGFwZVR5cGUADgAAAG1zb1NoYXBlTWl4ZWQAA0xhYmVsT2Zmc2V0AEIAhAAAAAWGAAAAjgAAAOcPAAAAAAAAAAAAAGZmc2V0AEIAAAABWAAAAAAAAAAAAAFZAAAAAAAAAAAAAUxlbmd0aAAAAAAAAAAAAAFMZW5ndGhTcXVhcmVkAAAAAAAAAAAAAAhJc0ZvbnRCb2xkAAAISXNGb250SXRhbGljAAAISXNGb250VW5kZXJsaW5lZAAACExhYmVsSGFzQmFja2dyb3VuZAAAAlRleHRBbGlnbm1lbnQABQAAAExlZnQAAAhIYXJ2ZXlCYWxsVmlzaWJsZQABEEhhcnZleUJhbGxWYWx1ZQAAAAAAAkNoZWNrQm94U3RhdGUABQAAAE5vbmUAAlRyYWZmaWNMaWdodFN0YXRlAAQAAABPZmYAAANMZWZ0Tm90ZXNSZW5kZXJJbmZvAGEUAAADTGFiZWwAdAYAAAVNYW5hZ2VkSWQAEAAAAATYc7gorE+2QKEhKfeNY2sCCEhhc0NoYW5nZXMAAQhVc2VOYW1lSW5zdGVhZE9mVGFnQXNJZAAACFNoYXBlUHJldmlvdXNseUNyZWF0ZWQAAA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AAkZpbGxQYXR0ZXJuABAAAABtc29QYXR0ZXJuTWl4ZWQAAlRleHQAAQAAA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kRpc3BsYXlUZXh0AAEAAAAAAUhlaWdodAAAAAAAAADwPwFXaWR0aAAAAAAAAADwPwFUb3AAAAAAAIyWcUABTGVmdAAAAABAZfaNQAhGbGlwSG9yaXpvbnRhbGx5AAAIRmxpcEhvcml6b250YWxseUFwcGxpZWQAAAhGbGlwVmVydGljYWxseQAACEZsaXBWZXJ0aWNhbGx5QXBwbGllZAAAAVJvdGF0aW9uAAAAAAAAAAAAAVpPcmRlcgAAAAAAAAAAA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2VwYXJhdG9yTGluZQDhBgAAA1N0YXJ0ABsAAAABWADNzMwWMvONQAFZAAAAAIBsTG1AAANFbmQAGwAAAAFYADMzM32Y+Y1AAVkAAAAAgGxMbUAAAlN0YXJ0QXJyb3dIZWFkABEAAABtc29BcnJvd2hlYWROb25lAAJFbmRBcnJvd0hlYWQAEQAAAG1zb0Fycm93aGVhZE5vbmUABU1hbmFnZWRJZAAQAAAABJuLnmZJmUdJimlmexf6Q/MISGFzQ2hhbmdlcwABCFVzZU5hbWVJbnN0ZWFkT2ZUYWdBc0lkAAAIU2hhcGVQcmV2aW91c2x5Q3JlYXRlZAAA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CgmZnpPwFUb3AAAAAAgGxMbUABTGVmdAAAAAAgMvONQAhGbGlwSG9yaXpvbnRhbGx5AAAIRmxpcEhvcml6b250YWxseUFwcGxpZWQAAAhGbGlwVmVydGljYWxseQAACEZsaXBWZXJ0aWNhbGx5QXBwbGllZAAAAVJvdGF0aW9uAAAAAAAAAAAAAVpPcmRlcgAAAAAAAIBVQANCb3JkZXJDb2xvcgBVAAAAEEEA/wAAABBSAOMAAAAQRwDjAAAAEEIA4wAAAAFTY0EAAAAAAAAA8D8BU2NSAAAAAMCxlOg/AVNjRwAAAADAsZToPwFTY0IAAAAAwLGU6D8AEEJvcmRlclRoZW1lQ29sb3IAAAAAAAFCb3JkZXJUaW50QW5kU2hhZGUAAAAAAAAAAAAQQm9yZGVyU2NoZW1lQ29sb3IAAAAAAAFCb3JkZXJUaGlja25lc3MAAAAAAAAA8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mVjdGFuZ2xlAHQGAAACQXV0b1NoYXBlVHlwZQAKAAAAUmVjdGFuZ2xlAAVNYW5hZ2VkSWQAEAAAAATd2YCr04TmRpLY6oksznYXCEhhc0NoYW5nZXMAAQhVc2VOYW1lSW5zdGVhZE9mVGFnQXNJZAAACFNoYXBlUHJldmlvdXNseUNyZWF0ZWQAAANGaWxsQ29sb3IAVQAAABBBAAAAAAAQUgD/AAAAEEcA/wAAABBCAP8AAAABU2NBAAAAAAAAAAAAAVNjUgAAAAAAAADwPwFTY0cAAAAAAAAA8D8BU2NCAAAAAAAAAPA/ABBGaWxsVGhlbWVDb2xvcgAAAAAAAUZpbGxUaW50QW5kU2hhZGUAAAAAAAAAAAAQRmlsbFNjaGVtZUNvbG9yAAAAAAADUGF0dGVybkNvbG9yAFUAAAAQQQAAAAAAEFIAAAAAABBHAAAAAAAQQgAAAAAAAVNjQYUAAAAFhwAAAJEAAADnDwAAAAAA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CgmZnpPwFUb3AAAAAAgGxMbUABTGVmdAAAAAAgMvONQAhGbGlwSG9yaXpvbnRhbGx5AAAIRmxpcEhvcml6b250YWxseUFwcGxpZWQAAAhGbGlwVmVydGljYWxseQAACEZsaXBWZXJ0aWNhbGx5QXBwbGllZAAAAVJvdGF0aW9uAAAAAAAAAAAAAVpPcmRlcgAAAAAAAIBVQANCb3JkZXJDb2xvcgBVAAAAEEEA/wAAABBSAOMAAAAQRwDjAAAAEEIA4wAAAAFTY0EAAAAAAAAA8D8BU2NSAAAAAMCxlOg/AVNjRwAAAADAsZToPwFTY0IAAAAAwLGU6D8AEEJvcmRlclRoZW1lQ29sb3IAAAAAAAFCb3JkZXJUaW50QW5kU2hhZGUAAAAAAAAAAAAQQm9yZGVyU2NoZW1lQ29sb3IAAAAAAAFCb3JkZXJUaGlja25lc3MAAAAAAAAA8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mVjdGFuZ2xlAHQGAAACQXV0b1NoYXBlVHlwZQAKAAAAUmVjdGFuZ2xlAAVNYW5hZ2VkSWQAEAAAAAREsvKIHR3OSpBZPC1fVGF4CEhhc0NoYW5nZXMAAQhVc2VOYW1lSW5zdGVhZE9mVGFnQXNJZAAACFNoYXBlUHJldmlvdXNseUNyZWF0ZWQAAANGaWxsQ29sb3IAVQAAABBBAAAAAAAQUgD/AAAAEEcA/wAAABBCAP8AAAABU2NBAAAAAAAAAAAAAVNjUgAAAAAAAADwPwFTY0cAAAAAAAAA8D8BU2NCAAAAAAAAAPA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A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QC0FOEABV2lkdGgAAAAAAAAAAAABVG9wAAAAAMDGS2pAAUxlZnQAAAAAQGXujUAIRmxpcEhvcml6b250YWxseQAACEZsaXBIb3Jpem9udGFsbHlBcHBsaWVkAAAIRmxpcFZlcnRpY2FsbHkAAAhGbGlwVmVydGljYWxseUFwcGxpZWQAAAFSb3RhdGlvbgAAAAAAAAAAAAFaT3JkZXIAAAAAAABAVU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BFRyYWZmaWNMaWdodERhdGEABQAAAAAESGFydmV5QmFsbERhdGEABQAAAAACVHJhZmZpY0xpZ2h0U3RhdGUABAAAAE9mZgAEQ2hlY2tCb3hEYXRhAAUAAAAAAkNoZWNrQm94U3RhdGUABQAAAE5vbmUAAANMZWZ0U2lkZVJlbmRlckluZm8AIRQAAANMYWJlbACmBgAABU1hbmFnZWRJZAAQAAAABF830dLth7NMs07WwICf2B4ISGFzQ2hhbmdlcwAACFVzZU5hbWVJbnN0ZWFkT2ZUYWdBc0lkAAAIU2hhcGVQcmV2aW91c2x5Q3JlYXRlZAAB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AAJAAAAU3ByaW50IDQAAlRleHRIb3Jpem9udGFsQWxpZ25tZW50AA4AAABtc29BbmNob3JOb25lAAJQYXJhZ3JhcGhBbGlnbm1lbnQADQAAAG1zb0FsaWduTGVmdAACVGV4dFZlcnRpY2FsQWxpZ25tZW50ABAAAABtc29BbmNob3JNaWRkbGUAA0ZvbnRTdHlsZQBAAQAAEEZvbnRCYWNrZ3JvdW5kAAAAAAAIRm9udEJvbGQAAANGb250Q29sb3IAVQAAABBBAP8AAAAQUgAQAAAAEEcAOAAAABBCAE8AAAABU2NBAAAAAAAAAPA/AVNjUgAAAADgNjl1PwFTY0cAAAAAgGc/pD8BU2NCAAAAAGAXBLQ/ABBGb250VGhlbWVDb2xvcgAAAAAAAUZvbnRUaW50QW5kU2hhZGUAAAAAAAAAAAAQRm9udFNjaGVtZUNvbG9yAAAAAAAIRm9udEl0YWxpYwAAAkZvbnROYW1lAAYAAABBcmlhbAABRm9udFNpemUAAAAAAAAAJEAIRm9udFN0cmlrZXRocm91Z2gAAAhGb250U3Vic2NyaXB0AAAIRm9udFN1cGVyc2NyaXB0AAAIRm9udFVuZGVybGluZQAAAAhTaXplVG9UZXh0V2lkdGgAAAhTaXplVG9UZXh0SGVpZ2h0AAADVGV4dE1hcmdpbgA/AAAAAUxlZnQAAAAAAAAAAAABVG9wAAAAAAAAAAAAAVJpZ2h0AAAAAAAAAAAAAUJvdHRvbQAAAAAAAAAAAAACRGlzcGxheVRleHQACQAAAFNwcmludCA0AAFIZWlnaHQAAAAAYN8LJ0ABV2lkdGgAAAAAAHR6Q0ABVG9wAAAAAKC6E2tAAUxlZnQAAAAAQElcN0AIRmxpcEhvcml6b250YWxseQAACEZsaXBIb3Jpem9udGFsbHlBcHBsaWVkAAAIRmxpcFZlcnRpY2FsbHkAAAhGbGlwVmVydGljYWxseUFwcGxpZWQAAAFSb3RhdGlvbgAAAAAAAAAAAAFaT3JkZXIAAAAAAAAAPkADQm9yZGVyQ29sb3IAVQAAABBBAAAAAAAQUgAAAAAAEEcAAAAAABBCAAAAAAABU2NBAAAAAAAAAAAAAVNjUgAAAAAAAAAAAAFTY0cAAAAAAAAAAAABU2NCAAAAAAAAAAAAABBCb3JkZXJUaGVtZUNvbG9yAAAAAAABQm9yZGVyVGludEFuZFNoYWRlAAAAAAAAAAAAEEJvcmRlclNjaGVtZUNvbG9yAAAAAAABQm9yZGVyVGhpY2tuZXNzAAAAAAAAAACGAAAABYwAAACEAAAA5w8AAAAAAAAAAAAAAAhGbGlwVmVydGljYWxseUFwcGxpZWQAAAFSb3RhdGlvbgAAAAAAAAAAAAFaT3JkZXIAAAAAAADAUUADQm9yZGVyQ29sb3IAVQAAABBBAP8AAAAQUgCZAAAAEEcA0wAAABBCAPIAAAABU2NBAAAAAAAAAPA/AVNjUgAAAAAgEmPUPwFTY0cAAAAAoFDY5D8BU2NCAAAAAMDdaew/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AlFbmRUaW1lAABzrBGRAQAAEEluZGV4AAEAAAACRGVzY3JpcHRpb24ACgAAAEh5cGVyY2FyZQACTmFtZQAFAAAAVGFzawAISXNMZWFkZXJMaW5lSW5BdXRvTW9kZQABCVN0YXJ0VGltZQAAQ62qkAEAAAAAAk5hbWUACQAAAFNwcmludCA0AAhJc0hpZ2hsaWdodGVkAAAISXNTZXBhcmF0b3JMaW5lVmlzaWJsZQABA1N0eWxlAHQEAAABRGVmYXVsdEZvbnRTaXplAAAAAAAAACRAAUZvbnRTaXplAAAAAAAAACRAA0ZvbnRDb2xvcgBVAAAAEEEA/wAAABBSABAAAAAQRwA4AAAAEEIATwAAAAFTY0EAAAAAAAAA8D8BU2NSAAAAAOA2OXU/AVNjRwAAAACAZz+kPwFTY0IAAAAAYBcEtD8AEEZvbnRUaGVtZUNvbG9yAAAAAAAQRm9udFNjaGVtZUNvbG9yAAAAAAABRm9udFRpbnRBbmRTaGFkZQAAAAAAAAAAAANQYXR0ZXJuQ29sb3IAVQAAABBBAAAAAAAQUgAAAAAAEEcAAAAAABBCAAAAAAABU2NBAAAAAAAAAAAAAVNjUgAAAAAAAAAAAAFTY0cAAAAAAAAAAAABU2NCAAAAAAAAAAAAABBQYXR0ZXJuVGhlbWVDb2xvcgAAAAAAAVBhdHRlcm5UaW50QW5kU2hhZGUAAAAAAAAAAAADRGF0YVN0eWxlRm9udENvbG9yVmFsdWUAVQAAABBBAP8AAAAQUgAQAAAAEEcAOAAAABBCAE8AAAABU2NBAAAAAAAAAPA/AVNjUgAAAADgNjl1PwFTY0cAAAAAgGc/pD8BU2NCAAAAAGAXBLQ/AAhEYXRhU3R5bGVGb250Q29sb3JIYXNWYWx1ZQABAUhlaWdodAAAAAAAAAAAAAJEYXNoU3R5bGUADQAAAG1zb0xpbmVTb2xpZAAISGFzV2lzaEZpbGxDb2xvcgABA0ZpbGxDb2xvcgBVAAAAEEEAAAAAABBSAP8AAAAQRwD/AAAAEEIA/wAAAAFTY0EAAAAAAAAAAAABU2NSAAAAAAAAAPA/AVNjRwAAAAAAAADwPwFTY0IAAAAAAAAA8D8AEEZpbGxTY2hlbWVDb2xvcgAAAAAAEEZpbGxUaGVtZUNvbG9yAAAAAAABRmlsbFRpbnRBbmRTaGFkZQAAAAAAAAAAAANCb3JkZXJDb2xvcgBVAAAAEEEA/wAAABBSAOMAAAAQRwDjAAAAEEIA4wAAAAFTY0EAAAAAAAAA8D8BU2NSAAAAAMCxlOg/AVNjRwAAAADAsZToPwFTY0IAAAAAwLGU6D8AEEJvcmRlclRoZW1lQ29sb3IAAAAAAAFCb3JkZXJUaW50QW5kU2hhZGUAAAAAAAAAAAAISXNGaWxsZWQAAQJQYXR0ZXJuABAAAABtc29QYXR0ZXJuTWl4ZWQAAlNoYXBlVHlwZQAOAAAAbXNvU2hhcGVNaXhlZAADTGFiZWxPZmZzZXQAQgAAAAFYAAAAAAAAAAAAAVkAAAAAAAAAAAABTGVuZ3RoAAAAAAAAAAAAAUxlbmd0aFNxdWFyZWQAAAAAAAAAAAAAAUJvcmRlclRoaWNrbmVzcwAAAAAAAADwPwhJc0ZvbnRCb2xkAAAISXNGb250SXRhbGljAAAISXNGb250VW5kZXJsaW5lZAAACExhYmVsSGFzQmFja2dyb3VuZAAAAlRleHRBbGlnbm1lbnQABQAAAExlZnQAAAFSb3dUb3AAwe7ky8Y7akABUm93SGVpZ2h0AG41KjItBTlAA0xlZnROb3RlcwDHBAAAA1RleHRTdHlsZQBbBAAAAURlZmF1bHRGb250U2l6ZQAAAAAAAAAkQAFGb250U2l6ZQAAAAAAAAAkQANGb250Q29sb3IAVQAAABBBAP8AAAAQUgAQAAAAEEcAOAAAABBCAE8AAAABU2NBAAAAAAAAAPA/AVNjUgAAAADgNjl1PwFTY0cAAAAAgGc/pD8BU2NCAAAAAGAXBLQ/ABBGb250VGhlbWVDb2xvcgAAAAAAEEZvbnRTY2hlbWVDb2xvcgAAAAAAAUZvbnRUaW50QW5kU2hhZGUAAAAAAAAAAAADUGF0dGVybkNvbG9yAFUAAAAQQQAAAAAAEFIAAAAAABBHAAAAAAAQQgAAAAAAAVNjQQAAAAAAAAAAAAFTY1IAAAAAAAAAAAABU2NHAAAAAAAAAAAAAVNjQgAAAAAAAAAAAAAQUGF0dGVyblRoZW1lQ29sb3IAAAAAAAFQYXR0ZXJuVGludEFuZFNoYWRlAAAAAAAAAAAAA0RhdGFTdHlsZUZvbnRDb2xvclZhbHVlAFUAAAAQQQD/AAAAEFIAEAAAABBHADgAAAAQQgBPAAAAAVNjQQAAAAAAAADwPwFTY1IAAAAA4DY5dT8BU2NHAAAAAIBnP6Q/AVNjQgAAAABgFwS0PwAIRGF0YVN0eWxlRm9udENvbG9ySGFzVmFsdWUAAQFIZWlnaHQAAAAAAAAAAAACRGFzaFN0eWxlAA0AAABtc29MaW5lU29saWQACEhhc1dpc2hGaWxsQ29sb3IAAANGaWxsQ29sb3IAVQAAABBBAP8AAAAQUgAAAAAAEEcAAAAAABBCAAAAAAABU2NBAAAAAAAAAPA/AVNjUgAAAAAAAAAAAAFTY0cAAAAAAAAAAAABU2NCAAAAAAAAAAAAABBGaWxsU2NoZW1lQ29sb3IAAAAAABBGaWxsVGhlbWVDb2xvcgAAAAAAAUZpbGxUaW50QW5kU2hhZGUAAAAAAAAAAAADQm9yZGVyQ29sb3IAVQAAABBBAAAAAAAQUgAAAAAAEEcAAAAAABBCAAAAAAABU2NBAAAAAAAAAAAAAVNjUgAAAAAAAAAAAAFTY0cAAAAAAAAAAAABU2NCAAAAAAAAAAAAABBCb3JkZXJUaGVtZUNvbG9yAAAAAAABQm9yZGVyVGludEFuZFNoYWRlAAAAAAAAAAAACElzRmlsbGVkAAECUGF0dGVybgAQAAAAbXNvUGF0dGVybk1peGVkAAJTaGFwZVR5cGUADgAAAG1zb1NoYXBlTWl4ZWQAA0xhYmVsT2Zmc2V0AEIAAAABWAAAAAAAAAAAAAFZAAAAAAAAAAAAAUxlbmd0aAAAAAAAAAAAAAFMZW5ndGhTcXVhcmVkAAAAAAAAAAAAAAhJc0ZvbnRCb2xkAAAISXNGb250SXRhbGljAAAISXNGb250VW5kZXJsaW5lZAAACExhYmVsSGFzQmFja2dyb3VuZAAAAlRleHRBbGlnbm1lbnQABQAAAExlZnQAAAhIYXJ2ZXlCYWxsVmlzaWJsZQABEEhhcnZleUJhbGxWYWx1ZQAAAAAAAkNoZWNrQm94U3RhdGUABQAAAE5vbmUAAlRyYWZmaWNMaWdodFN0YXRlAAQAAABPZmYAAANSaWdodE5vdGVzAMcEAAADVGV4dFN0eWxlAFsEAAABRGVmYXVsdEZvbnRTaXplAAAAAAAAACRAAUZvbnRTaXplAAAAAAAAACRAA0ZvbnRDb2xvcgBVAAAAEEEA/wAAABBSABAAAAAQRwA4AAAAEEIATwAAAAFTY0EAAAAAAAAA8D8BU2NSAAAAAOA2OXU/AVNjRwAAAACAZz+kPwFTY0IAAAAAYBcEtD8AEEZvbnRUaGVtZUNvbG9yAAAAAAAQRm9udFNjaGVtZUNvbG9yAAAAAAABRm9udFRpbnRBbmRTaGFkZQAAAAAAAAAAAANQYXR0ZXJuQ29sb3IAVQAAABBBAAAAAAAQUgAAAAAAEEcAAAAAABBCAAAAAAABU2NBAAAAAAAAAAAAAVNjUgAAAAAAAAAAAAFTY0cAAAAAAAAAAAABU2NCAAAAAAAAAAAAABBQYXR0ZXJuVGhlbWVDb2xvcgAAAAAAAVBhdHRlcm5UaW50QW5kU2hhZGUAAAAAAAAAAAADRGF0YVN0eWxlRm9udENvbG9yVmFsdWUAVQAAABBBAP8AAAAQUgAQAAAAEEcAOAAAABBCAE8AAAABU2NBAAAAAAAAAPA/AVNjUgAAAADgNjl1PwFTY0cAAAAAgGc/pD8BU2NCAAAAAGAXBLQ/AAhEYXRhU3R5bGVGb250Q29sb3JIYXNWYWx1ZQABAUhlaWdodAAAAAAAAAAAAAJEYXNoU3R5bGUADQAAAG1zb0xpbmVTb2xpZAAISGFzV2lzaEZpbGxDb2xvcgAAA0ZpbGxDb2xvcgBVAAAAEEEA/wAAABBSAAAAAAAQRwAAAAAAEEIAAAAAAAFTY0EAAAAAAAAA8D8BU2NSAAAAAAAAAAAAAVNjRwAAAAAAAAAAAAFTY0IAAAAAAAAAAAAAEEZpbGxTY2hlbWVDb2xvcgAAAAAAEEZpbGxUaGVtZUNvbG9yAAAAAAABRmlsbFRpbnRBbmRTaGFkZQAAAAAAAAAAAANCb3JkZXJDb2xvcgBVAAAAEEEAAAAAABBSAAAAAAAQRwAAAAAAEEIAAAAAAAFTY0EAAAAAAAAAAAABU2NSAAAAAAAAAAAAAVNjRwAAAAAAAAAAAAFTY0IAAAAAAAAAAAAAEEJvcmRlclRoZW1lQ29sb3IAAAAAAAFCb3JkZXJUaW50QW5kU2hhZGUAAAAAAAAAAAAISXNGaWxsZWQAAQJQYXR0ZXJuABAAAABtc29QYXR0ZXJuTWl4ZWQAAlNoYXBlVHlwZQAOAAAAbXNvU2hhcGVNaXhlZAADTGFiZWxPhwAAAAWNAAAAhQAAAOcPAAAAAAAAAAAAAAABU2NSAAAAAAAAAAAAAVNjRwAAAAAAAAAAAAFTY0IAAAAAAAAAAAAAEFBhdHRlcm5UaGVtZUNvbG9yAAAAAAABUGF0dGVyblRpbnRBbmRTaGFkZQAAAAAAAAAAAAhGaWxsVmlzaWJsZQABCFZpc2libGUAAA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EAtBThAAVdpZHRoAAAAAAAAAAAAAVRvcAAAAADAxktqQAFMZWZ0AAAAAEBl7o1ACEZsaXBIb3Jpem9udGFsbHkAAAhGbGlwSG9yaXpvbnRhbGx5QXBwbGllZAAACEZsaXBWZXJ0aWNhbGx5AAAIRmxpcFZlcnRpY2FsbHlBcHBsaWVkAAABUm90YXRpb24AAAAAAAAAAAABWk9yZGVyAAAAAAAAQFV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RUcmFmZmljTGlnaHREYXRhAAUAAAAABEhhcnZleUJhbGxEYXRhAAUAAAAAAlRyYWZmaWNMaWdodFN0YXRlAAQAAABPZmYABENoZWNrQm94RGF0YQAFAAAAAAJDaGVja0JveFN0YXRlAAUAAABOb25lAAADUmlnaHROb3Rlc1JlbmRlckluZm8AYRQAAANMYWJlbAB0BgAABU1hbmFnZWRJZAAQAAAABB3XjIKgv5lChtWl49a1VC4ISGFzQ2hhbmdlcwABCFVzZU5hbWVJbnN0ZWFkT2ZUYWdBc0lkAAAIU2hhcGVQcmV2aW91c2x5Q3JlYXRlZAAA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ACRmlsbFBhdHRlcm4AEAAAAG1zb1BhdHRlcm5NaXhlZAACVGV4dAABAAAA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CRGlzcGxheVRleHQAAQAAAAABSGVpZ2h0AAAAAAAAAPA/AVdpZHRoAAAAAAAAAPA/AVRvcAAAAAAAjJZxQAFMZWZ0AAAAAEBl9o1ACEZsaXBIb3Jpem9udGFsbHkAAAhGbGlwSG9yaXpvbnRhbGx5QXBwbGllZAAACEZsaXBWZXJ0aWNhbGx5AAAIRmxpcFZlcnRpY2FsbHlBcHBsaWVkAAABUm90YXRpb24AAAAAAAAAAAABWk9yZGVyAAAAAAAAAAA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TZXBhcmF0b3JMaW5lAOEGAAADU3RhcnQAGwAAAAFYAM3MzBYy841AAVkAAAAAgGxMbUAAA0VuZAAbAAAAAVgAMzMzfZj5jUABWQAAAACAbExtQAACU3RhcnRBcnJvd0hlYWQAEQAAAG1zb0Fycm93aGVhZE5vbmUAAkVuZEFycm93SGVhZAARAAAAbXNvQXJyb3doZWFkTm9uZQAFTWFuYWdlZElkABAAAAAEYhBO7YN2LUCLEFwWOQqjLwhIYXNDaGFuZ2VzAAEIVXNlTmFtZUluc3RlYWRPZlRhZ0FzSWQAAAhTaGFwZVByZXZpb3VzbHlDcmVhdGVkAAA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IgAAAAFjgAAAIIAAADnDwAAAAAAAAAAAABpemUAAAAAAAAAAAAIRm9udFN0cmlrZXRocm91Z2gAAAhGb250U3Vic2NyaXB0AAAIRm9udFN1cGVyc2NyaXB0AAAIRm9udFVuZGVybGluZQAAAAhTaXplVG9UZXh0V2lkdGgAAAhTaXplVG9UZXh0SGVpZ2h0AAADVGV4dE1hcmdpbgA/AAAAAUxlZnQAAAAAAAAAAAABVG9wAAAAAAAAAAAAAVJpZ2h0AAAAAAAAAAAAAUJvdHRvbQAAAAAAAAAAAAABSGVpZ2h0AAAAAAAAAAAAAVdpZHRoAAAAAKCZmek/AVRvcAAAAACAbExtQAFMZWZ0AAAAACAy841ACEZsaXBIb3Jpem9udGFsbHkAAAhGbGlwSG9yaXpvbnRhbGx5QXBwbGllZAAACEZsaXBWZXJ0aWNhbGx5AAAIRmxpcFZlcnRpY2FsbHlBcHBsaWVkAAABUm90YXRpb24AAAAAAAAAAAABWk9yZGVyAAAAAAAAgFVAA0JvcmRlckNvbG9yAFUAAAAQQQD/AAAAEFIA4wAAABBHAOMAAAAQQgDjAAAAAVNjQQAAAAAAAADwPwFTY1IAAAAAwLGU6D8BU2NHAAAAAMCxlOg/AVNjQgAAAADAsZToPwAQQm9yZGVyVGhlbWVDb2xvcgAAAAAAAUJvcmRlclRpbnRBbmRTaGFkZQAAAAAAAAAAABBCb3JkZXJTY2hlbWVDb2xvcgAAAAAAAUJvcmRlclRoaWNrbmVzcwAAAAAAAADw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SZWN0YW5nbGUAdAYAAAJBdXRvU2hhcGVUeXBlAAoAAABSZWN0YW5nbGUABU1hbmFnZWRJZAAQAAAABESy8ogdHc5KkFk8LV9UYXgISGFzQ2hhbmdlcwABCFVzZU5hbWVJbnN0ZWFkT2ZUYWdBc0lkAAAIU2hhcGVQcmV2aW91c2x5Q3JlYXRlZAAAA0ZpbGxDb2xvcgBVAAAAEEEAAAAAABBSAP8AAAAQRwD/AAAAEEIA/wAAAAFTY0EAAAAAAAAAAAABU2NSAAAAAAAAAPA/AVNjRwAAAAAAAADwPwFTY0IAAAAAAAAA8D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A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BALQU4QAFXaWR0aAAAAAAAAAAAAAFUb3AAAAAAwMZLakABTGVmdAAAAABAZe6NQAhGbGlwSG9yaXpvbnRhbGx5AAAIRmxpcEhvcml6b250YWxseUFwcGxpZWQAAAhGbGlwVmVydGljYWxseQAACEZsaXBWZXJ0aWNhbGx5QXBwbGllZAAAAVJvdGF0aW9uAAAAAAAAAAAAAVpPcmRlcgAAAAAAAEBV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EVHJhZmZpY0xpZ2h0RGF0YQAFAAAAAARIYXJ2ZXlCYWxsRGF0YQAFAAAAAAJUcmFmZmljTGlnaHRTdGF0ZQAEAAAAT2ZmAARDaGVja0JveERhdGEABQAAAAACQ2hlY2tCb3hTdGF0ZQAFAAAATm9uZQAAA0xlZnRTaWRlUmVuZGVySW5mbwAhFAAAA0xhYmVsAKYGAAAFTWFuYWdlZElkABAAAAAEXzfR0u2Hs0yzTtbAgJ/YHghIYXNDaGFuZ2VzAAAIVXNlTmFtZUluc3RlYWRPZlRhZ0FzSWQAAAhTaGFwZVByZXZpb3VzbHlDcmVhdGVkAAE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AAkAAABTcHJpbnQgNAACVGV4dEhvcml6b250YWxBbGlnbm1lbnQADgAAAG1zb0FuY2hvck5vbmUAAlBhcmFncmFwaEFsaWdubWVudAANAAAAbXNvQWxpZ25MZWZ0AAJUZXh0VmVydGljYWxBbGlnbm1lbnQAEAAAAG1zb0FuY2hvck1pZGRsZQADRm9udFN0eWxlAEABAAAQRm9udEJhY2tncm91bmQAAAAAAAhGb250Qm9sZAAAA0ZvbnRDb2xvcgBVAAAAEEEA/wAAABBSABAAAAAQRwA4AAAAEEIATwAAAAFTY0EAAAAAAAAA8D8BU2NSAAAAAOA2OXU/AVNjRwAAAACAZz+kPwFTY0IAAAAAYBcEtD8AEEZvbnRUaGVtZUNvbG9yAAAAAAABRm9udFRpbnRBbmRTaGFkZQAAAAAAAAAAABBGb250U2NoZW1lQ29sb3IAAAAAAAhGb250SXRhbGljAAACRm9udE5hbWUABgAAAEFyaWFsAAFGb250U2l6ZQAAAAAAAAAkQAhGb250U3RyaWtldGhyb3VnaAAACEZvbnRTdWJzY3JpcHQAAAhGb250U3VwZXJzY3JpcHQAAAhGb250VW5kZXJsaW5lAAAACFNpemVUb1RleHRXaWR0aAAACFNpemVUb1RleHRIZWlnaHQAAANUZXh0TWFyZ2luAD8AAAABTGVmdAAAAAAAAAAAAAFUb3AAAAAAAAAAAAABUmlnaHQAAAAAAAAAAAABQm90dG9tAAAAAAAAAAAAAAJEaXNwbGF5VGV4dAAJAAAAU3ByaW50IDQAAUhlaWdodAAAAABg3wsnQAFXaWR0aAAAAAAAdHpDQAFUb3AAAAAAoLoTa0ABTGVmdAAAAABASVw3QAhGbGlwSG9yaXpvbnRhbGx5AAAIRmxpcEhvcml6b250YWxseUFwcGxpZWQAAAhGbGlwVmVydGljYWxseQAACEZsaXBWZXJ0aWNhbGx5QXBwbGllZAAAAVJvdGF0aW9uAAAAAAAAAAAAAVpPcmRlcgAAAAAAAAA+QANCb3JkZXJDb2xvcgBVAAAAEEEAAAAAABBSAAAAAAAQRwAAAAAAEEIAAAAAAAFTY0EAAAAAAAAAAAABU2NSAAAAAAAAAAAAAVNjRwAAAAAAAAAAAAFTY0IAAAAAAAAAAAAAEEJvcmRlclRoZW1lQ29sb3IAAAAAAAFCb3JkZXJUaW50QW5kU2hhZGUAAAAAAAAAAAAQQm9yZGVyU2NoZW1lQ29sb3IAAAAAAAFCb3JkZXJUaGlja25lc3OJAAAABYoAAACDAAAA5w8AAAAAAAAAAAAA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DA3TIoQAFXaWR0aAAAAABAuoFaQAFUb3AAAAAAwIIKa0ABTGVmdAAAAAAARdCBQAhGbGlwSG9yaXpvbnRhbGx5AAAIRmxpcEhvcml6b250YWxseUFwcGxpZWQAAAhGbGlwVmVydGljYWxseQAACEZsaXBWZXJ0aWNhbGx5QXBwbGllZAAAAVJvdGF0aW9uAAAAAAAAAAAAAVpPcmRlcgAAAAAAAIBRQANCb3JkZXJDb2xvcgBVAAAAEEEA/wAAABBSAP8AAAAQRwD/AAAAEEIA/wAAAAFTY0EAAAAAAAAA8D8BU2NSAAAAAAAAAPA/AVNjRwAAAAAAAADwPwFTY0IAAAAAAAAA8D8AEEJvcmRlclRoZW1lQ29sb3IAAAAAAAFCb3JkZXJUaW50QW5kU2hhZGUAAAAAAAAAAAAQQm9yZGVyU2NoZW1lQ29sb3IAAAAAAAFCb3JkZXJUaGlja25lc3MAAAAAAAAA8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QmFyU3R5bGVEYXRhACYAAAACQmFyU3R5bGVTaGFwZVR5cGUACgAAAFJlY3RhbmdsZQAAA0xhYmVsAKoGAAAFTWFuYWdlZElkABAAAAAEiJLvqRVH50CaevIB3fS+cwhIYXNDaGFuZ2VzAAAIVXNlTmFtZUluc3RlYWRPZlRhZ0FzSWQAAAhTaGFwZVByZXZpb3VzbHlDcmVhdGVkAAEDRmlsbENvbG9yAFUAAAAQQQD/AAAAEFIAmQAAABBHANMAAAAQQgDyAAAAAVNjQQAAAAAAAADwPwFTY1IAAAAAIBJj1D8BU2NHAAAAAKBQ2OQ/AVNjQgAAAADA3WnsP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AAoAAABIeXBlcmNhcmUAAlRleHRIb3Jpem9udGFsQWxpZ25tZW50AA4AAABtc29BbmNob3JOb25lAAJQYXJhZ3JhcGhBbGlnbm1lbnQADwAAAG1zb0FsaWduQ2VudGVyAAJUZXh0VmVydGljYWxBbGlnbm1lbnQAEAAAAG1zb0FuY2hvck1pZGRsZQADRm9udFN0eWxlAEABAAAQRm9udEJhY2tncm91bmQAAAAAAAhGb250Qm9sZAAAA0ZvbnRDb2xvcgBVAAAAEEEA/wAAABBSABAAAAAQRwA4AAAAEEIATwAAAAFTY0EAAAAAAAAA8D8BU2NSAAAAAOA2OXU/AVNjRwAAAACAZz+kPwFTY0IAAAAAYBcEtD8AEEZvbnRUaGVtZUNvbG9yAAAAAAABRm9udFRpbnRBbmRTaGFkZQAAAAAAAAAAABBGb250U2NoZW1lQ29sb3IAAAAAAAhGb250SXRhbGljAAACRm9udE5hbWUABgAAAEFyaWFsAAFGb250U2l6ZQAAAAAAAAAgQAhGb250U3RyaWtldGhyb3VnaAAACEZvbnRTdWJzY3JpcHQAAAhGb250U3VwZXJzY3JpcHQAAAhGb250VW5kZXJsaW5lAAAACFNpemVUb1RleHRXaWR0aAAACFNpemVUb1RleHRIZWlnaHQAAANUZXh0TWFyZ2luAD8AAAABTGVmdAAAAAAAAAAAAAFUb3AAAAAAAAAAAAABUmlnaHQAAAAAAAAAAAABQm90dG9tAAAAAAAAAAAAAAJEaXNwbGF5VGV4dAAKAAAASHlwZXJjYXJlAAFIZWlnaHQAAAAAABZcI0ABV2lkdGgAAAAAYKCzQkABVG9wAAAAAOA4MWtAAUxlZnQAAAAAoMPigkAIRmxpcEhvcml6b250YWxseQAACEZsaXBIb3Jpem9udGFsbHlBcHBsaWVkAAAIRmxpcFZlcnRpY2FsbHkAAAhGbGlwVmVydGljYWxseUFwcGxpZWQAAAFSb3RhdGlvbgAAAAAAAAAAAAFaT3JkZXIAAAAAAAAAUk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Nvbm5lY3RvckxpbmVEYXRhAOEGAAADU3RhcnQAGwAAAAFYAAAAAABF0IFAAVkAAAAAwIIKa0AAA0VuZAAbAAAAAVgAAAAAAEXQgUABWQAAAADAggprQAACU3RhcnRBcnJvd0hlYWQAEQAAAG1zb0Fycm93aGVhZE5vbmUAAkVuZEFycm93SGVhZAARAAAAbXNvQXJyb3doZWFkTm9uZQAFTWFuYWdlZElkABAAAAAELciI9Q/nPEiDqeJLrXywdAhIYXNDaGFuZ2VzAAAIVXNlTmFtZUluc3RlYWRPZlRhZ0FzSWQAAAhTaGFwZVByZXZpb3VzbHlDcmVhdGVkAAA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A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AAAAAAAAVdpZHRoAAAAAAAAAAAAAVRvcAAAAADAggprQAFMZWZ0AAAAAABF0IFACEZsaXBIb3Jpem9udGFsbHkAAAhGbGlwSG9yaXpvbnRhbGx5QXBwbGllZAAACEZsaXBWZXJ0aWNhbGx5AAAIRmxpcFZligAAAAWAAAAAiQAAAOcPAAAAAAAAAAA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YOnhjUABVG9wAAAAAMDGK2pAAUxlZnQAAAAAwBavB0AIRmxpcEhvcml6b250YWxseQAACEZsaXBIb3Jpem9udGFsbHlBcHBsaWVkAAAIRmxpcFZlcnRpY2FsbHkAAAhGbGlwVmVydGljYWxseUFwcGxpZWQAAAFSb3RhdGlvbgAAAAAAAAAAAAFaT3JkZXIAAAAAAAAAKEADQm9yZGVyQ29sb3IAVQAAABBBAP8AAAAQUgDjAAAAEEcA4wAAABBCAOMAAAABU2NBAAAAAAAAAPA/AVNjUgAAAADAsZToPwFTY0cAAAAAwLGU6D8BU2NCAAAAAMCxlOg/ABBCb3JkZXJUaGVtZUNvbG9yAAAAAAABQm9yZGVyVGludEFuZFNoYWRlAAAAAAAAAAAAEEJvcmRlclNjaGVtZUNvbG9yAAAAAAABQm9yZGVyVGhpY2tuZXNzAAAAAAAAAPA/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AADMwAlaAAAEF9pZAAEAAAABEl0ZW1zAG8cAAADMABnHAAAAl90eXBlAEsAAABlbXBvd2VyLkNoYXJ0cy5EYXRhLkdhbnR0LkNocm9ub2xvZ3kuRGF0YS5CYXJUYXNrRGF0YSwgZW1wb3dlci5DaGFydHMuRGF0YQACTGFiZWxQb3NpdGlvbgAHAAAAQ2VudGVyAAhJc0xhYmVsSW5zaWRlQm91bmRzAAEDU3R5bGUAWwQAAAFEZWZhdWx0Rm9udFNpemUAAAAAAAAAJEABRm9udFNpemUAAAAAAAAAIEADRm9udENvbG9yAFUAAAAQQQD/AAAAEFIAEAAAABBHADgAAAAQQgBPAAAAAVNjQQAAAAAAAADwPwFTY1IAAAAA4DY5dT8BU2NHAAAAAIBnP6Q/AVNjQgAAAABgFwS0PwAQRm9udFRoZW1lQ29sb3IAAAAAABBGb250U2NoZW1lQ29sb3IAAAAAAAFGb250VGludEFuZFNoYWRlAAAAAAAAAAAAA1BhdHRlcm5Db2xvcgBVAAAAEEEAAAAAABBSAAAAAAAQRwAAAAAAEEIAAAAAAAFTY0EAAAAAAAAAAAABU2NSAAAAAAAAAAAAAVNjRwAAAAAAAAAAAAFTY0IAAAAAAAAAAAAAEFBhdHRlcm5UaGVtZUNvbG9yAAAAAAABUGF0dGVyblRpbnRBbmRTaGFkZQAAAAAAAAAAAANEYXRhU3R5bGVGb250Q29sb3JWYWx1ZQBVAAAAEEEAAAAAABBSAAAAAAAQRwAAAAAAEEIAAAAAAAFTY0EAAAAAAAAAAAABU2NSAAAAAAAAAAAAAVNjRwAAAAAAAAAAAAFTY0IAAAAAAAAAAAAACERhdGFTdHlsZUZvbnRDb2xvckhhc1ZhbHVlAAABSGVpZ2h0AAAAAODdMihAAkRhc2hTdHlsZQANAAAAbXNvTGluZVNvbGlkAAhIYXNXaXNoRmlsbENvbG9yAAADRmlsbENvbG9yAFUAAAAQQQD/AAAAEFIAmQAAABBHANMAAAAQQgDyAAAAAVNjQQAAAAAAAADwPwFTY1IAAAAAIBJj1D8BU2NHAAAAAKBQ2OQ/AVNjQgAAAADA3WnsPwAQRmlsbFNjaGVtZUNvbG9yAAAAAAAQRmlsbFRoZW1lQ29sb3IAAAAAAAFGaWxsVGludEFuZFNoYWRlAAAAAAAAAAAAA0JvcmRlckNvbG9yAFUAAAAQQQAAAAAAEFIAAAAAABBHAAAAAAAQQgAAAAAAAVNjQQAAAAAAAAAAAAFTY1IAAAAAAAAAAAABU2NHAAAAAAAAAAAAAVNjQgAAAAAAAAAAAAAQQm9yZGVyVGhlbWVDb2xvcgAAAAAAAUJvcmRlclRpbnRBbmRTaGFkZQAAAAAAAAAAAAhJc0ZpbGxlZAABAlBhdHRlcm4AEAAAAG1zb1BhdHRlcm5NaXhlZAACU2hhcGVUeXBlAA4AAABtc29TaGFwZU1peGVkAANMYWJlbE9mZnNldABCAAAAAVgAAAAAAAAAAAABWQAAAAAAAAAAAAFMZW5ndGgAAAAAAAAAAAABTGVuZ3RoU3F1YXJlZAAAAAAAAAAAAAAISXNGb250Qm9sZAAACElzRm9udEl0YWxpYwAACElzRm9udFVuZGVybGluZWQAAAhMYWJlbEhhc0JhY2tncm91bmQAAAJUZXh0QWxpZ25tZW50AAUAAABMZWZ0AAAIRGlzcGxheUxhYmVsAAEDUmVuZGVySW5mbwDtFgAAA1JlY3RhbmdsZUZyZWVmb3JtAPwIAAAEVmVydGljZXMAmwIAAAMwACwAAAAQSW5kZXgwAAAAAAAQSW5kZXgxAAAAAAABVmFsdWUAAAAAAEXQgUAAAzEALAAAABBJbmRleDAAAAAAABBJbmRleDEAAQAAAAFWYWx1ZQAAAADAggprQAADMgAsAAAAEEluZGV4MAABAAAAEEluZGV4MQAAAAAAAVZhbHVlAAAAAABF0IFAAAMzACwAAAAQSW5kZXgwAAEAAAAQSW5kZXgxAAEAAAABVmFsdWUAAAAAoBnMa0AAAzQALAAAABBJbmRleDAAAgAAABBJbmRleDEAAAAAAAFWYWx1ZQAAAAAARdCBQAADNQAsAAAAEEluZGV4MAACAAAAEEluZGV4MQABAAAAAVZhbHVlAAAAAKCwjWxAAAM2ACwAAAAQSW5kZXgwAAMAAAAQSW5kZXgxAAAAAAABVmFsdWUAAAAAQHwghUAAAzcALAAAABBJbmRleDAAAwAAABBJbmRleDEAAQAAAAFWYWx1ZQAAAACgsI1sQAADOAAsAAAAEEluZGV4MAAEAAAAEEluZGV4MQAAAAAAAVZhbHVlAAAAAEB8IIVAAAM5ACwAAAAQSW5kZXgwAAQAAAAQSW5kZXgxAAEAAAABVmFsdWUAAAAAoBnMa0AAAzEwACwAAAAQSW5kZXgwAAUAAAAQSW5kZXgxAAAAAAABVmFsdWUAAAAAQHwghUAAAzExACwAAAAQSW5kZXgwAAUAAAAQSW5kZXgxAAEAAAABVmFsdWUAAAAAwIIKa0AAAzEyACwAAAAQSW5kZXgwAAYAAAAQSW5kZXgxAAAAAAABVmFsdWUAAAAAAEXQgUAAAzEzACwAAAAQSW5kZXgwAAYAAAAQSW5kZXgxAAEAAAABVmFsdWUAAAAAwIIKa0AAAAVNYW5hZ2VkSWQAEAAAAATSToDDlqmIQKdBDI93otz/CEhhc0NoYW5nZXMAAAhVc2VOYW1lSW5zdGVhZE9mVGFnQXNJZAAACFNoYXBlUHJldmlvdXNseUNyZWF0ZWQAAANGaWxsQ29sb3IAVQAAABBBAP8AAAAQUgCZAAAAEEcA0wAAABBCAPIAAAABU2NBAAAAAAAAAPA/AVNjUgAAAAAgEmPUPwFTY0cAAAAAoFDY5D8BU2NCAAAAAMDdaew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BAkZpbGxQYXR0ZXJuABAAAABtc29QYXR0ZXJuTWl4ZWQAAlRleHRIb3Jpem9udGFsQWxpZ25tZW50AA4AAABtc29BbmNob3JOb25lAAJQYXJhZ3JhcGhBbGlnbm1lbnQAAgAAADAAAlRleHRWZXJ0aWNhbEFsaWdubWVudAANAAAAbXNvQW5jaG9yVG9wAANGb250U3R5bGUALAEAABBGb250QmFja4sAAAAFfgAAAIwAAADnDwAAAA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YOnhjUABVG9wAAAAAMDGK2pAAUxlZnQAAAAAwBavB0AIRmxpcEhvcml6b250YWxseQAACEZsaXBIb3Jpem9udGFsbHlBcHBsaWVkAAAIRmxpcFZlcnRpY2FsbHkAAAhGbGlwVmVydGljYWxseUFwcGxpZWQAAAFSb3RhdGlvbgAAAAAAAAAAAAFaT3JkZXIAAAAAAAAAKEADQm9yZGVyQ29sb3IAVQAAABBBAP8AAAAQUgDjAAAAEEcA4wAAABBCAOMAAAABU2NBAAAAAAAAAPA/AVNjUgAAAADAsZToPwFTY0cAAAAAwLGU6D8BU2NCAAAAAMCxlOg/ABBCb3JkZXJUaGVtZUNvbG9yAAAAAAABQm9yZGVyVGludEFuZFNoYWRlAAAAAAAAAAAAEEJvcmRlclNjaGVtZUNvbG9yAAAAAAABQm9yZGVyVGhpY2tuZXNzAAAAAAAAAPA/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AADMwAlaAAAEF9pZAAEAAAABEl0ZW1zAG8cAAADMABnHAAAAl90eXBlAEsAAABlbXBvd2VyLkNoYXJ0cy5EYXRhLkdhbnR0LkNocm9ub2xvZ3kuRGF0YS5CYXJUYXNrRGF0YSwgZW1wb3dlci5DaGFydHMuRGF0YQACTGFiZWxQb3NpdGlvbgAHAAAAQ2VudGVyAAhJc0xhYmVsSW5zaWRlQm91bmRzAAEDU3R5bGUAWwQAAAFEZWZhdWx0Rm9udFNpemUAAAAAAAAAJEABRm9udFNpemUAAAAAAAAAIEADRm9udENvbG9yAFUAAAAQQQD/AAAAEFIAEAAAABBHADgAAAAQQgBPAAAAAVNjQQAAAAAAAADwPwFTY1IAAAAA4DY5dT8BU2NHAAAAAIBnP6Q/AVNjQgAAAABgFwS0PwAQRm9udFRoZW1lQ29sb3IAAAAAABBGb250U2NoZW1lQ29sb3IAAAAAAAFGb250VGludEFuZFNoYWRlAAAAAAAAAAAAA1BhdHRlcm5Db2xvcgBVAAAAEEEAAAAAABBSAAAAAAAQRwAAAAAAEEIAAAAAAAFTY0EAAAAAAAAAAAABU2NSAAAAAAAAAAAAAVNjRwAAAAAAAAAAAAFTY0IAAAAAAAAAAAAAEFBhdHRlcm5UaGVtZUNvbG9yAAAAAAABUGF0dGVyblRpbnRBbmRTaGFkZQAAAAAAAAAAAANEYXRhU3R5bGVGb250Q29sb3JWYWx1ZQBVAAAAEEEAAAAAABBSAAAAAAAQRwAAAAAAEEIAAAAAAAFTY0EAAAAAAAAAAAABU2NSAAAAAAAAAAAAAVNjRwAAAAAAAAAAAAFTY0IAAAAAAAAAAAAACERhdGFTdHlsZUZvbnRDb2xvckhhc1ZhbHVlAAABSGVpZ2h0AAAAAODdMihAAkRhc2hTdHlsZQANAAAAbXNvTGluZVNvbGlkAAhIYXNXaXNoRmlsbENvbG9yAAADRmlsbENvbG9yAFUAAAAQQQD/AAAAEFIAmQAAABBHANMAAAAQQgDyAAAAAVNjQQAAAAAAAADwPwFTY1IAAAAAIBJj1D8BU2NHAAAAAKBQ2OQ/AVNjQgAAAADA3WnsPwAQRmlsbFNjaGVtZUNvbG9yAAAAAAAQRmlsbFRoZW1lQ29sb3IAAAAAAAFGaWxsVGludEFuZFNoYWRlAAAAAAAAAAAAA0JvcmRlckNvbG9yAFUAAAAQQQAAAAAAEFIAAAAAABBHAAAAAAAQQgAAAAAAAVNjQQAAAAAAAAAAAAFTY1IAAAAAAAAAAAABU2NHAAAAAAAAAAAAAVNjQgAAAAAAAAAAAAAQQm9yZGVyVGhlbWVDb2xvcgAAAAAAAUJvcmRlclRpbnRBbmRTaGFkZQAAAAAAAAAAAAhJc0ZpbGxlZAABAlBhdHRlcm4AEAAAAG1zb1BhdHRlcm5NaXhlZAACU2hhcGVUeXBlAA4AAABtc29TaGFwZU1peGVkAANMYWJlbE9mZnNldABCAAAAAVgAAAAAAAAAAAABWQAAAAAAAAAAAAFMZW5ndGgAAAAAAAAAAAABTGVuZ3RoU3F1YXJlZAAAAAAAAAAAAAAISXNGb250Qm9sZAAACElzRm9udEl0YWxpYwAACElzRm9udFVuZGVybGluZWQAAAhMYWJlbEhhc0JhY2tncm91bmQAAAJUZXh0QWxpZ25tZW50AAUAAABMZWZ0AAAIRGlzcGxheUxhYmVsAAEDUmVuZGVySW5mbwDtFgAAA1JlY3RhbmdsZUZyZWVmb3JtAPwIAAAEVmVydGljZXMAmwIAAAMwACwAAAAQSW5kZXgwAAAAAAAQSW5kZXgxAAAAAAABVmFsdWUAAAAAAEXQgUAAAzEALAAAABBJbmRleDAAAAAAABBJbmRleDEAAQAAAAFWYWx1ZQAAAADAggprQAADMgAsAAAAEEluZGV4MAABAAAAEEluZGV4MQAAAAAAAVZhbHVlAAAAAABF0IFAAAMzACwAAAAQSW5kZXgwAAEAAAAQSW5kZXgxAAEAAAABVmFsdWUAAAAAoBnMa0AAAzQALAAAABBJbmRleDAAAgAAABBJbmRleDEAAAAAAAFWYWx1ZQAAAAAARdCBQAADNQAsAAAAEEluZGV4MAACAAAAEEluZGV4MQABAAAAAVZhbHVlAAAAAKCwjWxAAAM2ACwAAAAQSW5kZXgwAAMAAAAQSW5kZXgxAAAAAAABVmFsdWUAAAAAQHwghUAAAzcALAAAABBJbmRleDAAAwAAABBJbmRleDEAAQAAAAFWYWx1ZQAAAACgsI1sQAADOAAsAAAAEEluZGV4MAAEAAAAEEluZGV4MQAAAAAAAVZhbHVlAAAAAEB8IIVAAAM5ACwAAAAQSW5kZXgwAAQAAAAQSW5kZXgxAAEAAAABVmFsdWUAAAAAoBnMa0AAAzEwACwAAAAQSW5kZXgwAAUAAAAQSW5kZXgxAAAAAAABVmFsdWUAAAAAQHwghUAAAzExACwAAAAQSW5kZXgwAAUAAAAQSW5kZXgxAAEAAAABVmFsdWUAAAAAwIIKa0AAAzEyACwAAAAQSW5kZXgwAAYAAAAQSW5kZXgxAAAAAAABVmFsdWUAAAAAAEXQgUAAAzEzACwAAAAQSW5kZXgwAAYAAAAQSW5kZXgxAAEAAAABVmFsdWUAAAAAwIIKa0AAAAVNYW5hZ2VkSWQAEAAAAATSToDDlqmIQKdBDI93otz/CEhhc0NoYW5nZXMAAAhVc2VOYW1lSW5zdGVhZE9mVGFnQXNJZAAACFNoYXBlUHJldmlvdXNseUNyZWF0ZWQAAANGaWxsQ29sb3IAVQAAABBBAP8AAAAQUgCZAAAAEEcA0wAAABBCAPIAAAABU2NBAAAAAAAAAPA/AVNjUgAAAAAgEmPUPwFTY0cAAAAAoFDY5D8BU2NCAAAAAMDdaew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BAkZpbGxQYXR0ZXJuABAAAABtc29QYXR0ZXJuTWl4ZWQAAlRleHRIb3Jpem9udGFsQWxpZ25tZW50AA4AAABtc29BbmNob3JOb25lAAJQYXJhZ3JhcGhBbGlnbm1lbnQAAgAAADAAAlRleHRWZXJ0aWNhbEFsaWdubWVudAANAAAAbXNvQW5jaG9yVG9wAANGb250U3R5bGUALAEAABCMAAAABYsAAACGAAAA5w8AAAAAAAAAAAAA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MDdMihAAVdpZHRoAAAAAEC6gVpAAVRvcAAAAADAggprQAFMZWZ0AAAAAABF0IFACEZsaXBIb3Jpem9udGFsbHkAAAhGbGlwSG9yaXpvbnRhbGx5QXBwbGllZAAACEZsaXBWZXJ0aWNhbGx5AAAIRmxpcFZlcnRpY2FsbHlBcHBsaWVkAAABUm90YXRpb24AAAAAAAAAAAABWk9yZGVyAAAAAAAAgFFAA0JvcmRlckNvbG9yAFUAAAAQQQD/AAAAEFIA/wAAABBHAP8AAAAQQgD/AAAAAVNjQQAAAAAAAADwPwFTY1IAAAAAAAAA8D8BU2NHAAAAAAAAAPA/AVNjQgAAAAAAAADwPwAQQm9yZGVyVGhlbWVDb2xvcgAAAAAAAUJvcmRlclRpbnRBbmRTaGFkZQAAAAAAAAAAABBCb3JkZXJTY2hlbWVDb2xvcgAAAAAAAUJvcmRlclRoaWNrbmVzcwAAAAAAAADw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CYXJTdHlsZURhdGEAJgAAAAJCYXJTdHlsZVNoYXBlVHlwZQAKAAAAUmVjdGFuZ2xlAAADTGFiZWwAqgYAAAVNYW5hZ2VkSWQAEAAAAASIku+pFUfnQJp68gHd9L5zCEhhc0NoYW5nZXMAAAhVc2VOYW1lSW5zdGVhZE9mVGFnQXNJZAAACFNoYXBlUHJldmlvdXNseUNyZWF0ZWQAAQNGaWxsQ29sb3IAVQAAABBBAP8AAAAQUgCZAAAAEEcA0wAAABBCAPIAAAABU2NBAAAAAAAAAPA/AVNjUgAAAAAgEmPUPwFTY0cAAAAAoFDY5D8BU2NCAAAAAMDdaew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QACgAAAEh5cGVyY2FyZQACVGV4dEhvcml6b250YWxBbGlnbm1lbnQADgAAAG1zb0FuY2hvck5vbmUAAlBhcmFncmFwaEFsaWdubWVudAAPAAAAbXNvQWxpZ25DZW50ZXIAAlRleHRWZXJ0aWNhbEFsaWdubWVudAAQAAAAbXNvQW5jaG9yTWlkZGxlAANGb250U3R5bGUAQAEAABBGb250QmFja2dyb3VuZAAAAAAACEZvbnRCb2xkAAADRm9udENvbG9yAFUAAAAQQQD/AAAAEFIAEAAAABBHADgAAAAQQgBPAAAAAVNjQQAAAAAAAADwPwFTY1IAAAAA4DY5dT8BU2NHAAAAAIBnP6Q/AVNjQgAAAABgFwS0PwAQRm9udFRoZW1lQ29sb3IAAAAAAAFGb250VGludEFuZFNoYWRlAAAAAAAAAAAAEEZvbnRTY2hlbWVDb2xvcgAAAAAACEZvbnRJdGFsaWMAAAJGb250TmFtZQAGAAAAQXJpYWwAAUZvbnRTaXplAAAAAAAAACBACEZvbnRTdHJpa2V0aHJvdWdoAAAIRm9udFN1YnNjcmlwdAAACEZvbnRTdXBlcnNjcmlwdAAACEZvbnRVbmRlcmxpbmUAAAAIU2l6ZVRvVGV4dFdpZHRoAAAIU2l6ZVRvVGV4dEhlaWdodAAAA1RleHRNYXJnaW4APwAAAAFMZWZ0AAAAAAAAAAAAAVRvcAAAAAAAAAAAAAFSaWdodAAAAAAAAAAAAAFCb3R0b20AAAAAAAAAAAAAAkRpc3BsYXlUZXh0AAoAAABIeXBlcmNhcmUAAUhlaWdodAAAAAAAFlwjQAFXaWR0aAAAAABgoLNCQAFUb3AAAAAA4Dgxa0ABTGVmdAAAAACgw+KCQAhGbGlwSG9yaXpvbnRhbGx5AAAIRmxpcEhvcml6b250YWxseUFwcGxpZWQAAAhGbGlwVmVydGljYWxseQAACEZsaXBWZXJ0aWNhbGx5QXBwbGllZAAAAVJvdGF0aW9uAAAAAAAAAAAAAVpPcmRlcgAAAAAAAABS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Q29ubmVjdG9yTGluZURhdGEA4QYAAANTdGFydAAbAAAAAVgAAAAAAEXQgUABWQAAAADAggprQAADRW5kABsAAAABWAAAAAAARdCBQAFZAAAAAMCCCmtAAAJTdGFydEFycm93SGVhZAARAAAAbXNvQXJyb3doZWFkTm9uZQACRW5kQXJyb3dIZWFkABEAAABtc29BcnJvd2hlYWROb25lAAVNYW5hZ2VkSWQAEAAAAAQtyIj1D+c8SIOp4kutfLB0CEhhc0NoYW5nZXMAAAhVc2VOYW1lSW5zdGVhZE9mVGFnQXNJZAAACFNoYXBlUHJldmlvdXNseUNyZWF0ZWQAAA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A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AAAAAAABVG9wAAAAAMCCCmtAAUxlZnQAAAAAAEXQgUAIRmxpcEhvcml6b250YWxseQAACEZsaXBIb3Jpem9udGFsbHlBcHBsaWVkAAAIRmxpcFZlcnRpY2FsbHkAjQAAAAWDAAAAhwAAAOcPAAAAAAAAAAAAAAAAAVgAAAAAAAAAAAABWQAAAAAAAAAAAAFMZW5ndGgAAAAAAAAAAAABTGVuZ3RoU3F1YXJlZAAAAAAAAAAAAAAISXNGb250Qm9sZAAACElzRm9udEl0YWxpYwAACElzRm9udFVuZGVybGluZWQAAAhMYWJlbEhhc0JhY2tncm91bmQAAAJUZXh0QWxpZ25tZW50AAUAAABMZWZ0AAAISGFydmV5QmFsbFZpc2libGUAARBIYXJ2ZXlCYWxsVmFsdWUAAAAAAAJDaGVja0JveFN0YXRlAAUAAABOb25lAAJUcmFmZmljTGlnaHRTdGF0ZQAEAAAAT2ZmAAADTGVmdE5vdGVzUmVuZGVySW5mbwBhFAAAA0xhYmVsAHQGAAAFTWFuYWdlZElkABAAAAAE2HO4KKxPtkChISn3jWNrAghIYXNDaGFuZ2VzAAEIVXNlTmFtZUluc3RlYWRPZlRhZ0FzSWQAAAhTaGFwZVByZXZpb3VzbHlDcmVhdGVkAAA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AJGaWxsUGF0dGVybgAQAAAAbXNvUGF0dGVybk1peGVkAAJUZXh0AAEAAAA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JEaXNwbGF5VGV4dAABAAAAAAFIZWlnaHQAAAAAAAAA8D8BV2lkdGgAAAAAAAAA8D8BVG9wAAAAAACMlnFAAUxlZnQAAAAAQGX2jU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NlcGFyYXRvckxpbmUA4QYAAANTdGFydAAbAAAAAVgAzczMFjLzjUABWQAAAACAbExtQAADRW5kABsAAAABWAAzMzN9mPmNQAFZAAAAAIBsTG1AAAJTdGFydEFycm93SGVhZAARAAAAbXNvQXJyb3doZWFkTm9uZQACRW5kQXJyb3dIZWFkABEAAABtc29BcnJvd2hlYWROb25lAAVNYW5hZ2VkSWQAEAAAAASbi55mSZlHSYppZnsX+kPzCEhhc0NoYW5nZXMAAQhVc2VOYW1lSW5zdGVhZE9mVGFnQXNJZAAACFNoYXBlUHJldmlvdXNseUNyZWF0ZWQAAA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oJmZ6T8BVG9wAAAAAIBsTG1AAUxlZnQAAAAAIDLzjUAIRmxpcEhvcml6b250YWxseQAACEZsaXBIb3Jpem9udGFsbHlBcHBsaWVkAAAIRmxpcFZlcnRpY2FsbHkAAAhGbGlwVmVydGljYWxseUFwcGxpZWQAAAFSb3RhdGlvbgAAAAAAAAAAAAFaT3JkZXIAAAAAAACAVUADQm9yZGVyQ29sb3IAVQAAABBBAP8AAAAQUgDjAAAAEEcA4wAAABBCAOMAAAABU2NBAAAAAAAAAPA/AVNjUgAAAADAsZToPwFTY0cAAAAAwLGU6D8BU2NCAAAAAMCxlOg/ABBCb3JkZXJUaGVtZUNvbG9yAAAAAAABQm9yZGVyVGludEFuZFNoYWRlAAAAAAAAAAAAEEJvcmRlclNjaGVtZUNvbG9yAAAAAAABQm9yZGVyVGhpY2tuZXNzAAAAAAAAAPA/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JlY3RhbmdsZQB0BgAAAkF1dG9TaGFwZVR5cGUACgAAAFJlY3RhbmdsZQAFTWFuYWdlZElkABAAAAAE3dmAq9OE5kaS2OqJLM52FwhIYXNDaGFuZ2VzAAEIVXNlTmFtZUluc3RlYWRPZlRhZ0FzSWQAAAhTaGFwZVByZXZpb3VzbHlDcmVhdGVkAAADRmlsbENvbG9yAFUAAAAQQQAAAAAAEFIA/wAAABBHAP8AAAAQQgD/AAAAAVNjQQAAAAAAAAAAAAFTY1IAAAAAAAAA8D8BU2NHAAAAAAAAAPA/AVNjQgAAAAAAAADwPwAQRmlsbFRoZW1lQ29sb3IAAAAAAAFGaWxsVGludEFuZFNoYWRlAAAAAAAAAAAAEEZpbGxTY2hlbWVDb2xvcgAAAAAAA1BhdHRlcm5Db2xvcgBVAAAAEEEAAAAAABBSAAAAAAAQRwAAAAAAEEIAAAAAAAFTY0EAAAAAAAAAAI4AAAAFhAAAAIgAAADnDwAAAAAAAAAAAAAAAAAAAAAAAAABU2NSAAAAAAAAAAAAAVNjRwAAAAAAAAAAAAFTY0IAAAAAAAAAAAAAEFBhdHRlcm5UaGVtZUNvbG9yAAAAAAABUGF0dGVyblRpbnRBbmRTaGFkZQAAAAAAAAAAAAhGaWxsVmlzaWJsZQABCFZpc2libGUAAA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EAtBThAAVdpZHRoAAAAAAAAAAAAAVRvcAAAAADAxktqQAFMZWZ0AAAAAEBl7o1ACEZsaXBIb3Jpem9udGFsbHkAAAhGbGlwSG9yaXpvbnRhbGx5QXBwbGllZAAACEZsaXBWZXJ0aWNhbGx5AAAIRmxpcFZlcnRpY2FsbHlBcHBsaWVkAAABUm90YXRpb24AAAAAAAAAAAABWk9yZGVyAAAAAAAAQFV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RUcmFmZmljTGlnaHREYXRhAAUAAAAABEhhcnZleUJhbGxEYXRhAAUAAAAAAlRyYWZmaWNMaWdodFN0YXRlAAQAAABPZmYABENoZWNrQm94RGF0YQAFAAAAAAJDaGVja0JveFN0YXRlAAUAAABOb25lAAADUmlnaHROb3Rlc1JlbmRlckluZm8AYRQAAANMYWJlbAB0BgAABU1hbmFnZWRJZAAQAAAABB3XjIKgv5lChtWl49a1VC4ISGFzQ2hhbmdlcwABCFVzZU5hbWVJbnN0ZWFkT2ZUYWdBc0lkAAAIU2hhcGVQcmV2aW91c2x5Q3JlYXRlZAAA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ACRmlsbFBhdHRlcm4AEAAAAG1zb1BhdHRlcm5NaXhlZAACVGV4dAABAAAA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CRGlzcGxheVRleHQAAQAAAAABSGVpZ2h0AAAAAAAAAPA/AVdpZHRoAAAAAAAAAPA/AVRvcAAAAAAAjJZxQAFMZWZ0AAAAAEBl9o1ACEZsaXBIb3Jpem9udGFsbHkAAAhGbGlwSG9yaXpvbnRhbGx5QXBwbGllZAAACEZsaXBWZXJ0aWNhbGx5AAAIRmxpcFZlcnRpY2FsbHlBcHBsaWVkAAABUm90YXRpb24AAAAAAAAAAAABWk9yZGVyAAAAAAAAAAA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TZXBhcmF0b3JMaW5lAOEGAAADU3RhcnQAGwAAAAFYAM3MzBYy841AAVkAAAAAgGxMbUAAA0VuZAAbAAAAAVgAMzMzfZj5jUABWQAAAACAbExtQAACU3RhcnRBcnJvd0hlYWQAEQAAAG1zb0Fycm93aGVhZE5vbmUAAkVuZEFycm93SGVhZAARAAAAbXNvQXJyb3doZWFkTm9uZQAFTWFuYWdlZElkABAAAAAEYhBO7YN2LUCLEFwWOQqjLwhIYXNDaGFuZ2VzAAEIVXNlTmFtZUluc3RlYWRPZlRhZ0FzSWQAAAhTaGFwZVByZXZpb3VzbHlDcmVhdGVkAAA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OPAAAABYEAAACQAAAA5w8AAAAAAAAAAAAAAAAAAAAAAAABU2NHAAAAAAAAAAAAAVNjQgAAAAAAAAAAAAAQRmlsbFNjaGVtZUNvbG9yAAAAAAAQRmlsbFRoZW1lQ29sb3IAAAAAAAFGaWxsVGludEFuZFNoYWRlAAAAAAAAAAAAA0JvcmRlckNvbG9yAFUAAAAQQQAAAAAAEFIAAAAAABBHAAAAAAAQQgAAAAAAAVNjQQAAAAAAAAAAAAFTY1IAAAAAAAAAAAABU2NHAAAAAAAAAAAAAVNjQgAAAAAAAAAAAAAQQm9yZGVyVGhlbWVDb2xvcgAAAAAAAUJvcmRlclRpbnRBbmRTaGFkZQAAAAAAAAAAAAhJc0ZpbGxlZAABAlBhdHRlcm4AEAAAAG1zb1BhdHRlcm5NaXhlZAACU2hhcGVUeXBlAA4AAABtc29TaGFwZU1peGVkAANMYWJlbE9mZnNldABCAAAAAVgAAAAAAAAAAAABWQAAAAAAAAAAAAFMZW5ndGgAAAAAAAAAAAABTGVuZ3RoU3F1YXJlZAAAAAAAAAAAAAAISXNGb250Qm9sZAAACElzRm9udEl0YWxpYwAACElzRm9udFVuZGVybGluZWQAAAhMYWJlbEhhc0JhY2tncm91bmQAAAJUZXh0QWxpZ25tZW50AAUAAABMZWZ0AAAISGFydmV5QmFsbFZpc2libGUAARBIYXJ2ZXlCYWxsVmFsdWUAAAAAAAJDaGVja0JveFN0YXRlAAUAAABOb25lAAJUcmFmZmljTGlnaHRTdGF0ZQAEAAAAT2ZmAAADTGVmdE5vdGVzUmVuZGVySW5mbwBhFAAAA0xhYmVsAHQGAAAFTWFuYWdlZElkABAAAAAEkfcWEMLs5EykC1soBbrVJQhIYXNDaGFuZ2VzAAEIVXNlTmFtZUluc3RlYWRPZlRhZ0FzSWQAAAhTaGFwZVByZXZpb3VzbHlDcmVhdGVkAAA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AJGaWxsUGF0dGVybgAQAAAAbXNvUGF0dGVybk1peGVkAAJUZXh0AAEAAAA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JEaXNwbGF5VGV4dAABAAAAAAFIZWlnaHQAAAAAAAAA8D8BV2lkdGgAAAAAAAAA8D8BVG9wAAAAAACMlnFAAUxlZnQAAAAAQGX2jU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NlcGFyYXRvckxpbmUA4QYAAANTdGFydAAbAAAAAVgAzczMFjLzjUABWQAAAADg1clgQAADRW5kABsAAAABWAAzMzN9mPmNQAFZAAAAAODVyWBAAAJTdGFydEFycm93SGVhZAARAAAAbXNvQXJyb3doZWFkTm9uZQACRW5kQXJyb3dIZWFkABEAAABtc29BcnJvd2hlYWROb25lAAVNYW5hZ2VkSWQAEAAAAAStc0ZJ9ERuRpR2AtQykvKeCEhhc0NoYW5nZXMAAQhVc2VOYW1lSW5zdGVhZE9mVGFnQXNJZAAACFNoYXBlUHJldmlvdXNseUNyZWF0ZWQAAA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oJmZ6T8BVG9wAAAAAODVyWBAAUxlZnQAAAAAIDLzjUAIRmxpcEhvcml6b250YWxseQAACEZsaXBIb3Jpem9udGFsbHlBcHBsaWVkAAAIRmxpcFZlcnRpY2FsbHkAAAhGbGlwVmVydGljYWxseUFwcGxpZWQAAAFSb3RhdGlvbgAAAAAAAAAAAAFaT3JkZXIAAAAAAACAVUADQm9yZGVyQ29sb3IAVQAAABBBAP8AAAAQUgDjAAAAEEcA4wAAABBCAOMAAAABU2NBAAAAAAAAAPA/AVNjUgAAAADAsZToPwFTY0cAAAAAwLGU6D8BU2NCAAAAAMCxlOg/ABBCb3JkZXJUaGVtZUNvbG9yAAAAAAABQm9yZGVyVGludEFuZFNoYWRlAAAAAAAAAAAAEEJvcmRlclNjaGVtZUNvbG9yAAAAAAABQm9yZGVyVGhpY2tuZXNzAAAAAAAAAPA/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JlY3RhbmdsZQB0BgAAAkF1dG9TaGFwZVR5kAAAAAWPAAAAlQAAAOcPAAAAAAAAAAAAAHBlAAoAAABSZWN0YW5nbGUABU1hbmFnZWRJZAAQAAAABJnmIDNUdFVKl2PXDdDp3y0ISGFzQ2hhbmdlcwABCFVzZU5hbWVJbnN0ZWFkT2ZUYWdBc0lkAAAIU2hhcGVQcmV2aW91c2x5Q3JlYXRlZAAAA0ZpbGxDb2xvcgBVAAAAEEEAAAAAABBSAP8AAAAQRwD/AAAAEEIA/wAAAAFTY0EAAAAAAAAAAAABU2NSAAAAAAAAAPA/AVNjRwAAAAAAAADwPwFTY0IAAAAAAAAA8D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A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BALQU4QAFXaWR0aAAAAAAAAAAAAAFUb3AAAAAAYGCSW0ABTGVmdAAAAABAZe6NQAhGbGlwSG9yaXpvbnRhbGx5AAAIRmxpcEhvcml6b250YWxseUFwcGxpZWQAAAhGbGlwVmVydGljYWxseQAACEZsaXBWZXJ0aWNhbGx5QXBwbGllZAAAAVJvdGF0aW9uAAAAAAAAAAAAAVpPcmRlcgAAAAAAAEBV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EVHJhZmZpY0xpZ2h0RGF0YQAFAAAAAARIYXJ2ZXlCYWxsRGF0YQAFAAAAAAJUcmFmZmljTGlnaHRTdGF0ZQAEAAAAT2ZmAARDaGVja0JveERhdGEABQAAAAACQ2hlY2tCb3hTdGF0ZQAFAAAATm9uZQAAA1JpZ2h0Tm90ZXNSZW5kZXJJbmZvAGEUAAADTGFiZWwAdAYAAAVNYW5hZ2VkSWQAEAAAAAT/mdCjCbLITZOKBwhk20scCEhhc0NoYW5nZXMAAQhVc2VOYW1lSW5zdGVhZE9mVGFnQXNJZAAACFNoYXBlUHJldmlvdXNseUNyZWF0ZWQAAA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AAkZpbGxQYXR0ZXJuABAAAABtc29QYXR0ZXJuTWl4ZWQAAlRleHQAAQAAA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kRpc3BsYXlUZXh0AAEAAAAAAUhlaWdodAAAAAAAAADwPwFXaWR0aAAAAAAAAADwPwFUb3AAAAAAAIyWcUABTGVmdAAAAABAZfaNQAhGbGlwSG9yaXpvbnRhbGx5AAAIRmxpcEhvcml6b250YWxseUFwcGxpZWQAAAhGbGlwVmVydGljYWxseQAACEZsaXBWZXJ0aWNhbGx5QXBwbGllZAAAAVJvdGF0aW9uAAAAAAAAAAAAAVpPcmRlcgAAAAAAAAAAA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2VwYXJhdG9yTGluZQDhBgAAA1N0YXJ0ABsAAAABWADNzMwWMvONQAFZAAAAAODVyWBAAANFbmQAGwAAAAFYADMzM32Y+Y1AAVkAAAAA4NXJYEAAAlN0YXJ0QXJyb3dIZWFkABEAAABtc29BcnJvd2hlYWROb25lAAJFbmRBcnJvd0hlYWQAEQAAAG1zb0Fycm93aGVhZE5vbmUABU1hbmFnZWRJZAAQAAAABCGVmfXJgrtBlXslYOyhr1kISGFzQ2hhbmdlcwABCFVzZU5hbWVJbnN0ZWFkT2ZUYWdBc0lkAAAIU2hhcGVQcmV2aW91c2x5Q3JlYXRlZAAA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5EAAAAFhQAAAJIAAADnDwAA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JlY3RhbmdsZQB0BgAAAkF1dG9TaGFwZVR5cGUACgAAAFJlY3RhbmdsZQAFTWFuYWdlZElkABAAAAAE94T2DkMjZkCGQlJPH2XHXQhIYXNDaGFuZ2VzAAAIVXNlTmFtZUluc3RlYWRPZlRhZ0FzSWQAAAhTaGFwZVByZXZpb3VzbHlDcmVhdGVkAAADRmlsbENvbG9yAFUAAAAQQQAAAAAAEFIA/wAAABBHAP8AAAAQQgD/AAAAAVNjQQAAAAAAAAAAAAFTY1IAAAAAAAAA8D8BU2NHAAAAAAAAAPA/AVNjQgAAAAAAAADwP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A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EAtBThAAVdpZHRoAAAAAACD241AAVRvcAAAAADAxktqQAFMZWZ0AAAAAABK4gpACEZsaXBIb3Jpem9udGFsbHkAAAhGbGlwSG9yaXpvbnRhbGx5QXBwbGllZAAACEZsaXBWZXJ0aWNhbGx5AAAIRmxpcFZlcnRpY2FsbHlBcHBsaWVkAAABUm90YXRpb24AAAAAAAAAAAABWk9yZGVyAAAAAAAAACZ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TZXBhcmF0b3JMaW5lAOEGAAADU3RhcnQAGwAAAAFYAM3MzMwWrwdAAVkAbzUqcmxMbUAAA0VuZAAbAAAAAVgAMzMzfZj5jUABWQBvNSpybExtQAACU3RhcnRBcnJvd0hlYWQAEQAAAG1zb0Fycm93aGVhZE5vbmUAAkVuZEFycm93SGVhZAARAAAAbXNvQXJyb3doZWFkTm9uZQAFTWFuYWdlZElkABAAAAAE/mZwZBnoh0SLYHS+tdN3bAhIYXNDaGFuZ2VzAAAIVXNlTmFtZUluc3RlYWRPZlRhZ0FzSWQAAAhTaGFwZVByZXZpb3VzbHlDcmVhdGVkAAA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AAAAAAAAVdpZHRoAAAAAGDp4Y1AAVRvcAAAAACAbExtQAFMZWZ0AAAAAMAWrwdACEZsaXBIb3Jpem9udGFsbHkAAAhGbGlwSG9yaXpvbnRhbGx5QXBwbGllZAAACEZsaXBWZXJ0aWNhbGx5AAAIRmxpcFZlcnRpY2FsbHlBcHBsaWVkAAABUm90YXRpb24AAAAAAAAAAAABWk9yZGVyAAAAAAAAAChAA0JvcmRlckNvbG9yAFUAAAAQQQD/AAAAEFIA4wAAABBHAOMAAAAQQgDjAAAAAVNjQQAAAAAAAADwPwFTY1IAAAAAwLGU6D8BU2NHAAAAAMCxlOg/AVNjQgAAAADAsZToPwAQQm9yZGVyVGhlbWVDb2xvcgAAAAAAAUJvcmRlclRpbnRBbmRTaGFkZQAAAAAAAAAAABBCb3JkZXJTY2hlbWVDb2xvcgAAAAAAAUJvcmRlclRoaWNrbmVzcwAAAAAAAADw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AAAAJOYW1lAAwAAABBMyBSZWxvYWRlZAACU3VtbWFyeUxhYmVsABsAAAA14oCLLzE4LzIwMjQgLSA4LzIvMjAy4oCLNAAISXNMYWJlbEluc2lkZUJvdW5kcwABAkxhYmVsUG9zaXRpb24ABQAAAExlZnQACElzSGlnaGxpZ2h0ZWQAAAhJc1NlcGFyYXRvckxpbmVWaXNpYmxlAAEDTGVmdFNpZGVTdHlsZQB0BAAAAURlZmF1bHRGb250U2l6ZQAAAAAAAAAkQAFGb250U2l6ZQAAAAAAAAAoQANGb250Q29sb3IAVQAAABBBAP8AAAAQUgAQAAAAEEcAOAAAABBCAE8AAAABU2NBAAAAAAAAAPA/AVNjUgAAAADgNjl1PwFTY0cAAAAAgGc/pD8BU2NCAAAAAGAXBLQ/ABBGb250VGhlbWVDb2xvcgAAAAAAEEZvbnRTY2hlbWVDb2xvcgAAAAAAAUZvbnRUaW50QW5kU2hhZGUAAAAAAAAAAAADUGGSAAAABZEAAACTAAAA5w8AAAAAAAAAAAAAdHRlcm5Db2xvcgBVAAAAEEEAAAAAABBSAAAAAAAQRwAAAAAAEEIAAAAAAAFTY0EAAAAAAAAAAAABU2NSAAAAAAAAAAAAAVNjRwAAAAAAAAAAAAFTY0IAAAAAAAAAAAAAEFBhdHRlcm5UaGVtZUNvbG9yAAAAAAABUGF0dGVyblRpbnRBbmRTaGFkZQAAAAAAAAAAAANEYXRhU3R5bGVGb250Q29sb3JWYWx1ZQBVAAAAEEEA/wAAABBSABAAAAAQRwA4AAAAEEIATwAAAAFTY0EAAAAAAAAA8D8BU2NSAAAAAOA2OXU/AVNjRwAAAACAZz+kPwFTY0IAAAAAYBcEtD8ACERhdGFTdHlsZUZvbnRDb2xvckhhc1ZhbHVlAAEBSGVpZ2h0AAAAAAAAAAAAAkRhc2hTdHlsZQANAAAAbXNvTGluZVNvbGlkAAhIYXNXaXNoRmlsbENvbG9yAAEDRmlsbENvbG9yAFUAAAAQQQAAAAAAEFIA/wAAABBHAP8AAAAQQgD/AAAAAVNjQQAAAAAAAAAAAAFTY1IAAAAAAAAA8D8BU2NHAAAAAAAAAPA/AVNjQgAAAAAAAADwPwAQRmlsbFNjaGVtZUNvbG9yAAAAAAAQRmlsbFRoZW1lQ29sb3IAAAAAAAFGaWxsVGludEFuZFNoYWRlAAAAAAAAAAAAA0JvcmRlckNvbG9yAFUAAAAQQQD/AAAAEFIA4wAAABBHAOMAAAAQQgDjAAAAAVNjQQAAAAAAAADwPwFTY1IAAAAAwLGU6D8BU2NHAAAAAMCxlOg/AVNjQgAAAADAsZToPwAQQm9yZGVyVGhlbWVDb2xvcgAAAAAAAUJvcmRlclRpbnRBbmRTaGFkZQAAAAAAAAAAAAhJc0ZpbGxlZAABAlBhdHRlcm4AEAAAAG1zb1BhdHRlcm5NaXhlZAACU2hhcGVUeXBlAA4AAABtc29TaGFwZU1peGVkAANMYWJlbE9mZnNldABCAAAAAVgAAAAAAAAAAAABWQAAAAAAAAAAAAFMZW5ndGgAAAAAAAAAAAABTGVuZ3RoU3F1YXJlZAAAAAAAAAAAAAABQm9yZGVyVGhpY2tuZXNzAAAAAAAAAPA/CElzRm9udEJvbGQAAAhJc0ZvbnRJdGFsaWMAAAhJc0ZvbnRVbmRlcmxpbmVkAAAITGFiZWxIYXNCYWNrZ3JvdW5kAAACVGV4dEFsaWdubWVudAAFAAAATGVmdAAAA1N1bW1hcnlTdHlsZQB0BAAAAURlZmF1bHRGb250U2l6ZQAAAAAAAAAkQAFGb250U2l6ZQAAAAAAAAAkQANGb250Q29sb3IAVQAAABBBAP8AAAAQUgD/AAAAEEcA/wAAABBCAP8AAAABU2NBAAAAAAAAAPA/AVNjUgAAAAAAAADwPwFTY0cAAAAAAAAA8D8BU2NCAAAAAAAAAPA/ABBGb250VGhlbWVDb2xvcgAAAAAAEEZvbnRTY2hlbWVDb2xvcgAAAAAAAUZvbnRUaW50QW5kU2hhZGUAAAAAAAAAAAADUGF0dGVybkNvbG9yAFUAAAAQQQAAAAAAEFIAAAAAABBHAAAAAAAQQgAAAAAAAVNjQQAAAAAAAAAAAAFTY1IAAAAAAAAAAAABU2NHAAAAAAAAAAAAAVNjQgAAAAAAAAAAAAAQUGF0dGVyblRoZW1lQ29sb3IAAAAAAAFQYXR0ZXJuVGludEFuZFNoYWRlAAAAAAAAAAAAA0RhdGFTdHlsZUZvbnRDb2xvclZhbHVlAFUAAAAQQQAAAAAAEFIAAAAAABBHAAAAAAAQQgAAAAAAAVNjQQAAAAAAAAAAAAFTY1IAAAAAAAAAAAABU2NHAAAAAAAAAAAAAVNjQgAAAAAAAAAAAAAIRGF0YVN0eWxlRm9udENvbG9ySGFzVmFsdWUAAAFIZWlnaHQAAAAA4N0yKEACRGFzaFN0eWxlAA0AAABtc29MaW5lU29saWQACEhhc1dpc2hGaWxsQ29sb3IAAANGaWxsQ29sb3IAVQAAABBBAP8AAAAQUgBAAAAAEEcAYAAAABBCAHIAAAABU2NBAAAAAAAAAPA/AVNjUgAAAADA/T+qPwFTY0cAAAAAQMrxvT8BU2NCAAAAAADaicU/ABBGaWxsU2NoZW1lQ29sb3IAAAAAABBGaWxsVGhlbWVDb2xvcgAAAAAAAUZpbGxUaW50QW5kU2hhZGUAAAAAAAAAAAADQm9yZGVyQ29sb3IAVQAAABBBAP8AAAAQUgBAAAAAEEcAYAAAABBCAHIAAAABU2NBAAAAAAAAAPA/AVNjUgAAAADA/T+qPwFTY0cAAAAAQMrxvT8BU2NCAAAAAADaicU/ABBCb3JkZXJUaGVtZUNvbG9yAAAAAAABQm9yZGVyVGludEFuZFNoYWRlAAAAAAAAAAAACElzRmlsbGVkAAECUGF0dGVybgAQAAAAbXNvUGF0dGVybk1peGVkAAJTaGFwZVR5cGUADgAAAG1zb1NoYXBlTWl4ZWQAA0xhYmVsT2Zmc2V0AEIAAAABWAAAAAAAAAAAAAFZAAAAAAAAAAAAAUxlbmd0aAAAAAAAAAAAAAFMZW5ndGhTcXVhcmVkAAAAAAAAAAAAAAFCb3JkZXJUaGlja25lc3MAAAAAAAAA8D8ISXNGb250Qm9sZAAACElzRm9udEl0YWxpYwAACElzRm9udFVuZGVybGluZWQAAAhMYWJlbEhhc0JhY2tncm91bmQAAAJUZXh0QWxpZ25tZW50AAUAAABMZWZ0AAAIRGlzcGxheUxhYmVsAAEIRGlzcGxheVN1bW1hcnkAAQhJc0NvbGxhcHNlZAAAAVNlY3Rpb25Ub3AAEqifZWByW0ABU2VjdGlvbkhlaWdodADMwrR+eEZfQANMZWZ0Tm90ZXMAxwQAAANUZXh0U3R5bGUAWwQAAAFEZWZhdWx0Rm9udFNpemUAAAAAAAAAJEABRm9udFNpemUAAAAAAAAAJEADRm9udENvbG9yAFUAAAAQQQD/AAAAEFIAEAAAABBHADgAAAAQQgBPAAAAAVNjQQAAAAAAAADwPwFTY1IAAAAA4DY5dT8BU2NHAAAAAIBnP6Q/AVNjQgAAAABgFwS0PwAQRm9udFRoZW1lQ29sb3IAAAAAABBGb250U2NoZW1lQ29sb3IAAAAAAAFGb250VGludEFuZFNoYWRlAAAAAAAAAAAAA1BhdHRlcm5Db2xvcgBVAAAAEEEAAAAAABBSAAAAAAAQRwAAAAAAEEIAAAAAAAFTY0EAAAAAAAAAAAABU2NSAAAAAAAAAAAAAVNjRwAAAAAAAAAAAAFTY0IAAAAAAAAAAAAAEFBhdHRlcm5UaGVtZUNvbG9yAAAAAAABUGF0dGVyblRpbnRBbmRTaGFkZQAAAAAAAAAAAANEYXRhU3R5bGVGb250Q29sb3JWYWx1ZQBVAAAAEEEA/wAAABBSABAAAAAQRwA4AAAAEEIATwAAAAFTY0EAAAAAAAAA8D8BU2NSAAAAAOA2OXU/AVNjRwAAAACAZz+kPwFTY0IAAAAAYBcEtD8ACERhdGFTdHlsZUZvbnRDb2xvckhhc1ZhbHVlAAEBSGVpZ2h0AAAAAAAAAAAAAkRhc2hTdHlsZQANAAAAbXNvTGluZVNvbGlkAAhIYXNXaXNoRmlsbENvbG9yAAADRmlsbENvbG9yAFUAAAAQQQD/AAAAEFIAAAAAABBHAAAAAAAQQgAAAAAAAVNjQQAAAAAAAADwPwFTY1IAAAAAAAAAAAABU2NHAAAAAAAAAAAAAVNjQgAAAAAAAAAAAAAQRmlsbFNjaGVtZUNvbG9yAAAAAAAQRmlsbFRoZW1lQ29sb3IAAAAAAAFGaWxsVGludEFuZFNoYWRlAAAAAAAAAAAAA0JvcmRlckNvbG9yAFUAAAAQQQAAAAAAEFIAAAAAABBHAAAAAAAQQgAAAAAAAVNjQQAAAAAAAAAAAAFTY1IAAAAAAAAAAAABU2NHAAAAAAAAAAAAAVNjQgAAAAAAAAAAAAAQQm9yZGVyVGhlbWVDb2xvcgAAAAAAAUJvcmRlclRpbnRBbmRTaGFkZQAAAAAAAAAAAAhJc0ZpbGxlZAABAlBhdHRlcm4AEAAAAG1zb1BhdHRlcm5NaXhlZAACU2hhcGVUeXBlAA4AAABtc29TaGFwZU1peGVkAANMYWJlbE9mZnNldABCAAAAAVgAAAAAAAAAAAABWQAAAAAAAAAAAAFMZW5ndGgAAAAAAAAAAAABTGVuZ3RoU3F1YXJlZAAAAAAAAAAAAAAISXNGb250Qm9sZAAACElzRm9udEl0YWxpYwAACElzRm9udFVuZGVybGluZWQAAAhMYWJlbEhhc0JhY2tncm91bmQAAAJUZXh0QWxpZ25tZW50AAUAAABMZWZ0AAAISGFydmV5QmFsbFZpc2libGUAARBIYXJ2ZXlCYWxsVmFsdWUAAAAAAAJDaGVja0JveFN0YXRlAAUAAABOb25lAAJUcmFmZmljTGlnaHRTdGF0ZQAEAAAAT2ZmAAADUmlnaHROb3RlcwDHBAAAA1RleHRTdHlsZQBbBAAAAURlZmF1bHRGb250U2l6ZQAAAAAAAAAkQAFGb250U2l6ZQAAAAAAAAAkQANGb250Q29sb3IAVQAAABBBAP8AAAAQUgAQAAAAEEcAOAAAABBCAE8AAAABU2NBAAAAAAAAAPA/AVNjUgAAAADgNjl1PwFTY0cAAAAAgGc/pD8BU2NCAAAAAGAXBLQ/ABBGb250VGhlbWVDb2xvcgAAAAAAEEZvbnRTY2hlbWVDb2xvcgAAAAAAAUZvbnRUaW50QW5kU2hhZGUAAAAAAAAAAAADUGF0dGVybkNvbG9yAFUAAAAQQQAAAAAAEFIAAAAAABBHAAAAAAAQQgAAAAAAAVNjQQAAAAAAAAAAAAFTY1IAAAAAAAAAAAABU2NHAAAAAAAAAAAAAVNjQgAAAAAAAAAAAAAQUGF0dGVyblRoZW1lQ29sb3IAAAAAAAFQYXR0ZXJuVGludEFuZFNoYWRlAAAAAAAAAAAAA0RhdGFTdHlsZUZvbnRDb2xvclZhbHVlAFUAAAAQQQD/AAAAEFIAEAAAABBHADgAAAAQQgBPAAAAAVNjQQAAAAAAAADwPwFTY1IAAAAA4DY5dT8BU2NHAAAAAIBnP6Q/AVNjQgAAAABgFwS0PwAIRGF0YVN0eWxlRm9udENvbG9ySGFzVmFsdWUAAQFIZWlnaHQAAAAAAAAAAAACRGFzaFN0eWxlAA0AAABtc29MaW5lU29saWQACEhhc1dpc2hGaWxsQ29sb3IAAANGaWxsQ29sb3IAVQAAABBBAP8AAAAQUgAAAAAAEEcAAAAAABBCAAAAAAABU2NBAAAAAAAAAPA/AVNjUgAAAAAAAAAAAAFTY0cAAAAAkwAAAAWSAAAAlAAAAOcPAAAAAAAAAAAAAAAAAAAAAVNjQgAAAAAAAAAAAAAQRmlsbFNjaGVtZUNvbG9yAAAAAAAQRmlsbFRoZW1lQ29sb3IAAAAAAAFGaWxsVGludEFuZFNoYWRlAAAAAAAAAAAAA0JvcmRlckNvbG9yAFUAAAAQQQAAAAAAEFIAAAAAABBHAAAAAAAQQgAAAAAAAVNjQQAAAAAAAAAAAAFTY1IAAAAAAAAAAAABU2NHAAAAAAAAAAAAAVNjQgAAAAAAAAAAAAAQQm9yZGVyVGhlbWVDb2xvcgAAAAAAAUJvcmRlclRpbnRBbmRTaGFkZQAAAAAAAAAAAAhJc0ZpbGxlZAABAlBhdHRlcm4AEAAAAG1zb1BhdHRlcm5NaXhlZAACU2hhcGVUeXBlAA4AAABtc29TaGFwZU1peGVkAANMYWJlbE9mZnNldABCAAAAAVgAAAAAAAAAAAABWQAAAAAAAAAAAAFMZW5ndGgAAAAAAAAAAAABTGVuZ3RoU3F1YXJlZAAAAAAAAAAAAAAISXNGb250Qm9sZAAACElzRm9udEl0YWxpYwAACElzRm9udFVuZGVybGluZWQAAAhMYWJlbEhhc0JhY2tncm91bmQAAAJUZXh0QWxpZ25tZW50AAUAAABMZWZ0AAAISGFydmV5QmFsbFZpc2libGUAARBIYXJ2ZXlCYWxsVmFsdWUAAAAAAAJDaGVja0JveFN0YXRlAAUAAABOb25lAAJUcmFmZmljTGlnaHRTdGF0ZQAEAAAAT2ZmAAADTGVmdE5vdGVzUmVuZGVySW5mbwBhFAAAA0xhYmVsAHQGAAAFTWFuYWdlZElkABAAAAAEkfcWEMLs5EykC1soBbrVJQhIYXNDaGFuZ2VzAAEIVXNlTmFtZUluc3RlYWRPZlRhZ0FzSWQAAAhTaGFwZVByZXZpb3VzbHlDcmVhdGVkAAA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AJGaWxsUGF0dGVybgAQAAAAbXNvUGF0dGVybk1peGVkAAJUZXh0AAEAAAA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JEaXNwbGF5VGV4dAABAAAAAAFIZWlnaHQAAAAAAAAA8D8BV2lkdGgAAAAAAAAA8D8BVG9wAAAAAACMlnFAAUxlZnQAAAAAQGX2jU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NlcGFyYXRvckxpbmUA4QYAAANTdGFydAAbAAAAAVgAzczMFjLzjUABWQAAAADg1clgQAADRW5kABsAAAABWAAzMzN9mPmNQAFZAAAAAODVyWBAAAJTdGFydEFycm93SGVhZAARAAAAbXNvQXJyb3doZWFkTm9uZQACRW5kQXJyb3dIZWFkABEAAABtc29BcnJvd2hlYWROb25lAAVNYW5hZ2VkSWQAEAAAAAStc0ZJ9ERuRpR2AtQykvKeCEhhc0NoYW5nZXMAAQhVc2VOYW1lSW5zdGVhZE9mVGFnQXNJZAAACFNoYXBlUHJldmlvdXNseUNyZWF0ZWQAAA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oJmZ6T8BVG9wAAAAAODVyWBAAUxlZnQAAAAAIDLzjUAIRmxpcEhvcml6b250YWxseQAACEZsaXBIb3Jpem9udGFsbHlBcHBsaWVkAAAIRmxpcFZlcnRpY2FsbHkAAAhGbGlwVmVydGljYWxseUFwcGxpZWQAAAFSb3RhdGlvbgAAAAAAAAAAAAFaT3JkZXIAAAAAAACAVUADQm9yZGVyQ29sb3IAVQAAABBBAP8AAAAQUgDjAAAAEEcA4wAAABBCAOMAAAABU2NBAAAAAAAAAPA/AVNjUgAAAADAsZToPwFTY0cAAAAAwLGU6D8BU2NCAAAAAMCxlOg/ABBCb3JkZXJUaGVtZUNvbG9yAAAAAAABQm9yZGVyVGludEFuZFNoYWRlAAAAAAAAAAAAEEJvcmRlclNjaGVtZUNvbG9yAAAAAAABQm9yZGVyVGhpY2tuZXNzAAAAAAAAAPA/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JlY3RhbmdsZQB0BgAAAkF1dG9TaGFwZVR5cGUACgAAAFJlY3RhbmdsZZQAAAAFkwAAAJoAAADnDwAAAAAAAAAAAAAABU1hbmFnZWRJZAAQAAAABJnmIDNUdFVKl2PXDdDp3y0ISGFzQ2hhbmdlcwABCFVzZU5hbWVJbnN0ZWFkT2ZUYWdBc0lkAAAIU2hhcGVQcmV2aW91c2x5Q3JlYXRlZAAAA0ZpbGxDb2xvcgBVAAAAEEEAAAAAABBSAP8AAAAQRwD/AAAAEEIA/wAAAAFTY0EAAAAAAAAAAAABU2NSAAAAAAAAAPA/AVNjRwAAAAAAAADwPwFTY0IAAAAAAAAA8D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A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BALQU4QAFXaWR0aAAAAAAAAAAAAAFUb3AAAAAAYGCSW0ABTGVmdAAAAABAZe6NQAhGbGlwSG9yaXpvbnRhbGx5AAAIRmxpcEhvcml6b250YWxseUFwcGxpZWQAAAhGbGlwVmVydGljYWxseQAACEZsaXBWZXJ0aWNhbGx5QXBwbGllZAAAAVJvdGF0aW9uAAAAAAAAAAAAAVpPcmRlcgAAAAAAAEBV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EVHJhZmZpY0xpZ2h0RGF0YQAFAAAAAARIYXJ2ZXlCYWxsRGF0YQAFAAAAAAJUcmFmZmljTGlnaHRTdGF0ZQAEAAAAT2ZmAARDaGVja0JveERhdGEABQAAAAACQ2hlY2tCb3hTdGF0ZQAFAAAATm9uZQAAA1JpZ2h0Tm90ZXNSZW5kZXJJbmZvAGEUAAADTGFiZWwAdAYAAAVNYW5hZ2VkSWQAEAAAAAT/mdCjCbLITZOKBwhk20scCEhhc0NoYW5nZXMAAQhVc2VOYW1lSW5zdGVhZE9mVGFnQXNJZAAACFNoYXBlUHJldmlvdXNseUNyZWF0ZWQAAA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AAkZpbGxQYXR0ZXJuABAAAABtc29QYXR0ZXJuTWl4ZWQAAlRleHQAAQAAA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kRpc3BsYXlUZXh0AAEAAAAAAUhlaWdodAAAAAAAAADwPwFXaWR0aAAAAAAAAADwPwFUb3AAAAAAAIyWcUABTGVmdAAAAABAZfaNQAhGbGlwSG9yaXpvbnRhbGx5AAAIRmxpcEhvcml6b250YWxseUFwcGxpZWQAAAhGbGlwVmVydGljYWxseQAACEZsaXBWZXJ0aWNhbGx5QXBwbGllZAAAAVJvdGF0aW9uAAAAAAAAAAAAAVpPcmRlcgAAAAAAAAAAA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2VwYXJhdG9yTGluZQDhBgAAA1N0YXJ0ABsAAAABWADNzMwWMvONQAFZAAAAAODVyWBAAANFbmQAGwAAAAFYADMzM32Y+Y1AAVkAAAAA4NXJYEAAAlN0YXJ0QXJyb3dIZWFkABEAAABtc29BcnJvd2hlYWROb25lAAJFbmRBcnJvd0hlYWQAEQAAAG1zb0Fycm93aGVhZE5vbmUABU1hbmFnZWRJZAAQAAAABCGVmfXJgrtBlXslYOyhr1kISGFzQ2hhbmdlcwABCFVzZU5hbWVJbnN0ZWFkT2ZUYWdBc0lkAAAIU2hhcGVQcmV2aW91c2x5Q3JlYXRlZAAA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CVAAAABZAAAACWAAAA5w8AAAAAAAAAAAAA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AAAAAAAAVdpZHRoAAAAAKCZmek/AVRvcAAAAADg1clgQAFMZWZ0AAAAACAy841ACEZsaXBIb3Jpem9udGFsbHkAAAhGbGlwSG9yaXpvbnRhbGx5QXBwbGllZAAACEZsaXBWZXJ0aWNhbGx5AAAIRmxpcFZlcnRpY2FsbHlBcHBsaWVkAAABUm90YXRpb24AAAAAAAAAAAABWk9yZGVyAAAAAAAAgFVAA0JvcmRlckNvbG9yAFUAAAAQQQD/AAAAEFIA4wAAABBHAOMAAAAQQgDjAAAAAVNjQQAAAAAAAADwPwFTY1IAAAAAwLGU6D8BU2NHAAAAAMCxlOg/AVNjQgAAAADAsZToPwAQQm9yZGVyVGhlbWVDb2xvcgAAAAAAAUJvcmRlclRpbnRBbmRTaGFkZQAAAAAAAAAAABBCb3JkZXJTY2hlbWVDb2xvcgAAAAAAAUJvcmRlclRoaWNrbmVzcwAAAAAAAADw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SZWN0YW5nbGUAdAYAAAJBdXRvU2hhcGVUeXBlAAoAAABSZWN0YW5nbGUABU1hbmFnZWRJZAAQAAAABHdUbzZ6G8hPif8T0TJqiwAISGFzQ2hhbmdlcwABCFVzZU5hbWVJbnN0ZWFkT2ZUYWdBc0lkAAAIU2hhcGVQcmV2aW91c2x5Q3JlYXRlZAAAA0ZpbGxDb2xvcgBVAAAAEEEAAAAAABBSAP8AAAAQRwD/AAAAEEIA/wAAAAFTY0EAAAAAAAAAAAABU2NSAAAAAAAAAPA/AVNjRwAAAAAAAADwPwFTY0IAAAAAAAAA8D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A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BALQU4QAFXaWR0aAAAAAAAAAAAAAFUb3AAAAAAYGCSW0ABTGVmdAAAAABAZe6NQAhGbGlwSG9yaXpvbnRhbGx5AAAIRmxpcEhvcml6b250YWxseUFwcGxpZWQAAAhGbGlwVmVydGljYWxseQAACEZsaXBWZXJ0aWNhbGx5QXBwbGllZAAAAVJvdGF0aW9uAAAAAAAAAAAAAVpPcmRlcgAAAAAAAEBV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EVHJhZmZpY0xpZ2h0RGF0YQAFAAAAAARIYXJ2ZXlCYWxsRGF0YQAFAAAAAAJUcmFmZmljTGlnaHRTdGF0ZQAEAAAAT2ZmAARDaGVja0JveERhdGEABQAAAAACQ2hlY2tCb3hTdGF0ZQAFAAAATm9uZQAAA0xlZnRTaWRlUmVuZGVySW5mbwAkFAAAA0xhYmVsAKkGAAAFTWFuYWdlZElkABAAAAAEqTJww/vVikCiH0XFlC6RjQhIYXNDaGFuZ2VzAAAIVXNlTmFtZUluc3RlYWRPZlRhZ0FzSWQAAAhTaGFwZVByZXZpb3VzbHlDcmVhdGVkAAE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AAwAAABBMyBSZWxvYWRlZAACVGV4dEhvcml6b250YWxBbGlnbm1lbnQADgAAAG1zb0FuY2hvck5vbmUAAlBhcmFncmFwaEFsaWdubWVudAANAAAAbXNvQWxpZ25MZWZ0AAJUZXh0VmVydGljYWxBbGlnbm1lbnQADQAAAG1zb0FuY2hvclRvcAADRm9udFN0eWxlAEABAAAQRm9udEJhY2tncm91bmQAAAAAAAhGb250Qm9sZAAAA0ZvbnRDb2xvcgBVAAAAEEEA/wAAABBSABAAAAAQRwA4AAAAEEIATwAAAAFTY0EAAAAAAAAA8D8BU2NSAAAAAOA2OXU/AVNjRwAAAACAZz+kPwFTY0IAAAAAYBcEtD8AEEZvbnRUaGVtZUNvbG9yAAAAAAABRm9udFRpbnRBbmRTaGFkZQAAAAAAAAAAABBGb250U2NoZW1lQ29sb3IAAAAAAAhGb250SXRhbGljAAACRm9udE5hbWUABgAAAEFyaWFsAAFGb250U2l6ZQAAAAAAAAAoQAhGb250U3RyaWtldGhyb3VnaAAACEZvbnRTdWJzY3JpcHQAAAhGb250U3VwZXJzY3JpcHQAAAhGb250VW5kZXJsaW5lAAAACFNpemVUb1RleHRXaWR0aAAACFNpemVUb1RleHRIZWlnaHQAAANUZXh0TWFyZ2luAD8AAAABTGVmdAAAAAAAAAAAAAFUb3AAAAAAAAAAAAABUmlnaHQAAAAAAAAAAAABQm90dG9tAAAAAAAAAAAAAAJEaXNwbGF5VGV4dAAMAAAAQTMgUmVsb2FkZWQAAUhlaWdodAAAAADAqLsqQAFXaWR0aAAAAACAiHhSQAFUb3AAlgAAAAWVAAAAlwAAAOcPAAAAAAAAAAAAAAAAAIBL71xAAUxlZnQAAAAAgJK4KkAIRmxpcEhvcml6b250YWxseQAACEZsaXBIb3Jpem9udGFsbHlBcHBsaWVkAAAIRmxpcFZlcnRpY2FsbHkAAAhGbGlwVmVydGljYWxseUFwcGxpZWQAAAFSb3RhdGlvbgAAAAAAAAAAAAFaT3JkZXIAAAAAAAAAPk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JlY3RhbmdsZQB0BgAAAkF1dG9TaGFwZVR5cGUACgAAAFJlY3RhbmdsZQAFTWFuYWdlZElkABAAAAAE0fRmZtHDJk6WUMZJUZgC3QhIYXNDaGFuZ2VzAAAIVXNlTmFtZUluc3RlYWRPZlRhZ0FzSWQAAAhTaGFwZVByZXZpb3VzbHlDcmVhdGVkAAADRmlsbENvbG9yAFUAAAAQQQAAAAAAEFIA/wAAABBHAP8AAAAQQgD/AAAAAVNjQQAAAAAAAAAAAAFTY1IAAAAAAAAA8D8BU2NHAAAAAAAAAPA/AVNjQgAAAAAAAADwP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A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EAtBThAAVdpZHRoAAAAAACD241AAVRvcAAAAABgYJJbQAFMZWZ0AAAAAABK4gpACEZsaXBIb3Jpem9udGFsbHkAAAhGbGlwSG9yaXpvbnRhbGx5QXBwbGllZAAACEZsaXBWZXJ0aWNhbGx5AAAIRmxpcFZlcnRpY2FsbHlBcHBsaWVkAAABUm90YXRpb24AAAAAAAAAAAABWk9yZGVyAAAAAAAAACZ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TZXBhcmF0b3JMaW5lAOEGAAADU3RhcnQAGwAAAAFYAM3MzMwWrwdAAVkAtxoV2dXJYEAAA0VuZAAbAAAAAVgAMzMzfZj5jUABWQC3GhXZ1clgQAACU3RhcnRBcnJvd0hlYWQAEQAAAG1zb0Fycm93aGVhZE5vbmUAAkVuZEFycm93SGVhZAARAAAAbXNvQXJyb3doZWFkTm9uZQAFTWFuYWdlZElkABAAAAAESkoYDuyMoUyg3gMGX3aKzghIYXNDaGFuZ2VzAAAIVXNlTmFtZUluc3RlYWRPZlRhZ0FzSWQAAAhTaGFwZVByZXZpb3VzbHlDcmVhdGVkAAA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AAAAAAAAVdpZHRoAAAAAGDp4Y1AAVRvcAAAAADg1clgQAFMZWZ0AAAAAMAWrwdACEZsaXBIb3Jpem9udGFsbHkAAAhGbGlwSG9yaXpvbnRhbGx5QXBwbGllZAAACEZsaXBWZXJ0aWNhbGx5AAAIRmxpcFZlcnRpY2FsbHlBcHBsaWVkAAABUm90YXRpb24AAAAAAAAAAAABWk9yZGVyAAAAAAAAAChAA0JvcmRlckNvbG9yAFUAAAAQQQD/AAAAEFIA4wAAABBHAOMAAAAQQgDjAAAAAVNjQQAAAAAAAADwPwFTY1IAAAAAwLGU6D8BU2NHAAAAAMCxlOg/AVNjQgAAAADAsZToPwAQQm9yZGVyVGhlbWVDb2xvcgAAAAAAAUJvcmRlclRpbnRBbmRTaGFkZQAAAAAAAAAAABBCb3JkZXJTY2hlbWVDb2xvcgAAAAAAAUJvcmRlclRoaWNrbmVzcwAAAAAAAADw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ADU3VtbWFyeVJlbmRlckluZm8ABxcAAANGcmVlZm9ybVJlY3RhbmdsZQD8CAAABJcAAAAFlgAAAJgAAADnDwAAAAAAAAAAAABWZXJ0aWNlcwCbAgAAAzAALAAAABBJbmRleDAAAAAAABBJbmRleDEAAAAAAAFWYWx1ZQAAAAAAuKRxQAADMQAsAAAAEEluZGV4MAAAAAAAEEluZGV4MQABAAAAAVZhbHVlAAAAACDYD11AAAMyACwAAAAQSW5kZXgwAAEAAAAQSW5kZXgxAAAAAAABVmFsdWUAAAAAALj0cUAAAzMALAAAABBJbmRleDAAAQAAABBJbmRleDEAAQAAAAFWYWx1ZQAAAAAABpNeQAADNAAsAAAAEEluZGV4MAACAAAAEEluZGV4MQAAAAAAAVZhbHVlAAAAAAC4pHFAAAM1ACwAAAAQSW5kZXgwAAIAAAAQSW5kZXgxAAEAAAABVmFsdWUAAAAA4BkLYEAAAzYALAAAABBJbmRleDAAAwAAABBJbmRleDEAAAAAAAFWYWx1ZQAAAABAfPiEQAADNwAsAAAAEEluZGV4MAADAAAAEEluZGV4MQABAAAAAVZhbHVlAAAAAOAZC2BAAAM4ACwAAAAQSW5kZXgwAAQAAAAQSW5kZXgxAAAAAAABVmFsdWUAAAAAQHwghUAAAzkALAAAABBJbmRleDAABAAAABBJbmRleDEAAQAAAAFWYWx1ZQAAAAAABpNeQAADMTAALAAAABBJbmRleDAABQAAABBJbmRleDEAAAAAAAFWYWx1ZQAAAABAfPiEQAADMTEALAAAABBJbmRleDAABQAAABBJbmRleDEAAQAAAAFWYWx1ZQAAAAAg2A9dQAADMTIALAAAABBJbmRleDAABgAAABBJbmRleDEAAAAAAAFWYWx1ZQAAAAAAuKRxQAADMTMALAAAABBJbmRleDAABgAAABBJbmRleDEAAQAAAAFWYWx1ZQAAAAAg2A9dQAAABU1hbmFnZWRJZAAQAAAABGKNFmOjH/VIkhWqjFYedbMISGFzQ2hhbmdlcwAACFVzZU5hbWVJbnN0ZWFkT2ZUYWdBc0lkAAAIU2hhcGVQcmV2aW91c2x5Q3JlYXRlZAAAA0ZpbGxDb2xvcgBVAAAAEEEA/wAAABBSAEAAAAAQRwBgAAAAEEIAcgAAAAFTY0EAAAAAAAAA8D8BU2NSAAAAAMD9P6o/AVNjRwAAAABAyvG9PwFTY0IAAAAAANqJxT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Dg3TIoQAFXaWR0aAAAAACAQJx4QAFUb3AAAAAAINgPXUABTGVmdAAAAAAAuKRxQAhGbGlwSG9yaXpvbnRhbGx5AAAIRmxpcEhvcml6b250YWxseUFwcGxpZWQAAAhGbGlwVmVydGljYWxseQAACEZsaXBWZXJ0aWNhbGx5QXBwbGllZAAAAVJvdGF0aW9uAAAAAAAAAAAAAVpPcmRlcgAAAAAAAABOQANCb3JkZXJDb2xvcgBVAAAAEEEA/wAAABBSAEAAAAAQRwBgAAAAEEIAcgAAAAFTY0EAAAAAAAAA8D8BU2NSAAAAAMD9P6o/AVNjRwAAAABAyvG9PwFTY0IAAAAAANqJxT8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QmFyU3R5bGVEYXRhACQAAAACQmFyU3R5bGVTaGFwZVR5cGUACAAAAENoZXZyb24AAANMYWJlbADKBgAABU1hbmFnZWRJZAAQAAAABEcizCPSlZVOmQp7GcOYKpUISGFzQ2hhbmdlcwAACFVzZU5hbWVJbnN0ZWFkT2ZUYWdBc0lkAAAIU2hhcGVQcmV2aW91c2x5Q3JlYXRlZAABA0ZpbGxDb2xvcgBVAAAAEEEA/wAAABBSAEAAAAAQRwBgAAAAEEIAcgAAAAFTY0EAAAAAAAAA8D8BU2NSAAAAAMD9P6o/AVNjRwAAAABAyvG9PwFTY0IAAAAAANqJxT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AAbAAAANeKAiy8xOC8yMDI0IC0gOC8yLzIwMuKAizQAAlRleHRIb3Jpem9udGFsQWxpZ25tZW50AA4AAABtc29BbmNob3JOb25lAAJQYXJhZ3JhcGhBbGlnbm1lbnQADQAAAG1zb0FsaWduTGVmdAACVGV4dFZlcnRpY2FsQWxpZ25tZW50ABAAAABtc29BbmNob3JNaWRkbGUAA0ZvbnRTdHlsZQBAAQAAEEZvbnRCYWNrZ3JvdW5kAAAAAAAIRm9udEJvbGQAAANGb250Q29sb3IAVQAAABBBAP8AAAAQUgD/AAAAEEcA/wAAABBCAP8AAAABU2NBAAAAAAAAAPA/AVNjUgAAAAAAAADwPwFTY0cAAAAAAAAA8D8BU2NCAAAAAAAAAPA/ABBGb250VGhlbWVDb2xvcgAAAAAAAUZvbnRUaW50QW5kU2hhZGUAAAAAAAAAAAAQRm9udFNjaGVtZUNvbG9yAAAAAAAIRm9udEl0YWxpYwAAAkZvbnROYW1lAAYAAABBcmlhbAABRm9udFNpemUAAAAAAAAAJEAIRm9udFN0cmlrZXRocm91Z2gAAAhGb250U3Vic2NyaXB0AAAIRm9udFN1cGVyc2NyaXB0AAAIRm9udFVuZGVybGluZQAAAAhTaXplVG9UZXh0V2lkdGgAAAhTaXplVG9UZXh0SGVpZ2h0AAADVGV4dE1hcmdpbgA/AAAAAUxlZnQAAAAAAAAAAAABVG9wAAAAAAAAAAAAAVJpZ2h0AAAAAAAAAAAAAUJvdHRvbQAAAAAAAAAAAAACRGlzcGxheVRleHQAGwAAADXigIsvMTgvMjAyNCAtIDgvMi8yMDLigIs0AAFIZWlnaHQAAAAAYN8LJ0ABV2lkdGgAAAAAoEcRV0ABVG9wAAAAAGCPIl1AAUxlZnQAAAAAgINFckAIRmxpcEhvcml6b250YWxseQAACEZsaXBIb3Jpem9udGFsbHlBcHBsaWVkAAAIRmxpcFZlcnRpY2FsbHkAAAhGbGlwVmVydGljYWxseUFwcGxpZWQAAAFSb3RhdGlvbgAAAAAAAAAAAAFaT3JkZXIAAAAAAACATk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CYAAAABZcAAACZAAAA5w8AAAAAAAAAAAAAYWNlV2l0aGluAAAAAAAAAAAAAANDb25uZWN0b3JMaW5lAOEGAAADU3RhcnQAGwAAAAFYAAAAAAC4pHFAAVkAAAAAINgPXUAAA0VuZAAbAAAAAVgAAAAAALikcUABWQAAAAAg2A9dQAACU3RhcnRBcnJvd0hlYWQAEQAAAG1zb0Fycm93aGVhZE5vbmUAAkVuZEFycm93SGVhZAARAAAAbXNvQXJyb3doZWFkTm9uZQAFTWFuYWdlZElkABAAAAAEkP769h8PokiaQ8ca1VrknghIYXNDaGFuZ2VzAAAIVXNlTmFtZUluc3RlYWRPZlRhZ0FzSWQAAAhTaGFwZVByZXZpb3VzbHlDcmVhdGVkAAA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A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AAAAAAAAVdpZHRoAAAAAAAAAAAAAVRvcAAAAAAg2A9dQAFMZWZ0AAAAAAC4pHFACEZsaXBIb3Jpem9udGFsbHkAAAhGbGlwSG9yaXpvbnRhbGx5QXBwbGllZAAACEZsaXBWZXJ0aWNhbGx5AAAIRmxpcFZlcnRpY2FsbHlBcHBsaWVkAAABUm90YXRpb24AAAAAAAAAAAABWk9yZGVyAAAAAAAAgE5AA0JvcmRlckNvbG9yAFUAAAAQQQD/AAAAEFIAQAAAABBHAGAAAAAQQgByAAAAAVNjQQAAAAAAAADwPwFTY1IAAAAAwP0/qj8BU2NHAAAAAEDK8b0/AVNjQgAAAAAA2onFPw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ACVGV4dEhvcml6b250YWxBbGlnbm1lbnQAAgAAADAAAAMyAKttAQAQX2lkABAAAAAEUm93cwCgBQEAAzAAzIIAABBfaWQAEQAAAARJdGVtcwBoNgAAAzAAcBwAAAJfdHlwZQBLAAAAZW1wb3dlci5DaGFydHMuRGF0YS5HYW50dC5DaHJvbm9sb2d5LkRhdGEuQmFyVGFza0RhdGEsIGVtcG93ZXIuQ2hhcnRzLkRhdGEAAkxhYmVsUG9zaXRpb24ABwAAAENlbnRlcgAISXNMYWJlbEluc2lkZUJvdW5kcwABA1N0eWxlAFsEAAABRGVmYXVsdEZvbnRTaXplAAAAAAAAACRAAUZvbnRTaXplAAAAAAAAACBAA0ZvbnRDb2xvcgBVAAAAEEEA/wAAABBSABAAAAAQRwA4AAAAEEIATwAAAAFTY0EAAAAAAAAA8D8BU2NSAAAAAOA2OXU/AVNjRwAAAACAZz+kPwFTY0IAAAAAYBcEtD8AEEZvbnRUaGVtZUNvbG9yAAAAAAAQRm9udFNjaGVtZUNvbG9yAAAAAAABRm9udFRpbnRBbmRTaGFkZQAAAAAAAAAAAANQYXR0ZXJuQ29sb3IAVQAAABBBAAAAAAAQUgAAAAAAEEcAAAAAABBCAAAAAAABU2NBAAAAAAAAAAAAAVNjUgAAAAAAAAAAAAFTY0cAAAAAAAAAAAABU2NCAAAAAAAAAAAAABBQYXR0ZXJuVGhlbWVDb2xvcgAAAAAAAVBhdHRlcm5UaW50QW5kU2hhZGUAAAAAAAAAAAADRGF0YVN0eWxlRm9udENvbG9yVmFsdWUAVQAAABBBAAAAAAAQUgAAAAAAEEcAAAAAABBCAAAAAAABU2NBAAAAAAAAAAAAAVNjUgAAAAAAAAAAAAFTY0cAAAAAAAAAAAABU2NCAAAAAAAAAAAAAAhEYXRhU3R5bGVGb250Q29sb3JIYXNWYWx1ZQAAAUhlaWdodAAAAADg3TIoQAJEYXNoU3R5bGUADQAAAG1zb0xpbmVTb2xpZAAISGFzV2lzaEZpbGxDb2xvcgAAA0ZpbGxDb2xvcgBVAAAAEEEA/wAAABBSAJkAAAAQRwDTAAAAEEIA8gAAAAFTY0EAAAAAAAAA8D8BU2NSAAAAACASY9Q/AVNjRwAAAACgUNjkPwFTY0IAAAAAwN1p7D8AEEZpbGxTY2hlbWVDb2xvcgAAAAAAEEZpbGxUaGVtZUNvbG9yAAAAAAABRmlsbFRpbnRBbmRTaGFkZQAAAAAAAAAAAANCb3JkZXJDb2xvcgBVAAAAEEEAAAAAABBSAAAAAAAQRwAAAAAAEEIAAAAAAAFTY0EAAAAAAAAAAAABU2NSAAAAAAAAAAAAAVNjRwAAAAAAAAAAAAFTY0IAAAAAAAAAAAAAEEJvcmRlclRoZW1lQ29sb3IAAAAAAAFCb3JkZXJUaW50QW5kU2hhZGUAAAAAAAAAAAAISXNGaWxsZWQAAQJQYXR0ZXJuABAAAABtc29QYXR0ZXJuTWl4ZWQAAlNoYXBlVHlwZQAOAAAAbXNvU2hhcGVNaXhlZAADTGFiZWxPZmZzZXQAQgAAAAFYAAAAAAAAAAAAAVkAAAAAAAAAAAABTGVuZ3RoAAAAAAAAAAAAAUxlbmd0aFNxdWFyZWQAAAAAAAAAAAAACElzRm9udEJvbGQAAAhJc0ZvbnRJdGFsaWMAAAhJc0ZvbnRVbmRlcmxpbmVkAAAITGFiZWxIYXNCYWNrZ3JvdW5kAAACVGV4dEFsaWdubWVudAAFAAAATGVmdAAACERpc3BsYXlMYWJlbAABA1JlbmRlckluZm8A8xYAAANSZWN0YW5nbGVGcmVlZm9ybQD8CAAABFZlcnRpY2VzAJsCAAADMAAsAAAAEEluZGV4MAAAAAAAEEluZGV4MQAAAAAAAVZhbHVlAAAAAABF0IFAAAMxACwAAAAQSW5kZXgwAAAAAAAQSW5kZXgxAAEAAAABVmFsdWUAAAAAAOelcEAAAzIALAAAABBJbmRleDAAAQAAABBJbmRleDEAAAAAAAFWYWx1ZQAAAAAARdCBQAADMwAsAAAAEEluZGV4MAABAAAAEEluZGV4MQABAAAAAVZhbHVlAAAAAICyBnFAAAM0ACwAAAAQSW5kZXgwAAIAAAAQSW5kZXgxAAAAAAABVmFsdWUAAAAAAEXQgUAAAzUALAAAABBJbmRleDAAAgAAABBJbmRleDEAAQAAAAFWYWx1ZQAAAADgfWdxQAADNgAsAAAAEEluZGV4MAADAAAAEEluZGV4MQAAAAAAAVZhbHVlAAAAAEB8IIVAAAM3ACwAAAAQSW5kZXgwAAMAAAAQSW5kZXgxAAEAAAABVmFsdWUAAAAA4H1ncUAAAzgALAAAABBJbmRleDAABAAAABBJbmRleDEAAAAAAAFWYWx1ZQAAAABAfCCFQAADOQAsAAAAEEluZGV4MAAEAAAAEEluZGV4MQABAAAAAVZhbHVlAAAAAICyBnFAAAMxMAAsAAAAEEluZGV4MAAFAAAAEEluZGV4MQAAAAAAAVZhbHVlAAAAAEB8IIVAAAMxMQAsAAAAEEluZGV4MAAFAAAAEEluZGV4MQABAAAAAVZhbHVlAAAAAADnpXBAAAMxMgAsAAAAEEluZGV4MAAGAAAAEEluZGV4MQAAAAAAAVZhbHVlAAAAAABF0IFAAAMxMwAsAAAAEEluZGV4MAAGAAAAEEluZGV4MQABAAAAAVZhbHVlAAAAAADnpXBAAAAFTWFuYWdlZElkABAAAAAEZVls9n/2HESPTISPQck2DQhIYXNDaGFuZ2VzAAAIVXNlTmFtZUluc3RlYWRPZlRhZ0FzSWQAAAhTaGFwZVByZXZpb3VzbHlDcmVhdGVkAAADRmlsbENvbG9yAFUAAAAQQQD/AAAAEFIAmQAAABBHANMAAAAQQgDyAAAAAVNjQQAAAAAAAADwPwFTY1IAAAAAIBJj1D8BU2NHAAAAAKBQ2OQ/AVNjQgAAAADA3WnsPwAQRmlsmQAAAAWYAAAAnwAAAOcPAAAAAAAAAAAAA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DA3TIoQAFXaWR0aAAAAABAuoFaQAFUb3AAAAAAAOelcEABTGVmdAAAAAAARdCBQAhGbGlwSG9yaXpvbnRhbGx5AAAIRmxpcEhvcml6b250YWxseUFwcGxpZWQAAAhGbGlwVmVydGljYWxseQAACEZsaXBWZXJ0aWNhbGx5QXBwbGllZAAAAVJvdGF0aW9uAAAAAAAAAAAAAVpPcmRlcgAAAAAAAIBRQANCb3JkZXJDb2xvcgBVAAAAEEEA/wAAABBSAP8AAAAQRwD/AAAAEEIA/wAAAAFTY0EAAAAAAAAA8D8BU2NSAAAAAAAAAPA/AVNjRwAAAAAAAADwPwFTY0IAAAAAAAAA8D8AEEJvcmRlclRoZW1lQ29sb3IAAAAAAAFCb3JkZXJUaW50QW5kU2hhZGUAAAAAAAAAAAAQQm9yZGVyU2NoZW1lQ29sb3IAAAAAAAFCb3JkZXJUaGlja25lc3MAAAAAAAAA8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QmFyU3R5bGVEYXRhACYAAAACQmFyU3R5bGVTaGFwZVR5cGUACgAAAFJlY3RhbmdsZQAAA0xhYmVsALAGAAAFTWFuYWdlZElkABAAAAAEXI8IAIbfmEyzQHbJsuVSXAhIYXNDaGFuZ2VzAAAIVXNlTmFtZUluc3RlYWRPZlRhZ0FzSWQAAAhTaGFwZVByZXZpb3VzbHlDcmVhdGVkAAEDRmlsbENvbG9yAFUAAAAQQQD/AAAAEFIAmQAAABBHANMAAAAQQgDyAAAAAVNjQQAAAAAAAADwPwFTY1IAAAAAIBJj1D8BU2NHAAAAAKBQ2OQ/AVNjQgAAAADA3WnsP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AA0AAABDb25lY3RpdmlkYWQAAlRleHRIb3Jpem9udGFsQWxpZ25tZW50AA4AAABtc29BbmNob3JOb25lAAJQYXJhZ3JhcGhBbGlnbm1lbnQADwAAAG1zb0FsaWduQ2VudGVyAAJUZXh0VmVydGljYWxBbGlnbm1lbnQAEAAAAG1zb0FuY2hvck1pZGRsZQADRm9udFN0eWxlAEABAAAQRm9udEJhY2tncm91bmQAAAAAAAhGb250Qm9sZAAAA0ZvbnRDb2xvcgBVAAAAEEEA/wAAABBSABAAAAAQRwA4AAAAEEIATwAAAAFTY0EAAAAAAAAA8D8BU2NSAAAAAOA2OXU/AVNjRwAAAACAZz+kPwFTY0IAAAAAYBcEtD8AEEZvbnRUaGVtZUNvbG9yAAAAAAABRm9udFRpbnRBbmRTaGFkZQAAAAAAAAAAABBGb250U2NoZW1lQ29sb3IAAAAAAAhGb250SXRhbGljAAACRm9udE5hbWUABgAAAEFyaWFsAAFGb250U2l6ZQAAAAAAAAAgQAhGb250U3RyaWtldGhyb3VnaAAACEZvbnRTdWJzY3JpcHQAAAhGb250U3VwZXJzY3JpcHQAAAhGb250VW5kZXJsaW5lAAAACFNpemVUb1RleHRXaWR0aAAACFNpemVUb1RleHRIZWlnaHQAAANUZXh0TWFyZ2luAD8AAAABTGVmdAAAAAAAAAAAAAFUb3AAAAAAAAAAAAABUmlnaHQAAAAAAAAAAAABQm90dG9tAAAAAAAAAAAAAAJEaXNwbGF5VGV4dAANAAAAQ29uZWN0aXZpZGFkAAFIZWlnaHQAAAAAABZcI0ABV2lkdGgAAAAAQG1gR0ABVG9wAAAAACBCuXBAAUxlZnQAAAAAQF29gkAIRmxpcEhvcml6b250YWxseQAACEZsaXBIb3Jpem9udGFsbHlBcHBsaWVkAAAIRmxpcFZlcnRpY2FsbHkAAAhGbGlwVmVydGljYWxseUFwcGxpZWQAAAFSb3RhdGlvbgAAAAAAAAAAAAFaT3JkZXIAAAAAAAAAUk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Nvbm5lY3RvckxpbmVEYXRhAOEGAAADU3RhcnQAGwAAAAFYAAAAAABF0IFAAVkAAAAAAOelcEAAA0VuZAAbAAAAAVgAAAAAAEXQgUABWQAAAAAA56VwQAACU3RhcnRBcnJvd0hlYWQAEQAAAG1zb0Fycm93aGVhZE5vbmUAAkVuZEFycm93SGVhZAARAAAAbXNvQXJyb3doZWFkTm9uZQAFTWFuYWdlZElkABAAAAAEmQhloSORm0qhToykwa5SughIYXNDaGFuZ2VzAAAIVXNlTmFtZUluc3RlYWRPZlRhZ0FzSWQAAAhTaGFwZVByZXZpb3VzbHlDcmVhdGVkAAA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A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JoAAAAFlAAAAJsAAADnDwAAAAAAAAAAAA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CgmZnpPwFUb3AAAAAA4NXJYEABTGVmdAAAAAAgMvONQAhGbGlwSG9yaXpvbnRhbGx5AAAIRmxpcEhvcml6b250YWxseUFwcGxpZWQAAAhGbGlwVmVydGljYWxseQAACEZsaXBWZXJ0aWNhbGx5QXBwbGllZAAAAVJvdGF0aW9uAAAAAAAAAAAAAVpPcmRlcgAAAAAAAIBVQANCb3JkZXJDb2xvcgBVAAAAEEEA/wAAABBSAOMAAAAQRwDjAAAAEEIA4wAAAAFTY0EAAAAAAAAA8D8BU2NSAAAAAMCxlOg/AVNjRwAAAADAsZToPwFTY0IAAAAAwLGU6D8AEEJvcmRlclRoZW1lQ29sb3IAAAAAAAFCb3JkZXJUaW50QW5kU2hhZGUAAAAAAAAAAAAQQm9yZGVyU2NoZW1lQ29sb3IAAAAAAAFCb3JkZXJUaGlja25lc3MAAAAAAAAA8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mVjdGFuZ2xlAHQGAAACQXV0b1NoYXBlVHlwZQAKAAAAUmVjdGFuZ2xlAAVNYW5hZ2VkSWQAEAAAAAR3VG82ehvIT4n/E9EyaosACEhhc0NoYW5nZXMAAQhVc2VOYW1lSW5zdGVhZE9mVGFnQXNJZAAACFNoYXBlUHJldmlvdXNseUNyZWF0ZWQAAANGaWxsQ29sb3IAVQAAABBBAAAAAAAQUgD/AAAAEEcA/wAAABBCAP8AAAABU2NBAAAAAAAAAAAAAVNjUgAAAAAAAADwPwFTY0cAAAAAAAAA8D8BU2NCAAAAAAAAAPA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A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QC0FOEABV2lkdGgAAAAAAAAAAAABVG9wAAAAAGBgkltAAUxlZnQAAAAAQGXujUAIRmxpcEhvcml6b250YWxseQAACEZsaXBIb3Jpem9udGFsbHlBcHBsaWVkAAAIRmxpcFZlcnRpY2FsbHkAAAhGbGlwVmVydGljYWxseUFwcGxpZWQAAAFSb3RhdGlvbgAAAAAAAAAAAAFaT3JkZXIAAAAAAABAVU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BFRyYWZmaWNMaWdodERhdGEABQAAAAAESGFydmV5QmFsbERhdGEABQAAAAACVHJhZmZpY0xpZ2h0U3RhdGUABAAAAE9mZgAEQ2hlY2tCb3hEYXRhAAUAAAAAAkNoZWNrQm94U3RhdGUABQAAAE5vbmUAAANMZWZ0U2lkZVJlbmRlckluZm8AJBQAAANMYWJlbACpBgAABU1hbmFnZWRJZAAQAAAABKkycMP71YpAoh9FxZQukY0ISGFzQ2hhbmdlcwAACFVzZU5hbWVJbnN0ZWFkT2ZUYWdBc0lkAAAIU2hhcGVQcmV2aW91c2x5Q3JlYXRlZAAB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AAMAAAAQTMgUmVsb2FkZWQAAlRleHRIb3Jpem9udGFsQWxpZ25tZW50AA4AAABtc29BbmNob3JOb25lAAJQYXJhZ3JhcGhBbGlnbm1lbnQADQAAAG1zb0FsaWduTGVmdAACVGV4dFZlcnRpY2FsQWxpZ25tZW50AA0AAABtc29BbmNob3JUb3AAA0ZvbnRTdHlsZQBAAQAAEEZvbnRCYWNrZ3JvdW5kAAAAAAAIRm9udEJvbGQAAANGb250Q29sb3IAVQAAABBBAP8AAAAQUgAQAAAAEEcAOAAAABBCAE8AAAABU2NBAAAAAAAAAPA/AVNjUgAAAADgNjl1PwFTY0cAAAAAgGc/pD8BU2NCAAAAAGAXBLQ/ABBGb250VGhlbWVDb2xvcgAAAAAAAUZvbnRUaW50QW5kU2hhZGUAAAAAAAAAAAAQRm9udFNjaGVtZUNvbG9yAAAAAAAIRm9udEl0YWxpYwAAAkZvbnROYW1lAAYAAABBcmlhbAABRm9udFNpemUAAAAAAAAAKEAIRm9udFN0cmlrZXRocm91Z2gAAAhGb250U3Vic2NyaXB0AAAIRm9udFN1cGVyc2NyaXB0AAAIRm9udFVuZGVybGluZQAAAAhTaXplVG9UZXh0V2lkdGgAAAhTaXplVG9UZXh0SGVpZ2h0AAADVGV4dE1hcmdpbgA/AAAAAUxlZnQAAAAAAAAAAAABVG9wAAAAAAAAAAAAAVJpZ2h0AAAAAAAAAAAAAUJvdHRvbQAAAAAAAAAAAAACRGlzcGxheVRleHQADAAAAEEzIFJlbG9hZGVkAAFIZWlnaHQAAAAAwKi7KkABV2lkdGgAAAAAgIh4UkABVG9wAAAAAIBL71xAAUxlZnQAAACbAAAABZoAAACcAAAA5w8AAAAAAAAAAAAAAICSuCpACEZsaXBIb3Jpem9udGFsbHkAAAhGbGlwSG9yaXpvbnRhbGx5QXBwbGllZAAACEZsaXBWZXJ0aWNhbGx5AAAIRmxpcFZlcnRpY2FsbHlBcHBsaWVkAAABUm90YXRpb24AAAAAAAAAAAABWk9yZGVyAAAAAAAAAD5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SZWN0YW5nbGUAdAYAAAJBdXRvU2hhcGVUeXBlAAoAAABSZWN0YW5nbGUABU1hbmFnZWRJZAAQAAAABNH0ZmbRwyZOllDGSVGYAt0ISGFzQ2hhbmdlcwAACFVzZU5hbWVJbnN0ZWFkT2ZUYWdBc0lkAAAIU2hhcGVQcmV2aW91c2x5Q3JlYXRlZAAAA0ZpbGxDb2xvcgBVAAAAEEEAAAAAABBSAP8AAAAQRwD/AAAAEEIA/wAAAAFTY0EAAAAAAAAAAAABU2NSAAAAAAAAAPA/AVNjRwAAAAAAAADwPwFTY0IAAAAAAAAA8D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A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BALQU4QAFXaWR0aAAAAAAAg9uNQAFUb3AAAAAAYGCSW0ABTGVmdAAAAAAASuIKQAhGbGlwSG9yaXpvbnRhbGx5AAAIRmxpcEhvcml6b250YWxseUFwcGxpZWQAAAhGbGlwVmVydGljYWxseQAACEZsaXBWZXJ0aWNhbGx5QXBwbGllZAAAAVJvdGF0aW9uAAAAAAAAAAAAAVpPcmRlcgAAAAAAAAAm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2VwYXJhdG9yTGluZQDhBgAAA1N0YXJ0ABsAAAABWADNzMzMFq8HQAFZALcaFdnVyWBAAANFbmQAGwAAAAFYADMzM32Y+Y1AAVkAtxoV2dXJYEAAAlN0YXJ0QXJyb3dIZWFkABEAAABtc29BcnJvd2hlYWROb25lAAJFbmRBcnJvd0hlYWQAEQAAAG1zb0Fycm93aGVhZE5vbmUABU1hbmFnZWRJZAAQAAAABEpKGA7sjKFMoN4DBl92is4ISGFzQ2hhbmdlcwAACFVzZU5hbWVJbnN0ZWFkT2ZUYWdBc0lkAAAIU2hhcGVQcmV2aW91c2x5Q3JlYXRlZAAA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Bg6eGNQAFUb3AAAAAA4NXJYEABTGVmdAAAAADAFq8HQAhGbGlwSG9yaXpvbnRhbGx5AAAIRmxpcEhvcml6b250YWxseUFwcGxpZWQAAAhGbGlwVmVydGljYWxseQAACEZsaXBWZXJ0aWNhbGx5QXBwbGllZAAAAVJvdGF0aW9uAAAAAAAAAAAAAVpPcmRlcgAAAAAAAAAoQANCb3JkZXJDb2xvcgBVAAAAEEEA/wAAABBSAOMAAAAQRwDjAAAAEEIA4wAAAAFTY0EAAAAAAAAA8D8BU2NSAAAAAMCxlOg/AVNjRwAAAADAsZToPwFTY0IAAAAAwLGU6D8AEEJvcmRlclRoZW1lQ29sb3IAAAAAAAFCb3JkZXJUaW50QW5kU2hhZGUAAAAAAAAAAAAQQm9yZGVyU2NoZW1lQ29sb3IAAAAAAAFCb3JkZXJUaGlja25lc3MAAAAAAAAA8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AA1N1bW1hcnlSZW5kZXJJbmZvAAcXAAADRnJlZWZvcm1SZWN0YW5nbGUA/AgAAARWZXJ0aWNlcwCbAgAAAzAAnAAAAAWbAAAAnQAAAOcPAAAAAAAAAAAAACwAAAAQSW5kZXgwAAAAAAAQSW5kZXgxAAAAAAABVmFsdWUAAAAAALikcUAAAzEALAAAABBJbmRleDAAAAAAABBJbmRleDEAAQAAAAFWYWx1ZQAAAAAg2A9dQAADMgAsAAAAEEluZGV4MAABAAAAEEluZGV4MQAAAAAAAVZhbHVlAAAAAAC49HFAAAMzACwAAAAQSW5kZXgwAAEAAAAQSW5kZXgxAAEAAAABVmFsdWUAAAAAAAaTXkAAAzQALAAAABBJbmRleDAAAgAAABBJbmRleDEAAAAAAAFWYWx1ZQAAAAAAuKRxQAADNQAsAAAAEEluZGV4MAACAAAAEEluZGV4MQABAAAAAVZhbHVlAAAAAOAZC2BAAAM2ACwAAAAQSW5kZXgwAAMAAAAQSW5kZXgxAAAAAAABVmFsdWUAAAAAQHz4hEAAAzcALAAAABBJbmRleDAAAwAAABBJbmRleDEAAQAAAAFWYWx1ZQAAAADgGQtgQAADOAAsAAAAEEluZGV4MAAEAAAAEEluZGV4MQAAAAAAAVZhbHVlAAAAAEB8IIVAAAM5ACwAAAAQSW5kZXgwAAQAAAAQSW5kZXgxAAEAAAABVmFsdWUAAAAAAAaTXkAAAzEwACwAAAAQSW5kZXgwAAUAAAAQSW5kZXgxAAAAAAABVmFsdWUAAAAAQHz4hEAAAzExACwAAAAQSW5kZXgwAAUAAAAQSW5kZXgxAAEAAAABVmFsdWUAAAAAINgPXUAAAzEyACwAAAAQSW5kZXgwAAYAAAAQSW5kZXgxAAAAAAABVmFsdWUAAAAAALikcUAAAzEzACwAAAAQSW5kZXgwAAYAAAAQSW5kZXgxAAEAAAABVmFsdWUAAAAAINgPXUAAAAVNYW5hZ2VkSWQAEAAAAARijRZjox/1SJIVqoxWHnWzCEhhc0NoYW5nZXMAAAhVc2VOYW1lSW5zdGVhZE9mVGFnQXNJZAAACFNoYXBlUHJldmlvdXNseUNyZWF0ZWQAAANGaWxsQ29sb3IAVQAAABBBAP8AAAAQUgBAAAAAEEcAYAAAABBCAHIAAAABU2NBAAAAAAAAAPA/AVNjUgAAAADA/T+qPwFTY0cAAAAAQMrxvT8BU2NCAAAAAADaicU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4N0yKEABV2lkdGgAAAAAgECceEABVG9wAAAAACDYD11AAUxlZnQAAAAAALikcUAIRmxpcEhvcml6b250YWxseQAACEZsaXBIb3Jpem9udGFsbHlBcHBsaWVkAAAIRmxpcFZlcnRpY2FsbHkAAAhGbGlwVmVydGljYWxseUFwcGxpZWQAAAFSb3RhdGlvbgAAAAAAAAAAAAFaT3JkZXIAAAAAAAAATkADQm9yZGVyQ29sb3IAVQAAABBBAP8AAAAQUgBAAAAAEEcAYAAAABBCAHIAAAABU2NBAAAAAAAAAPA/AVNjUgAAAADA/T+qPwFTY0cAAAAAQMrxvT8BU2NCAAAAAADaicU/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JhclN0eWxlRGF0YQAkAAAAAkJhclN0eWxlU2hhcGVUeXBlAAgAAABDaGV2cm9uAAADTGFiZWwAygYAAAVNYW5hZ2VkSWQAEAAAAARHIswj0pWVTpkKexnDmCqVCEhhc0NoYW5nZXMAAAhVc2VOYW1lSW5zdGVhZE9mVGFnQXNJZAAACFNoYXBlUHJldmlvdXNseUNyZWF0ZWQAAQNGaWxsQ29sb3IAVQAAABBBAP8AAAAQUgBAAAAAEEcAYAAAABBCAHIAAAABU2NBAAAAAAAAAPA/AVNjUgAAAADA/T+qPwFTY0cAAAAAQMrxvT8BU2NCAAAAAADaicU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QAGwAAADXigIsvMTgvMjAyNCAtIDgvMi8yMDLigIs0AAJUZXh0SG9yaXpvbnRhbEFsaWdubWVudAAOAAAAbXNvQW5jaG9yTm9uZQACUGFyYWdyYXBoQWxpZ25tZW50AA0AAABtc29BbGlnbkxlZnQAAlRleHRWZXJ0aWNhbEFsaWdubWVudAAQAAAAbXNvQW5jaG9yTWlkZGxlAANGb250U3R5bGUAQAEAABBGb250QmFja2dyb3VuZAAAAAAACEZvbnRCb2xkAAADRm9udENvbG9yAFUAAAAQQQD/AAAAEFIA/wAAABBHAP8AAAAQQgD/AAAAAVNjQQAAAAAAAADwPwFTY1IAAAAAAAAA8D8BU2NHAAAAAAAAAPA/AVNjQgAAAAAAAADwPwAQRm9udFRoZW1lQ29sb3IAAAAAAAFGb250VGludEFuZFNoYWRlAAAAAAAAAAAAEEZvbnRTY2hlbWVDb2xvcgAAAAAACEZvbnRJdGFsaWMAAAJGb250TmFtZQAGAAAAQXJpYWwAAUZvbnRTaXplAAAAAAAAACRACEZvbnRTdHJpa2V0aHJvdWdoAAAIRm9udFN1YnNjcmlwdAAACEZvbnRTdXBlcnNjcmlwdAAACEZvbnRVbmRlcmxpbmUAAAAIU2l6ZVRvVGV4dFdpZHRoAAAIU2l6ZVRvVGV4dEhlaWdodAAAA1RleHRNYXJnaW4APwAAAAFMZWZ0AAAAAAAAAAAAAVRvcAAAAAAAAAAAAAFSaWdodAAAAAAAAAAAAAFCb3R0b20AAAAAAAAAAAAAAkRpc3BsYXlUZXh0ABsAAAA14oCLLzE4LzIwMjQgLSA4LzIvMjAy4oCLNAABSGVpZ2h0AAAAAGDfCydAAVdpZHRoAAAAAKBHEVdAAVRvcAAAAABgjyJdQAFMZWZ0AAAAAICDRXJACEZsaXBIb3Jpem9udGFsbHkAAAhGbGlwSG9yaXpvbnRhbGx5QXBwbGllZAAACEZsaXBWZXJ0aWNhbGx5AAAIRmxpcFZlcnRpY2FsbHlBcHBsaWVkAAABUm90YXRpb24AAAAAAAAAAAABWk9yZGVyAAAAAAAAgE5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J0AAAAFnAAAAJ4AAADnDwAAAAAAAAAAAAAAAAADQ29ubmVjdG9yTGluZQDhBgAAA1N0YXJ0ABsAAAABWAAAAAAAuKRxQAFZAAAAACDYD11AAANFbmQAGwAAAAFYAAAAAAC4pHFAAVkAAAAAINgPXUAAAlN0YXJ0QXJyb3dIZWFkABEAAABtc29BcnJvd2hlYWROb25lAAJFbmRBcnJvd0hlYWQAEQAAAG1zb0Fycm93aGVhZE5vbmUABU1hbmFnZWRJZAAQAAAABJD++vYfD6JImkPHGtVa5J4ISGFzQ2hhbmdlcwAACFVzZU5hbWVJbnN0ZWFkT2ZUYWdBc0lkAAAIU2hhcGVQcmV2aW91c2x5Q3JlYXRlZAAA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A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AAAAAAAAFUb3AAAAAAINgPXUABTGVmdAAAAAAAuKRxQAhGbGlwSG9yaXpvbnRhbGx5AAAIRmxpcEhvcml6b250YWxseUFwcGxpZWQAAAhGbGlwVmVydGljYWxseQAACEZsaXBWZXJ0aWNhbGx5QXBwbGllZAAAAVJvdGF0aW9uAAAAAAAAAAAAAVpPcmRlcgAAAAAAAIBOQANCb3JkZXJDb2xvcgBVAAAAEEEA/wAAABBSAEAAAAAQRwBgAAAAEEIAcgAAAAFTY0EAAAAAAAAA8D8BU2NSAAAAAMD9P6o/AVNjRwAAAABAyvG9PwFTY0IAAAAAANqJxT8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AAlRleHRIb3Jpem9udGFsQWxpZ25tZW50AAIAAAAwAAADMgCjbQEAEF9pZAAQAAAABFJvd3MAoAUBAAMwAMyCAAAQX2lkABEAAAAESXRlbXMAaDYAAAMwAHAcAAACX3R5cGUASwAAAGVtcG93ZXIuQ2hhcnRzLkRhdGEuR2FudHQuQ2hyb25vbG9neS5EYXRhLkJhclRhc2tEYXRhLCBlbXBvd2VyLkNoYXJ0cy5EYXRhAAJMYWJlbFBvc2l0aW9uAAcAAABDZW50ZXIACElzTGFiZWxJbnNpZGVCb3VuZHMAAQNTdHlsZQBbBAAAAURlZmF1bHRGb250U2l6ZQAAAAAAAAAkQAFGb250U2l6ZQAAAAAAAAAgQANGb250Q29sb3IAVQAAABBBAP8AAAAQUgAQAAAAEEcAOAAAABBCAE8AAAABU2NBAAAAAAAAAPA/AVNjUgAAAADgNjl1PwFTY0cAAAAAgGc/pD8BU2NCAAAAAGAXBLQ/ABBGb250VGhlbWVDb2xvcgAAAAAAEEZvbnRTY2hlbWVDb2xvcgAAAAAAAUZvbnRUaW50QW5kU2hhZGUAAAAAAAAAAAADUGF0dGVybkNvbG9yAFUAAAAQQQAAAAAAEFIAAAAAABBHAAAAAAAQQgAAAAAAAVNjQQAAAAAAAAAAAAFTY1IAAAAAAAAAAAABU2NHAAAAAAAAAAAAAVNjQgAAAAAAAAAAAAAQUGF0dGVyblRoZW1lQ29sb3IAAAAAAAFQYXR0ZXJuVGludEFuZFNoYWRlAAAAAAAAAAAAA0RhdGFTdHlsZUZvbnRDb2xvclZhbHVlAFUAAAAQQQAAAAAAEFIAAAAAABBHAAAAAAAQQgAAAAAAAVNjQQAAAAAAAAAAAAFTY1IAAAAAAAAAAAABU2NHAAAAAAAAAAAAAVNjQgAAAAAAAAAAAAAIRGF0YVN0eWxlRm9udENvbG9ySGFzVmFsdWUAAAFIZWlnaHQAAAAA4N0yKEACRGFzaFN0eWxlAA0AAABtc29MaW5lU29saWQACEhhc1dpc2hGaWxsQ29sb3IAAANGaWxsQ29sb3IAVQAAABBBAP8AAAAQUgCZAAAAEEcA0wAAABBCAPIAAAABU2NBAAAAAAAAAPA/AVNjUgAAAAAgEmPUPwFTY0cAAAAAoFDY5D8BU2NCAAAAAMDdaew/ABBGaWxsU2NoZW1lQ29sb3IAAAAAABBGaWxsVGhlbWVDb2xvcgAAAAAAAUZpbGxUaW50QW5kU2hhZGUAAAAAAAAAAAADQm9yZGVyQ29sb3IAVQAAABBBAAAAAAAQUgAAAAAAEEcAAAAAABBCAAAAAAABU2NBAAAAAAAAAAAAAVNjUgAAAAAAAAAAAAFTY0cAAAAAAAAAAAABU2NCAAAAAAAAAAAAABBCb3JkZXJUaGVtZUNvbG9yAAAAAAABQm9yZGVyVGludEFuZFNoYWRlAAAAAAAAAAAACElzRmlsbGVkAAECUGF0dGVybgAQAAAAbXNvUGF0dGVybk1peGVkAAJTaGFwZVR5cGUADgAAAG1zb1NoYXBlTWl4ZWQAA0xhYmVsT2Zmc2V0AEIAAAABWAAAAAAAAAAAAAFZAAAAAAAAAAAAAUxlbmd0aAAAAAAAAAAAAAFMZW5ndGhTcXVhcmVkAAAAAAAAAAAAAAhJc0ZvbnRCb2xkAAAISXNGb250SXRhbGljAAAISXNGb250VW5kZXJsaW5lZAAACExhYmVsSGFzQmFja2dyb3VuZAAAAlRleHRBbGlnbm1lbnQABQAAAExlZnQAAAhEaXNwbGF5TGFiZWwAAQNSZW5kZXJJbmZvAPMWAAADUmVjdGFuZ2xlRnJlZWZvcm0A/AgAAARWZXJ0aWNlcwCbAgAAAzAALAAAABBJbmRleDAAAAAAABBJbmRleDEAAAAAAAFWYWx1ZQAAAAAARdCBQAADMQAsAAAAEEluZGV4MAAAAAAAEEluZGV4MQABAAAAAVZhbHVlAAAAAADnpXBAAAMyACwAAAAQSW5kZXgwAAEAAAAQSW5kZXgxAAAAAAABVmFsdWUAAAAAAEXQgUAAAzMALAAAABBJbmRleDAAAQAAABBJbmRleDEAAQAAAAFWYWx1ZQAAAACAsgZxQAADNAAsAAAAEEluZGV4MAACAAAAEEluZGV4MQAAAAAAAVZhbHVlAAAAAABF0IFAAAM1ACwAAAAQSW5kZXgwAAIAAAAQSW5kZXgxAAEAAAABVmFsdWUAAAAA4H1ncUAAAzYALAAAABBJbmRleDAAAwAAABBJbmRleDEAAAAAAAFWYWx1ZQAAAABAfCCFQAADNwAsAAAAEEluZGV4MAADAAAAEEluZGV4MQABAAAAAVZhbHVlAAAAAOB9Z3FAAAM4ACwAAAAQSW5kZXgwAAQAAAAQSW5kZXgxAAAAAAABVmFsdWUAAAAAQHwghUAAAzkALAAAABBJbmRleDAABAAAABBJbmRleDEAAQAAAAFWYWx1ZQAAAACAsgZxQAADMTAALAAAABBJbmRleDAABQAAABBJbmRleDEAAAAAAAFWYWx1ZQAAAABAfCCFQAADMTEALAAAABBJbmRleDAABQAAABBJbmRleDEAAQAAAAFWYWx1ZQAAAAAA56VwQAADMTIALAAAABBJbmRleDAABgAAABBJbmRleDEAAAAAAAFWYWx1ZQAAAAAARdCBQAADMTMALAAAABBJbmRleDAABgAAABBJbmRleDEAAQAAAAFWYWx1ZQAAAAAA56VwQAAABU1hbmFnZWRJZAAQAAAABGVZbPZ/9hxEj0yEj0HJNg0ISGFzQ2hhbmdlcwAACFVzZU5hbWVJbnN0ZWFkT2ZUYWdBc0lkAAAIU2hhcGVQcmV2aW91c2x5Q3JlYXRlZAAAA0ZpbGxDb2xvcgBVAAAAEEEA/wAAABBSAJkAAAAQRwDTAAAAEEIA8gAAAAFTY0EAAAAAAAAA8D8BU2NSAAAAACASY9Q/AVNjRwAAAACgUNjkPwFTY0IAAAAAwN1p7D8AEEZpbGxUaGVtZUNvbG9yAAAAAACeAAAABZ0AAACkAAAA5w8AAAAAAA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wN0yKEABV2lkdGgAAAAAQLqBWkABVG9wAAAAAADnpXBAAUxlZnQAAAAAAEXQgUAIRmxpcEhvcml6b250YWxseQAACEZsaXBIb3Jpem9udGFsbHlBcHBsaWVkAAAIRmxpcFZlcnRpY2FsbHkAAAhGbGlwVmVydGljYWxseUFwcGxpZWQAAAFSb3RhdGlvbgAAAAAAAAAAAAFaT3JkZXIAAAAAAACAUUADQm9yZGVyQ29sb3IAVQAAABBBAP8AAAAQUgD/AAAAEEcA/wAAABBCAP8AAAABU2NBAAAAAAAAAPA/AVNjUgAAAAAAAADwPwFTY0cAAAAAAAAA8D8BU2NCAAAAAAAAAPA/ABBCb3JkZXJUaGVtZUNvbG9yAAAAAAABQm9yZGVyVGludEFuZFNoYWRlAAAAAAAAAAAAEEJvcmRlclNjaGVtZUNvbG9yAAAAAAABQm9yZGVyVGhpY2tuZXNzAAAAAAAAAPA/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JhclN0eWxlRGF0YQAmAAAAAkJhclN0eWxlU2hhcGVUeXBlAAoAAABSZWN0YW5nbGUAAANMYWJlbACwBgAABU1hbmFnZWRJZAAQAAAABFyPCACG35hMs0B2ybLlUlwISGFzQ2hhbmdlcwAACFVzZU5hbWVJbnN0ZWFkT2ZUYWdBc0lkAAAIU2hhcGVQcmV2aW91c2x5Q3JlYXRlZAABA0ZpbGxDb2xvcgBVAAAAEEEA/wAAABBSAJkAAAAQRwDTAAAAEEIA8gAAAAFTY0EAAAAAAAAA8D8BU2NSAAAAACASY9Q/AVNjRwAAAACgUNjkPwFTY0IAAAAAwN1p7D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AANAAAAQ29uZWN0aXZpZGFkAAJUZXh0SG9yaXpvbnRhbEFsaWdubWVudAAOAAAAbXNvQW5jaG9yTm9uZQACUGFyYWdyYXBoQWxpZ25tZW50AA8AAABtc29BbGlnbkNlbnRlcgACVGV4dFZlcnRpY2FsQWxpZ25tZW50ABAAAABtc29BbmNob3JNaWRkbGUAA0ZvbnRTdHlsZQBAAQAAEEZvbnRCYWNrZ3JvdW5kAAAAAAAIRm9udEJvbGQAAANGb250Q29sb3IAVQAAABBBAP8AAAAQUgAQAAAAEEcAOAAAABBCAE8AAAABU2NBAAAAAAAAAPA/AVNjUgAAAADgNjl1PwFTY0cAAAAAgGc/pD8BU2NCAAAAAGAXBLQ/ABBGb250VGhlbWVDb2xvcgAAAAAAAUZvbnRUaW50QW5kU2hhZGUAAAAAAAAAAAAQRm9udFNjaGVtZUNvbG9yAAAAAAAIRm9udEl0YWxpYwAAAkZvbnROYW1lAAYAAABBcmlhbAABRm9udFNpemUAAAAAAAAAIEAIRm9udFN0cmlrZXRocm91Z2gAAAhGb250U3Vic2NyaXB0AAAIRm9udFN1cGVyc2NyaXB0AAAIRm9udFVuZGVybGluZQAAAAhTaXplVG9UZXh0V2lkdGgAAAhTaXplVG9UZXh0SGVpZ2h0AAADVGV4dE1hcmdpbgA/AAAAAUxlZnQAAAAAAAAAAAABVG9wAAAAAAAAAAAAAVJpZ2h0AAAAAAAAAAAAAUJvdHRvbQAAAAAAAAAAAAACRGlzcGxheVRleHQADQAAAENvbmVjdGl2aWRhZAABSGVpZ2h0AAAAAAAWXCNAAVdpZHRoAAAAAEBtYEdAAVRvcAAAAAAgQrlwQAFMZWZ0AAAAAEBdvYJACEZsaXBIb3Jpem9udGFsbHkAAAhGbGlwSG9yaXpvbnRhbGx5QXBwbGllZAAACEZsaXBWZXJ0aWNhbGx5AAAIRmxpcFZlcnRpY2FsbHlBcHBsaWVkAAABUm90YXRpb24AAAAAAAAAAAABWk9yZGVyAAAAAAAAAFJ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Db25uZWN0b3JMaW5lRGF0YQDhBgAAA1N0YXJ0ABsAAAABWAAAAAAARdCBQAFZAAAAAADnpXBAAANFbmQAGwAAAAFYAAAAAABF0IFAAVkAAAAAAOelcEAAAlN0YXJ0QXJyb3dIZWFkABEAAABtc29BcnJvd2hlYWROb25lAAJFbmRBcnJvd0hlYWQAEQAAAG1zb0Fycm93aGVhZE5vbmUABU1hbmFnZWRJZAAQAAAABJkIZaEjkZtKoU6MpMGuUroISGFzQ2hhbmdlcwAACFVzZU5hbWVJbnN0ZWFkT2ZUYWdBc0lkAAAIU2hhcGVQcmV2aW91c2x5Q3JlYXRlZAAA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A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nwAAAAWZAAAAoAAAAOcPAAA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AAAAAAAAVdpZHRoAAAAAAAAAAAAAVRvcAAAAAAA56VwQAFMZWZ0AAAAAABF0IFACEZsaXBIb3Jpem9udGFsbHkAAAhGbGlwSG9yaXpvbnRhbGx5QXBwbGllZAAACEZsaXBWZXJ0aWNhbGx5AAAIRmxpcFZlcnRpY2FsbHlBcHBsaWVkAAABUm90YXRpb24AAAAAAAAAAAABWk9yZGVyAAAAAAAAwFFAA0JvcmRlckNvbG9yAFUAAAAQQQD/AAAAEFIAmQAAABBHANMAAAAQQgDyAAAAAVNjQQAAAAAAAADwPwFTY1IAAAAAIBJj1D8BU2NHAAAAAKBQ2OQ/AVNjQgAAAADA3WnsPw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AJRW5kVGltZQAAc6wRkQEAABBJbmRleAABAAAAAkRlc2NyaXB0aW9uAA0AAABDb25lY3RpdmlkYWQAAk5hbWUABQAAAFRhc2sACElzTGVhZGVyTGluZUluQXV0b01vZGUAAQlTdGFydFRpbWUAAEOtqpABAAAAAzEA7RkAAAJfdHlwZQBNAAAAZW1wb3dlci5DaGFydHMuRGF0YS5HYW50dC5DaHJvbm9sb2d5LkRhdGEuTWlsZXN0b25lRGF0YSwgZW1wb3dlci5DaGFydHMuRGF0YQADU3R5bGUAdgQAAAFEZWZhdWx0Rm9udFNpemUAAAAAAAAAJEABRm9udFNpemUAAAAAAAAAIEADRm9udENvbG9yAFUAAAAQQQD/AAAAEFIAEAAAABBHADgAAAAQQgBPAAAAAVNjQQAAAAAAAADwPwFTY1IAAAAA4DY5dT8BU2NHAAAAAIBnP6Q/AVNjQgAAAABgFwS0PwAQRm9udFRoZW1lQ29sb3IAAAAAABBGb250U2NoZW1lQ29sb3IAAAAAAAFGb250VGludEFuZFNoYWRlAAAAAAAAAAAAA1BhdHRlcm5Db2xvcgBVAAAAEEEAAAAAABBSAAAAAAAQRwAAAAAAEEIAAAAAAAFTY0EAAAAAAAAAAAABU2NSAAAAAAAAAAAAAVNjRwAAAAAAAAAAAAFTY0IAAAAAAAAAAAAAEFBhdHRlcm5UaGVtZUNvbG9yAAAAAAABUGF0dGVyblRpbnRBbmRTaGFkZQAAAAAAAAAAAANEYXRhU3R5bGVGb250Q29sb3JWYWx1ZQBVAAAAEEEAAAAAABBSAAAAAAAQRwAAAAAAEEIAAAAAAAFTY0EAAAAAAAAAAAABU2NSAAAAAAAAAAAAAVNjRwAAAAAAAAAAAAFTY0IAAAAAAAAAAAAACERhdGFTdHlsZUZvbnRDb2xvckhhc1ZhbHVlAAABSGVpZ2h0AAAAAODdMihAAkRhc2hTdHlsZQANAAAAbXNvTGluZVNvbGlkAAhIYXNXaXNoRmlsbENvbG9yAAADRmlsbENvbG9yAFUAAAAQQQD/AAAAEFIAAAAAABBHAJEAAAAQQgDfAAAAAVNjQQAAAAAAAADwPwFTY1IAAAAAAAAAAAABU2NHAAAAAAAcH9I/AVNjQgAAAABg9pznPwAQRmlsbFNjaGVtZUNvbG9yAAAAAAAQRmlsbFRoZW1lQ29sb3IAAAAAAAFGaWxsVGludEFuZFNoYWRlAAAAAAAAAAAAA0JvcmRlckNvbG9yAFUAAAAQQQD/AAAAEFIA/wAAABBHAP8AAAAQQgD/AAAAAVNjQQAAAAAAAADwPwFTY1IAAAAAAAAA8D8BU2NHAAAAAAAAAPA/AVNjQgAAAAAAAADwPwAQQm9yZGVyVGhlbWVDb2xvcgAAAAAAAUJvcmRlclRpbnRBbmRTaGFkZQAAAAAAAAAAAAhJc0ZpbGxlZAABAlBhdHRlcm4AEAAAAG1zb1BhdHRlcm5NaXhlZAACU2hhcGVUeXBlABAAAABtc29TaGFwZURpYW1vbmQAA0xhYmVsT2Zmc2V0AEIAAAABWAAAAAAAAAAAAAFZABjEtmOQsjPAAUxlbmd0aAAYxLZjkLIzQAFMZW5ndGhTcXVhcmVkAIu5k77fP3hAAAFCb3JkZXJUaGlja25lc3MAAAAAAAAA8D8ISXNGb250Qm9sZAAACElzRm9udEl0YWxpYwAACElzRm9udFVuZGVybGluZWQAAAhMYWJlbEhhc0JhY2tncm91bmQAAAJUZXh0QWxpZ25tZW50AAUAAABMZWZ0AAAIRGlzcGxheUxhYmVsAAEITGFiZWxIYXNCYWNrZ3JvdW5kAAADUmVuZGVySW5mbwBBFAAAA1N5bWJvbAByBgAAAkF1dG9TaGFwZVR5cGUACAAAAERpYW1vbmQABU1hbmFnZWRJZAAQAAAABGM5bcnxgIlCtY9/uV3NjqYISGFzQ2hhbmdlcwAACFVzZU5hbWVJbnN0ZWFkT2ZUYWdBc0lkAAAIU2hhcGVQcmV2aW91c2x5Q3JlYXRlZAAAA0ZpbGxDb2xvcgBVAAAAEEEA/wAAABBSAAAAAAAQRwCRAAAAEEIA3wAAAAFTY0EAAAAAAAAA8D8BU2NSAAAAAAAAAAAAAVNjRwAAAAAAHB/SPwFTY0IAAAAAYPac5z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DA3TIoQAFXaWR0aAAAAADA3TIoQAFUb3AAAAAAAOelcEABTGVmdAAAAACAFvCEQAhGbGlwSG9yaXpvbnRhbGx5AAAIRmxpcEhvcml6b250YWxseUFwcGxpZWQAAAhGbGlwVmVydGljYWxseQAACEZsaXBWZXJ0aWNhbGx5QXBwbGllZAAAAVJvdGF0aW9uAAAAAAAAAAAAAVpPcmRlcgAAAAAAAIBUQANCb3JkZXJDb2xvcgBVAAAAEEEA/wAAABBSAP8AAAAQRwD/AAAAEEIA/wAAAAFTY0EAAAAAAAAA8D8BU2NSAAAAAAAAAPA/AVNjRwAAAAAAAADwPwFTY0IAAAAAAAAA8D8AEEJvcmRlclRoZW1lQ29sb3IAAAAAAAFCb3JkZXJUaW50QW5kU2hhZGUAAAAAAAAAAAAQQm9yZGVyU2NoZW1lQ29sb3IAAAAAAAFCb3JkZXJUaGlja25lc3MAAAAAAAAA8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TGFiZWwAywYAAAVNYW5hZ2VkSWQAEAAAAARHTkcIt257SYszF77ddVp2CEhhc0NoYW5nZXMAAAhVc2VOYW1lSW5zdGVhZE9mVGFnQXNJZAAACFNoYXBlUHJldmlvdaAAAAAFnwAAAKEAAADnDwAAAAAAAAAAAABzbHlDcmVhdGVkAAEDRmlsbENvbG9yAFUAAAAQQQD/AAAAEFIAAAAAABBHAJEAAAAQQgDfAAAAAVNjQQAAAAAAAADwPwFTY1IAAAAAAAAAAAABU2NHAAAAAAAcH9I/AVNjQgAAAABg9pznP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ACEAAAA44oCLLzIvMjAy4oCLNCBJbnRlcmZheiBBMyAtIE9FRQACVGV4dEhvcml6b250YWxBbGlnbm1lbnQADgAAAG1zb0FuY2hvck5vbmUAAlBhcmFncmFwaEFsaWdubWVudAACAAAAMAACVGV4dFZlcnRpY2FsQWxpZ25tZW50ABAAAABtc29BbmNob3JNaWRkbGUAA0ZvbnRTdHlsZQBAAQAAEEZvbnRCYWNrZ3JvdW5kAAAAAAAIRm9udEJvbGQAAANGb250Q29sb3IAVQAAABBBAP8AAAAQUgAQAAAAEEcAOAAAABBCAE8AAAABU2NBAAAAAAAAAPA/AVNjUgAAAADgNjl1PwFTY0cAAAAAgGc/pD8BU2NCAAAAAGAXBLQ/ABBGb250VGhlbWVDb2xvcgAAAAAAAUZvbnRUaW50QW5kU2hhZGUAAAAAAAAAAAAQRm9udFNjaGVtZUNvbG9yAAAAAAAIRm9udEl0YWxpYwAAAkZvbnROYW1lAAYAAABBcmlhbAABRm9udFNpemUAAAAAAAAAIEAIRm9udFN0cmlrZXRocm91Z2gAAAhGb250U3Vic2NyaXB0AAAIRm9udFN1cGVyc2NyaXB0AAAIRm9udFVuZGVybGluZQAAAAhTaXplVG9UZXh0V2lkdGgAAAhTaXplVG9UZXh0SGVpZ2h0AAADVGV4dE1hcmdpbgA/AAAAAUxlZnQAAAAAAAAAAAABVG9wAAAAAAAAAAAAAVJpZ2h0AAAAAAAAAAAAAUJvdHRvbQAAAAAAAAAAAAACRGlzcGxheVRleHQAIQAAADjigIsvMi8yMDLigIs0IEludGVyZmF6IEEzIC0gT0VFAAFIZWlnaHQAAAAA4LFLJUABV2lkdGgAAAAAAB5MWkABVG9wAAAAAOASl29AAUxlZnQAAAAAQHwghUAIRmxpcEhvcml6b250YWxseQAACEZsaXBIb3Jpem9udGFsbHlBcHBsaWVkAAAIRmxpcFZlcnRpY2FsbHkAAAhGbGlwVmVydGljYWxseUFwcGxpZWQAAAFSb3RhdGlvbgAAAAAAAAAAAAFaT3JkZXIAAAAAAADAVE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Nvbm5lY3RvckxpbmUA4QYAAANTdGFydAAbAAAAAVgAAAAAgBbwhEABWQAAAAAA56VwQAADRW5kABsAAAABWAAAAACAFvCEQAFZAAAAAADnpXBAAAJTdGFydEFycm93SGVhZAARAAAAbXNvQXJyb3doZWFkTm9uZQACRW5kQXJyb3dIZWFkABEAAABtc29BcnJvd2hlYWROb25lAAVNYW5hZ2VkSWQAEAAAAATZtvi2/MHIQ7iZc5XrTnWRCEhhc0NoYW5nZXMAAAhVc2VOYW1lSW5zdGVhZE9mVGFnQXNJZAAACFNoYXBlUHJldmlvdXNseUNyZWF0ZWQAAA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A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AAAAAAABVG9wAAAAAADnpXBAAUxlZnQAAAAAgBbwhEAIRmxpcEhvcml6b250YWxseQAACEZsaXBIb3Jpem9udGFsbHlBcHBsaWVkAAAIRmxpcFZlcnRpY2FsbHkAAAhGbGlwVmVydGljYWxseUFwcGxpZWQAAAFSb3RhdGlvbgAAAAAAAAAAAAFaT3JkZXIAAAAAAABAVEADQm9yZGVyQ29sb3IAVQAAABBBAP8AAAAQUgAAAAAAEEcAkQAAABBCAN8AAAABU2NBAAAAAAAAAPA/AVNjUgAAAAAAAAAAAAFTY0cAAAAAABwf0j8BU2NCAAAAAGD2nOc/ABBCb3JkZXJUaGVtZUNvbG9yAAAAAAABQm9yZGVyVGludEFuZFNoYWRlAAAAAAAAAAAAEEJvcmRlclNjaGVtZUNvbG9yAAAAAAABQm9yZGVyVGhpY2tuZXNzAAAAAAAAAOA/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AJNaWxlc3RvbmVMYWJlbFBvc2l0aW9uAAkAAABUb3BSaWdodAAQSW5kZXgAAgAAAAJEZXNjcmlwdGlvbgAhAAAAOOKAiy8yLzIwMuKAizQgSW50ZXJmYXogQTMgLSBPRUUAAk5hbWUACgAAAE1pbGVzdG9uZQAISXNMZWFkZXJMaW5lSW5BdXRvTW9kZQABCVN0YXJ0VGltZQAAc6wRkQEAAAAAAk5hbWUACQAAAFNwcmludCAxAAhJc0hpZ2hsaWdodGVkAAAISXNTZXBhcmF0b3JMaW5lVmlzaWJsZQABA1N0eWxlAHQEAAABRGVmYXVsdEZvbnRTaXplAAAAAAAAACRAAUZvbnRTaXplAAAAAAAAACRAA0ZvbnRDb2xvcgBVAAAAEEEA/wAAABBSABAAAAAQRwA4AAAAEEIATwAAAAFTY0EAAAAAAAAA8D8BU2NSAAAAAOA2OXU/AVNjRwAAAACAZz+kPwFTY0IAAAAAYBcEtD8AEEZvbnRUaGVtZUNvbG9yAAAAAAAQRm9udFNjaGVtZUNvbG9yAAAAAAABRm9udFRpbnRBbmRTaGFkZQAAAAAAAAAAAANQYXR0ZXJuQ29sb3IAVQAAABBBAAAAAAAQUgAAAAAAEEcAAAAAABBCAAAAAAABU2NBAAAAAAAAAAAAAVNjUgAAAAAAAAAAAAFTY0cAAAAAAAAAAAABU2NCAAAAAAAAAAAAABBQYXR0ZXJuVGhlbWVDb2xvcgAAAAAAAVBhdHRlcm5UaW50QW5kU2hhZGUAAAAAAAAAAAADRGF0YVN0eWxlRm9udENvbG9yVmFsdWUAVQAAABBBAP8AAAAQUgAQAAAAEEcAOAAAABChAAAABaAAAACrAAAA5w8AAAAAAAAAAAAAQgBPAAAAAVNjQQAAAAAAAADwPwFTY1IAAAAA4DY5dT8BU2NHAAAAAIBnP6Q/AVNjQgAAAABgFwS0PwAIRGF0YVN0eWxlRm9udENvbG9ySGFzVmFsdWUAAQFIZWlnaHQAAAAAAAAAAAACRGFzaFN0eWxlAA0AAABtc29MaW5lU29saWQACEhhc1dpc2hGaWxsQ29sb3IAAQNGaWxsQ29sb3IAVQAAABBBAAAAAAAQUgD/AAAAEEcA/wAAABBCAP8AAAABU2NBAAAAAAAAAAAAAVNjUgAAAAAAAADwPwFTY0cAAAAAAAAA8D8BU2NCAAAAAAAAAPA/ABBGaWxsU2NoZW1lQ29sb3IAAAAAABBGaWxsVGhlbWVDb2xvcgAAAAAAAUZpbGxUaW50QW5kU2hhZGUAAAAAAAAAAAADQm9yZGVyQ29sb3IAVQAAABBBAP8AAAAQUgDjAAAAEEcA4wAAABBCAOMAAAABU2NBAAAAAAAAAPA/AVNjUgAAAADAsZToPwFTY0cAAAAAwLGU6D8BU2NCAAAAAMCxlOg/ABBCb3JkZXJUaGVtZUNvbG9yAAAAAAABQm9yZGVyVGludEFuZFNoYWRlAAAAAAAAAAAACElzRmlsbGVkAAECUGF0dGVybgAQAAAAbXNvUGF0dGVybk1peGVkAAJTaGFwZVR5cGUADgAAAG1zb1NoYXBlTWl4ZWQAA0xhYmVsT2Zmc2V0AEIAAAABWAAAAAAAAAAAAAFZAAAAAAAAAAAAAUxlbmd0aAAAAAAAAAAAAAFMZW5ndGhTcXVhcmVkAAAAAAAAAAAAAAFCb3JkZXJUaGlja25lc3MAAAAAAAAA8D8ISXNGb250Qm9sZAAACElzRm9udEl0YWxpYwAACElzRm9udFVuZGVybGluZWQAAAhMYWJlbEhhc0JhY2tncm91bmQAAAJUZXh0QWxpZ25tZW50AAUAAABMZWZ0AAABUm93VG9wAA6+NwyJPnBAAVJvd0hlaWdodABuNSoyLQU5QANMZWZ0Tm90ZXMAxwQAAANUZXh0U3R5bGUAWwQAAAFEZWZhdWx0Rm9udFNpemUAAAAAAAAAJEABRm9udFNpemUAAAAAAAAAJEADRm9udENvbG9yAFUAAAAQQQD/AAAAEFIAEAAAABBHADgAAAAQQgBPAAAAAVNjQQAAAAAAAADwPwFTY1IAAAAA4DY5dT8BU2NHAAAAAIBnP6Q/AVNjQgAAAABgFwS0PwAQRm9udFRoZW1lQ29sb3IAAAAAABBGb250U2NoZW1lQ29sb3IAAAAAAAFGb250VGludEFuZFNoYWRlAAAAAAAAAAAAA1BhdHRlcm5Db2xvcgBVAAAAEEEAAAAAABBSAAAAAAAQRwAAAAAAEEIAAAAAAAFTY0EAAAAAAAAAAAABU2NSAAAAAAAAAAAAAVNjRwAAAAAAAAAAAAFTY0IAAAAAAAAAAAAAEFBhdHRlcm5UaGVtZUNvbG9yAAAAAAABUGF0dGVyblRpbnRBbmRTaGFkZQAAAAAAAAAAAANEYXRhU3R5bGVGb250Q29sb3JWYWx1ZQBVAAAAEEEA/wAAABBSABAAAAAQRwA4AAAAEEIATwAAAAFTY0EAAAAAAAAA8D8BU2NSAAAAAOA2OXU/AVNjRwAAAACAZz+kPwFTY0IAAAAAYBcEtD8ACERhdGFTdHlsZUZvbnRDb2xvckhhc1ZhbHVlAAEBSGVpZ2h0AAAAAAAAAAAAAkRhc2hTdHlsZQANAAAAbXNvTGluZVNvbGlkAAhIYXNXaXNoRmlsbENvbG9yAAADRmlsbENvbG9yAFUAAAAQQQD/AAAAEFIAAAAAABBHAAAAAAAQQgAAAAAAAVNjQQAAAAAAAADwPwFTY1IAAAAAAAAAAAABU2NHAAAAAAAAAAAAAVNjQgAAAAAAAAAAAAAQRmlsbFNjaGVtZUNvbG9yAAAAAAAQRmlsbFRoZW1lQ29sb3IAAAAAAAFGaWxsVGludEFuZFNoYWRlAAAAAAAAAAAAA0JvcmRlckNvbG9yAFUAAAAQQQAAAAAAEFIAAAAAABBHAAAAAAAQQgAAAAAAAVNjQQAAAAAAAAAAAAFTY1IAAAAAAAAAAAABU2NHAAAAAAAAAAAAAVNjQgAAAAAAAAAAAAAQQm9yZGVyVGhlbWVDb2xvcgAAAAAAAUJvcmRlclRpbnRBbmRTaGFkZQAAAAAAAAAAAAhJc0ZpbGxlZAABAlBhdHRlcm4AEAAAAG1zb1BhdHRlcm5NaXhlZAACU2hhcGVUeXBlAA4AAABtc29TaGFwZU1peGVkAANMYWJlbE9mZnNldABCAAAAAVgAAAAAAAAAAAABWQAAAAAAAAAAAAFMZW5ndGgAAAAAAAAAAAABTGVuZ3RoU3F1YXJlZAAAAAAAAAAAAAAISXNGb250Qm9sZAAACElzRm9udEl0YWxpYwAACElzRm9udFVuZGVybGluZWQAAAhMYWJlbEhhc0JhY2tncm91bmQAAAJUZXh0QWxpZ25tZW50AAUAAABMZWZ0AAAISGFydmV5QmFsbFZpc2libGUAARBIYXJ2ZXlCYWxsVmFsdWUAAAAAAAJDaGVja0JveFN0YXRlAAUAAABOb25lAAJUcmFmZmljTGlnaHRTdGF0ZQAEAAAAT2ZmAAADUmlnaHROb3RlcwDHBAAAA1RleHRTdHlsZQBbBAAAAURlZmF1bHRGb250U2l6ZQAAAAAAAAAkQAFGb250U2l6ZQAAAAAAAAAkQANGb250Q29sb3IAVQAAABBBAP8AAAAQUgAQAAAAEEcAOAAAABBCAE8AAAABU2NBAAAAAAAAAPA/AVNjUgAAAADgNjl1PwFTY0cAAAAAgGc/pD8BU2NCAAAAAGAXBLQ/ABBGb250VGhlbWVDb2xvcgAAAAAAEEZvbnRTY2hlbWVDb2xvcgAAAAAAAUZvbnRUaW50QW5kU2hhZGUAAAAAAAAAAAADUGF0dGVybkNvbG9yAFUAAAAQQQAAAAAAEFIAAAAAABBHAAAAAAAQQgAAAAAAAVNjQQAAAAAAAAAAAAFTY1IAAAAAAAAAAAABU2NHAAAAAAAAAAAAAVNjQgAAAAAAAAAAAAAQUGF0dGVyblRoZW1lQ29sb3IAAAAAAAFQYXR0ZXJuVGludEFuZFNoYWRlAAAAAAAAAAAAA0RhdGFTdHlsZUZvbnRDb2xvclZhbHVlAFUAAAAQQQD/AAAAEFIAEAAAABBHADgAAAAQQgBPAAAAAVNjQQAAAAAAAADwPwFTY1IAAAAA4DY5dT8BU2NHAAAAAIBnP6Q/AVNjQgAAAABgFwS0PwAIRGF0YVN0eWxlRm9udENvbG9ySGFzVmFsdWUAAQFIZWlnaHQAAAAAAAAAAAACRGFzaFN0eWxlAA0AAABtc29MaW5lU29saWQACEhhc1dpc2hGaWxsQ29sb3IAAANGaWxsQ29sb3IAVQAAABBBAP8AAAAQUgAAAAAAEEcAAAAAABBCAAAAAAABU2NBAAAAAAAAAPA/AVNjUgAAAAAAAAAAAAFTY0cAAAAAAAAAAAABU2NCAAAAAAAAAAAAABBGaWxsU2NoZW1lQ29sb3IAAAAAABBGaWxsVGhlbWVDb2xvcgAAAAAAAUZpbGxUaW50QW5kU2hhZGUAAAAAAAAAAAADQm9yZGVyQ29sb3IAVQAAABBBAAAAAAAQUgAAAAAAEEcAAAAAABBCAAAAAAABU2NBAAAAAAAAAAAAAVNjUgAAAAAAAAAAAAFTY0cAAAAAAAAAAAABU2NCAAAAAAAAAAAAABBCb3JkZXJUaGVtZUNvbG9yAAAAAAABQm9yZGVyVGludEFuZFNoYWRlAAAAAAAAAAAACElzRmlsbGVkAAECUGF0dGVybgAQAAAAbXNvUGF0dGVybk1peGVkAAJTaGFwZVR5cGUADgAAAG1zb1NoYXBlTWl4ZWQAA0xhYmVsT2Zmc2V0AEIAAAABWAAAAAAAAAAAAAFZAAAAAAAAAAAAAUxlbmd0aAAAAAAAAAAAAAFMZW5ndGhTcXVhcmVkAAAAAAAAAAAAAAhJc0ZvbnRCb2xkAAAISXNGb250SXRhbGljAAAISXNGb250VW5kZXJsaW5lZAAACExhYmVsSGFzQmFja2dyb3VuZAAAAlRleHRBbGlnbm1lbnQABQAAAExlZnQAAAhIYXJ2ZXlCYWxsVmlzaWJsZQABEEhhcnZleUJhbGxWYWx1ZQAAAAAAAkNoZWNrQm94U3RhdGUABQAAAE5vbmUAAlRyYWZmaWNMaWdodFN0YXRlAAQAAABPZmYAAANMZWZ0Tm90ZXNSZW5kZXJJbmZvAJsUAAADTGFiZWwAdAYAAAVNYW5hZ2VkSWQAEAAAAATR44TnRb/eTbJs1DHJmNGRCEhhc0NoYW5nZXMAAQhVc2VOYW1lSW5zdGVhZE9mVGFnQXNJZAAACFNoYXBlUHJldmlvdXNseUNyZWF0ZWQAAA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AAkZpbGxQYXR0ZXJuABAAAABtc29QYXR0ZXJuTWl4ZWQAAlRleHQAAQAAA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ogAAAAWjAAAArAAAAOcPAAAAAAAAAAAAAE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AAAAAAAAVdpZHRoAAAAAAAAABFAAVRvcAAAAADgowBSQAFMZWZ0AAAAAKBwXWVACEZsaXBIb3Jpem9udGFsbHkAAAhGbGlwSG9yaXpvbnRhbGx5QXBwbGllZAAACEZsaXBWZXJ0aWNhbGx5AAAIRmxpcFZlcnRpY2FsbHlBcHBsaWVkAAABUm90YXRpb24AAAAAAAAAAAABWk9yZGVyAAAAAAAAwFJAA0JvcmRlckNvbG9yAFUAAAAQQQD/AAAAEFIA/wAAABBHADEAAAAQQgBiAAAAAVNjQQAAAAAAAADwPwFTY1IAAAAAAAAA8D8BU2NHAAAAAGBYc58/AVNjQgAAAACgfES/PwAQQm9yZGVyVGhlbWVDb2xvcgAAAAAAAUJvcmRlclRpbnRBbmRTaGFkZQAAAAAAAAAAABBCb3JkZXJTY2hlbWVDb2xvcgAAAAAAAUJvcmRlclRoaWNrbmVzcwAAAAAAAADg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MxAOEGAAADU3RhcnQAGwAAAAFYAD0K16Nw3WVAAVkAcT0K16PwUUAAA0VuZAAbAAAAAVgAPQrXo3DdZUABWQDhehSuRzFVQAACU3RhcnRBcnJvd0hlYWQAEQAAAG1zb0Fycm93aGVhZE5vbmUAAkVuZEFycm93SGVhZAARAAAAbXNvQXJyb3doZWFkTm9uZQAFTWFuYWdlZElkABAAAAAE9BU3PpWj10WbzAcTnuarighIYXNDaGFuZ2VzAAAIVXNlTmFtZUluc3RlYWRPZlRhZ0FzSWQAAAhTaGFwZVByZXZpb3VzbHlDcmVhdGVkAAA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MAeBSpAAVdpZHRoAAAAAAAAAAAAAVRvcAAAAADgo/BRQAFMZWZ0AAAAAKBw3WVACEZsaXBIb3Jpem9udGFsbHkAAAhGbGlwSG9yaXpvbnRhbGx5QXBwbGllZAAACEZsaXBWZXJ0aWNhbGx5AAAIRmxpcFZlcnRpY2FsbHlBcHBsaWVkAAABUm90YXRpb24AAAAAAAAAAAABWk9yZGVyAAAAAAAAwFJAA0JvcmRlckNvbG9yAFUAAAAQQQD/AAAAEFIA/wAAABBHADEAAAAQQgBiAAAAAVNjQQAAAAAAAADwPwFTY1IAAAAAAAAA8D8BU2NHAAAAAGBYc58/AVNjQgAAAACgfES/PwAQQm9yZGVyVGhlbWVDb2xvcgAAAAAAAUJvcmRlclRpbnRBbmRTaGFkZQAAAAAAAAAAABBCb3JkZXJTY2hlbWVDb2xvcgAAAAAAAUJvcmRlclRoaWNrbmVzcwAAAAAAAADg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MyAOEGAAADU3RhcnQAGwAAAAFYAD0K16NwtWRAAVkA4XoUrkchVUAAA0VuZAAbAAAAAVgAPQrXo3DlZUABWQDhehSuRyFVQAACU3RhcnRBcnJvd0hlYWQAEQAAAG1zb0Fycm93aGVhZE5vbmUAAkVuZEFycm93SGVhZAARAAAAbXNvQXJyb3doZWFkTm9uZQAFTWFuYWdlZElkABAAAAAEWnWy4VnwT0+McKIQL+6hrghIYXNDaGFuZ2VzAAAIVXNlTmFtZUluc3RlYWRPZlRhZ0FzSWQAAAhTaGFwZVByZXZpb3VzbHlDcmVhdGVkAAA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AAAAAAAAVdpZHRoAAAAAAAAACNAAVRvcAAAAACgRyFVQAFMZWZ0AAAAAKBwtWRACEZsaXBIb3Jpem9udGFsbHkAAAhGbGlwSG9yaXpvbnRhbGx5QXBwbGllZAAACEZsaXBWZXJ0aWNhbGx5AAAIRmxpcFZlcnRpY2FsbHlBcHBsaWVkAAABUm90YXRpb24AAAAAAAAAAAABWk9yZKMAAAAFpwAAAKIAAADnDwAAAAAAAAAAAAB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M0AOEGAAADU3RhcnQAGwAAAAFYAOxRuB6Fq3dAAVkAexSuR+GCZUAAA0VuZAAbAAAAAVgA7FG4HoXvd0ABWQB7FK5H4YJlQAACU3RhcnRBcnJvd0hlYWQAEQAAAG1zb0Fycm93aGVhZE5vbmUAAkVuZEFycm93SGVhZAARAAAAbXNvQXJyb3doZWFkTm9uZQAFTWFuYWdlZElkABAAAAAEP3Xd4KmG10mq8MjAoraQRAhIYXNDaGFuZ2VzAAAIVXNlTmFtZUluc3RlYWRPZlRhZ0FzSWQAAAhTaGFwZVByZXZpb3VzbHlDcmVhdGVkAAA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AAAAAAAAVdpZHRoAAAAAAAAABFAAVRvcAAAAABA4YJlQAFMZWZ0AAAAACCFq3dACEZsaXBIb3Jpem9udGFsbHkAAAhGbGlwSG9yaXpvbnRhbGx5QXBwbGllZAAACEZsaXBWZXJ0aWNhbGx5AAAIRmxpcFZlcnRpY2FsbHlBcHBsaWVkAAABUm90YXRpb24AAAAAAAAAAAABWk9yZGVyAAAAAAAAwFJAA0JvcmRlckNvbG9yAFUAAAAQQQD/AAAAEFIA/wAAABBHADEAAAAQQgBiAAAAAVNjQQAAAAAAAADwPwFTY1IAAAAAAAAA8D8BU2NHAAAAAGBYc58/AVNjQgAAAACgfES/PwAQQm9yZGVyVGhlbWVDb2xvcgAAAAAAAUJvcmRlclRpbnRBbmRTaGFkZQAAAAAAAAAAABBCb3JkZXJTY2hlbWVDb2xvcgAAAAAAAUJvcmRlclRoaWNrbmVzcwAAAAAAAADg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AAAAMxAH8nAAAISXNGaXhlZAAAA1N0YXJ0ACsAAAAQX2lkAAIAAAAQSW5kZXgAAQAAAAJQb3NpdGlvbgAEAAAARW5kAAADRW5kAC0AAAAQX2lkAAMAAAAQSW5kZXgAAgAAAAJQb3NpdGlvbgAGAAAAU3RhcnQAAANTdHlsZQB0BAAAAURlZmF1bHRGb250U2l6ZQAAAAAAAAAkQAFGb250U2l6ZQAAAAAAAAAAAANGb250Q29sb3IAVQAAABBBAP8AAAAQUgAQAAAAEEcAOAAAABBCAE8AAAABU2NBAAAAAAAAAPA/AVNjUgAAAADgNjl1PwFTY0cAAAAAgGc/pD8BU2NCAAAAAGAXBLQ/ABBGb250VGhlbWVDb2xvcgAAAAAAEEZvbnRTY2hlbWVDb2xvcgAAAAAAAUZvbnRUaW50QW5kU2hhZGUAAAAAAAAAAAADUGF0dGVybkNvbG9yAFUAAAAQQQAAAAAAEFIAAAAAABBHAAAAAAAQQgAAAAAAAVNjQQAAAAAAAAAAAAFTY1IAAAAAAAAAAAABU2NHAAAAAAAAAAAAAVNjQgAAAAAAAAAAAAAQUGF0dGVyblRoZW1lQ29sb3IAAAAAAAFQYXR0ZXJuVGludEFuZFNoYWRlAAAAAAAAAAAAA0RhdGFTdHlsZUZvbnRDb2xvclZhbHVlAFUAAAAQQQAAAAAAEFIAAAAAABBHAAAAAAAQQgAAAAAAAVNjQQAAAAAAAAAAAAFTY1IAAAAAAAAAAAABU2NHAAAAAAAAAAAAAVNjQgAAAAAAAAAAAAAIRGF0YVN0eWxlRm9udENvbG9ySGFzVmFsdWUAAAFIZWlnaHQAAAAAAAAAAAACRGFzaFN0eWxlAA0AAABtc29MaW5lU29saWQACEhhc1dpc2hGaWxsQ29sb3IAAANGaWxsQ29sb3IAVQAAABBBAP8AAAAQUgD/AAAAEEcAMQAAABBCAGIAAAABU2NBAAAAAAAAAPA/AVNjUgAAAAAAAADwPwFTY0cAAAAAYFhznz8BU2NCAAAAAKB8RL8/ABBGaWxsU2NoZW1lQ29sb3IAAAAAABBGaWxsVGhlbWVDb2xvcgAAAAAAAUZpbGxUaW50QW5kU2hhZGUAAAAAAAAAAAADQm9yZGVyQ29sb3IAVQAAABBBAP8AAAAQUgD/AAAAEEcAMQAAABBCAGIAAAABU2NBAAAAAAAAAPA/AVNjUgAAAAAAAADwPwFTY0cAAAAAYFhznz8BU2NCAAAAAKB8RL8/ABBCb3JkZXJUaGVtZUNvbG9yAAAAAAABQm9yZGVyVGludEFuZFNoYWRlAAAAAAAAAAAACElzRmlsbGVkAAECUGF0dGVybgAQAAAAbXNvUGF0dGVybk1peGVkAAJTaGFwZVR5cGUADgAAAG1zb1NoYXBlTWl4ZWQAA0xhYmVsT2Zmc2V0AEIAAAABWAAAAAAAAAAAAAFZAAAAAAAAAAAAAUxlbmd0aAAAAAAAAAAAAAFMZW5ndGhTcXVhcmVkAAAAAAAAAAAAAAFCb3JkZXJUaGlja25lc3MAAAAAAAAA4D8ISXNGb250Qm9sZAAACElzRm9udEl0YWxpYwAACElzRm9udFVuZGVybGluZWQAAAhMYWJlbEhhc0JhY2tncm91bmQAAAJUZXh0QWxpZ25tZW50AAUAAABMZWZ0AAADUmVuZGVySW5mbwCFIgAABExpbmVzAHkiAAADMADhBgAAA1N0YXJ0ABsAAAABWAA9CtejcF1lQAFZAHE9CtejAFJAAANFbmQAGwAAAAFYAD0K16Nw5WVAAVkAcT0K16MAUkAAAlN0YXJ0QXJyb3dIZWFkABEAAABtc29BcnJvd2hlYWROb25lAAJFbmRBcnJvd0hlYWQAEQAAAG1zb0Fycm93aGVhZE5vbmUABU1hbmFnZWRJZAAQAAAABKW8mqbK1ilDuIH9DImDklsISGFzQ2hhbmdlcwAACFVzZU5hbWVJbnN0ZWFkT2ZUYWdBc0lkAAAIU2hhcGVQcmV2aW91c2x5Q3JlYXRlZAAA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OkAAAABZ4AAAClAAAA5w8AAAAAAAAAAAAA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AAAAAAAAFUb3AAAAAAAOelcEABTGVmdAAAAAAARdCBQAhGbGlwSG9yaXpvbnRhbGx5AAAIRmxpcEhvcml6b250YWxseUFwcGxpZWQAAAhGbGlwVmVydGljYWxseQAACEZsaXBWZXJ0aWNhbGx5QXBwbGllZAAAAVJvdGF0aW9uAAAAAAAAAAAAAVpPcmRlcgAAAAAAAMBRQANCb3JkZXJDb2xvcgBVAAAAEEEA/wAAABBSAJkAAAAQRwDTAAAAEEIA8gAAAAFTY0EAAAAAAAAA8D8BU2NSAAAAACASY9Q/AVNjRwAAAACgUNjkPwFTY0IAAAAAwN1p7D8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ACUVuZFRpbWUAAHOsEZEBAAAQSW5kZXgAAQAAAAJEZXNjcmlwdGlvbgANAAAAQ29uZWN0aXZpZGFkAAJOYW1lAAUAAABUYXNrAAhJc0xlYWRlckxpbmVJbkF1dG9Nb2RlAAEJU3RhcnRUaW1lAABDraqQAQAAAAMxAO0ZAAACX3R5cGUATQAAAGVtcG93ZXIuQ2hhcnRzLkRhdGEuR2FudHQuQ2hyb25vbG9neS5EYXRhLk1pbGVzdG9uZURhdGEsIGVtcG93ZXIuQ2hhcnRzLkRhdGEAA1N0eWxlAHYEAAABRGVmYXVsdEZvbnRTaXplAAAAAAAAACRAAUZvbnRTaXplAAAAAAAAACBAA0ZvbnRDb2xvcgBVAAAAEEEA/wAAABBSABAAAAAQRwA4AAAAEEIATwAAAAFTY0EAAAAAAAAA8D8BU2NSAAAAAOA2OXU/AVNjRwAAAACAZz+kPwFTY0IAAAAAYBcEtD8AEEZvbnRUaGVtZUNvbG9yAAAAAAAQRm9udFNjaGVtZUNvbG9yAAAAAAABRm9udFRpbnRBbmRTaGFkZQAAAAAAAAAAAANQYXR0ZXJuQ29sb3IAVQAAABBBAAAAAAAQUgAAAAAAEEcAAAAAABBCAAAAAAABU2NBAAAAAAAAAAAAAVNjUgAAAAAAAAAAAAFTY0cAAAAAAAAAAAABU2NCAAAAAAAAAAAAABBQYXR0ZXJuVGhlbWVDb2xvcgAAAAAAAVBhdHRlcm5UaW50QW5kU2hhZGUAAAAAAAAAAAADRGF0YVN0eWxlRm9udENvbG9yVmFsdWUAVQAAABBBAAAAAAAQUgAAAAAAEEcAAAAAABBCAAAAAAABU2NBAAAAAAAAAAAAAVNjUgAAAAAAAAAAAAFTY0cAAAAAAAAAAAABU2NCAAAAAAAAAAAAAAhEYXRhU3R5bGVGb250Q29sb3JIYXNWYWx1ZQAAAUhlaWdodAAAAADg3TIoQAJEYXNoU3R5bGUADQAAAG1zb0xpbmVTb2xpZAAISGFzV2lzaEZpbGxDb2xvcgAAA0ZpbGxDb2xvcgBVAAAAEEEA/wAAABBSAAAAAAAQRwCRAAAAEEIA3wAAAAFTY0EAAAAAAAAA8D8BU2NSAAAAAAAAAAAAAVNjRwAAAAAAHB/SPwFTY0IAAAAAYPac5z8AEEZpbGxTY2hlbWVDb2xvcgAAAAAAEEZpbGxUaGVtZUNvbG9yAAAAAAABRmlsbFRpbnRBbmRTaGFkZQAAAAAAAAAAAANCb3JkZXJDb2xvcgBVAAAAEEEA/wAAABBSAP8AAAAQRwD/AAAAEEIA/wAAAAFTY0EAAAAAAAAA8D8BU2NSAAAAAAAAAPA/AVNjRwAAAAAAAADwPwFTY0IAAAAAAAAA8D8AEEJvcmRlclRoZW1lQ29sb3IAAAAAAAFCb3JkZXJUaW50QW5kU2hhZGUAAAAAAAAAAAAISXNGaWxsZWQAAQJQYXR0ZXJuABAAAABtc29QYXR0ZXJuTWl4ZWQAAlNoYXBlVHlwZQAQAAAAbXNvU2hhcGVEaWFtb25kAANMYWJlbE9mZnNldABCAAAAAVgAAAAAAAAAAAABWQAYxLZjkLIzwAFMZW5ndGgAGMS2Y5CyM0ABTGVuZ3RoU3F1YXJlZACLuZO+3z94QAABQm9yZGVyVGhpY2tuZXNzAAAAAAAAAPA/CElzRm9udEJvbGQAAAhJc0ZvbnRJdGFsaWMAAAhJc0ZvbnRVbmRlcmxpbmVkAAAITGFiZWxIYXNCYWNrZ3JvdW5kAAACVGV4dEFsaWdubWVudAAFAAAATGVmdAAACERpc3BsYXlMYWJlbAABCExhYmVsSGFzQmFja2dyb3VuZAAAA1JlbmRlckluZm8AQRQAAANTeW1ib2wAcgYAAAJBdXRvU2hhcGVUeXBlAAgAAABEaWFtb25kAAVNYW5hZ2VkSWQAEAAAAARjOW3J8YCJQrWPf7ldzY6mCEhhc0NoYW5nZXMAAAhVc2VOYW1lSW5zdGVhZE9mVGFnQXNJZAAACFNoYXBlUHJldmlvdXNseUNyZWF0ZWQAAANGaWxsQ29sb3IAVQAAABBBAP8AAAAQUgAAAAAAEEcAkQAAABBCAN8AAAABU2NBAAAAAAAAAPA/AVNjUgAAAAAAAAAAAAFTY0cAAAAAABwf0j8BU2NCAAAAAGD2nO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wN0yKEABV2lkdGgAAAAAwN0yKEABVG9wAAAAAADnpXBAAUxlZnQAAAAAgBbwhEAIRmxpcEhvcml6b250YWxseQAACEZsaXBIb3Jpem9udGFsbHlBcHBsaWVkAAAIRmxpcFZlcnRpY2FsbHkAAAhGbGlwVmVydGljYWxseUFwcGxpZWQAAAFSb3RhdGlvbgAAAAAAAAAAAAFaT3JkZXIAAAAAAACAVEADQm9yZGVyQ29sb3IAVQAAABBBAP8AAAAQUgD/AAAAEEcA/wAAABBCAP8AAAABU2NBAAAAAAAAAPA/AVNjUgAAAAAAAADwPwFTY0cAAAAAAAAA8D8BU2NCAAAAAAAAAPA/ABBCb3JkZXJUaGVtZUNvbG9yAAAAAAABQm9yZGVyVGludEFuZFNoYWRlAAAAAAAAAAAAEEJvcmRlclNjaGVtZUNvbG9yAAAAAAABQm9yZGVyVGhpY2tuZXNzAAAAAAAAAPA/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xhYmVsAMsGAAAFTWFuYWdlZElkABAAAAAER05HCLdue0mLMxe+3XVadghIYXNDaGFuZ2VzAAAIVXNlTmFtZUluc3RlYWRPZlRhZ0FzSWQAAAhTaGFwZVByZXZpb3VzbHlDcmVhdGVkAAEDRmlspQAAAAWkAAAApgAAAOcPAAAAAAAAAAAAAGxDb2xvcgBVAAAAEEEA/wAAABBSAAAAAAAQRwCRAAAAEEIA3wAAAAFTY0EAAAAAAAAA8D8BU2NSAAAAAAAAAAAAAVNjRwAAAAAAHB/SPwFTY0IAAAAAYPac5z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AAhAAAAOOKAiy8yLzIwMuKAizQgSW50ZXJmYXogQTMgLSBPRUUAAlRleHRIb3Jpem9udGFsQWxpZ25tZW50AA4AAABtc29BbmNob3JOb25lAAJQYXJhZ3JhcGhBbGlnbm1lbnQAAgAAADAAAlRleHRWZXJ0aWNhbEFsaWdubWVudAAQAAAAbXNvQW5jaG9yTWlkZGxlAANGb250U3R5bGUAQAEAABBGb250QmFja2dyb3VuZAAAAAAACEZvbnRCb2xkAAADRm9udENvbG9yAFUAAAAQQQD/AAAAEFIAEAAAABBHADgAAAAQQgBPAAAAAVNjQQAAAAAAAADwPwFTY1IAAAAA4DY5dT8BU2NHAAAAAIBnP6Q/AVNjQgAAAABgFwS0PwAQRm9udFRoZW1lQ29sb3IAAAAAAAFGb250VGludEFuZFNoYWRlAAAAAAAAAAAAEEZvbnRTY2hlbWVDb2xvcgAAAAAACEZvbnRJdGFsaWMAAAJGb250TmFtZQAGAAAAQXJpYWwAAUZvbnRTaXplAAAAAAAAACBACEZvbnRTdHJpa2V0aHJvdWdoAAAIRm9udFN1YnNjcmlwdAAACEZvbnRTdXBlcnNjcmlwdAAACEZvbnRVbmRlcmxpbmUAAAAIU2l6ZVRvVGV4dFdpZHRoAAAIU2l6ZVRvVGV4dEhlaWdodAAAA1RleHRNYXJnaW4APwAAAAFMZWZ0AAAAAAAAAAAAAVRvcAAAAAAAAAAAAAFSaWdodAAAAAAAAAAAAAFCb3R0b20AAAAAAAAAAAAAAkRpc3BsYXlUZXh0ACEAAAA44oCLLzIvMjAy4oCLNCBJbnRlcmZheiBBMyAtIE9FRQABSGVpZ2h0AAAAAOCxSyVAAVdpZHRoAAAAAAAeTFpAAVRvcAAAAADgEpdvQAFMZWZ0AAAAAEB8IIVACEZsaXBIb3Jpem9udGFsbHkAAAhGbGlwSG9yaXpvbnRhbGx5QXBwbGllZAAACEZsaXBWZXJ0aWNhbGx5AAAIRmxpcFZlcnRpY2FsbHlBcHBsaWVkAAABUm90YXRpb24AAAAAAAAAAAABWk9yZGVyAAAAAAAAwFR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Db25uZWN0b3JMaW5lAOEGAAADU3RhcnQAGwAAAAFYAAAAAIAW8IRAAVkAAAAAAOelcEAAA0VuZAAbAAAAAVgAAAAAgBbwhEABWQAAAAAA56VwQAACU3RhcnRBcnJvd0hlYWQAEQAAAG1zb0Fycm93aGVhZE5vbmUAAkVuZEFycm93SGVhZAARAAAAbXNvQXJyb3doZWFkTm9uZQAFTWFuYWdlZElkABAAAAAE2bb4tvzByEO4mXOV6051kQhIYXNDaGFuZ2VzAAAIVXNlTmFtZUluc3RlYWRPZlRhZ0FzSWQAAAhTaGFwZVByZXZpb3VzbHlDcmVhdGVkAAA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A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AAAAAAAAVdpZHRoAAAAAAAAAAAAAVRvcAAAAAAA56VwQAFMZWZ0AAAAAIAW8IRACEZsaXBIb3Jpem9udGFsbHkAAAhGbGlwSG9yaXpvbnRhbGx5QXBwbGllZAAACEZsaXBWZXJ0aWNhbGx5AAAIRmxpcFZlcnRpY2FsbHlBcHBsaWVkAAABUm90YXRpb24AAAAAAAAAAAABWk9yZGVyAAAAAAAAQFRAA0JvcmRlckNvbG9yAFUAAAAQQQD/AAAAEFIAAAAAABBHAJEAAAAQQgDfAAAAAVNjQQAAAAAAAADwPwFTY1IAAAAAAAAAAAABU2NHAAAAAAAcH9I/AVNjQgAAAABg9pznPwAQQm9yZGVyVGhlbWVDb2xvcgAAAAAAAUJvcmRlclRpbnRBbmRTaGFkZQAAAAAAAAAAABBCb3JkZXJTY2hlbWVDb2xvcgAAAAAAAUJvcmRlclRoaWNrbmVzcwAAAAAAAADg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ACTWlsZXN0b25lTGFiZWxQb3NpdGlvbgAJAAAAVG9wUmlnaHQAEEluZGV4AAIAAAACRGVzY3JpcHRpb24AIQAAADjigIsvMi8yMDLigIs0IEludGVyZmF6IEEzIC0gT0VFAAJOYW1lAAoAAABNaWxlc3RvbmUACElzTGVhZGVyTGluZUluQXV0b01vZGUAAQlTdGFydFRpbWUAAHOsEZEBAAAAAAJOYW1lAAkAAABTcHJpbnQgMQAISXNIaWdobGlnaHRlZAAACElzU2VwYXJhdG9yTGluZVZpc2libGUAAQNTdHlsZQB0BAAAAURlZmF1bHRGb250U2l6ZQAAAAAAAAAkQAFGb250U2l6ZQAAAAAAAAAkQANGb250Q29sb3IAVQAAABBBAP8AAAAQUgAQAAAAEEcAOAAAABBCAE8AAAABU2NBAAAAAAAAAPA/AVNjUgAAAADgNjl1PwFTY0cAAAAAgGc/pD8BU2NCAAAAAGAXBLQ/ABBGb250VGhlbWVDb2xvcgAAAAAAEEZvbnRTY2hlbWVDb2xvcgAAAAAAAUZvbnRUaW50QW5kU2hhZGUAAAAAAAAAAAADUGF0dGVybkNvbG9yAFUAAAAQQQAAAAAAEFIAAAAAABBHAAAAAAAQQgAAAAAAAVNjQQAAAAAAAAAAAAFTY1IAAAAAAAAAAAABU2NHAAAAAAAAAAAAAVNjQgAAAAAAAAAAAAAQUGF0dGVyblRoZW1lQ29sb3IAAAAAAAFQYXR0ZXJuVGludEFuZFNoYWRlAAAAAAAAAAAAA0RhdGFTdHlsZUZvbnRDb2xvclZhbHVlAFUAAAAQQQD/AAAAEFIAEAAAABBHADgAAAAQQgBPAAAAAVNjQQAAAAAAAKYAAAAFpQAAAKkAAADnDwAAAAAAAAAAAAAA8D8BU2NSAAAAAOA2OXU/AVNjRwAAAACAZz+kPwFTY0IAAAAAYBcEtD8ACERhdGFTdHlsZUZvbnRDb2xvckhhc1ZhbHVlAAEBSGVpZ2h0AAAAAAAAAAAAAkRhc2hTdHlsZQANAAAAbXNvTGluZVNvbGlkAAhIYXNXaXNoRmlsbENvbG9yAAEDRmlsbENvbG9yAFUAAAAQQQAAAAAAEFIA/wAAABBHAP8AAAAQQgD/AAAAAVNjQQAAAAAAAAAAAAFTY1IAAAAAAAAA8D8BU2NHAAAAAAAAAPA/AVNjQgAAAAAAAADwPwAQRmlsbFNjaGVtZUNvbG9yAAAAAAAQRmlsbFRoZW1lQ29sb3IAAAAAAAFGaWxsVGludEFuZFNoYWRlAAAAAAAAAAAAA0JvcmRlckNvbG9yAFUAAAAQQQD/AAAAEFIA4wAAABBHAOMAAAAQQgDjAAAAAVNjQQAAAAAAAADwPwFTY1IAAAAAwLGU6D8BU2NHAAAAAMCxlOg/AVNjQgAAAADAsZToPwAQQm9yZGVyVGhlbWVDb2xvcgAAAAAAAUJvcmRlclRpbnRBbmRTaGFkZQAAAAAAAAAAAAhJc0ZpbGxlZAABAlBhdHRlcm4AEAAAAG1zb1BhdHRlcm5NaXhlZAACU2hhcGVUeXBlAA4AAABtc29TaGFwZU1peGVkAANMYWJlbE9mZnNldABCAAAAAVgAAAAAAAAAAAABWQAAAAAAAAAAAAFMZW5ndGgAAAAAAAAAAAABTGVuZ3RoU3F1YXJlZAAAAAAAAAAAAAABQm9yZGVyVGhpY2tuZXNzAAAAAAAAAPA/CElzRm9udEJvbGQAAAhJc0ZvbnRJdGFsaWMAAAhJc0ZvbnRVbmRlcmxpbmVkAAAITGFiZWxIYXNCYWNrZ3JvdW5kAAACVGV4dEFsaWdubWVudAAFAAAATGVmdAAAAVJvd1RvcAAOvjcMiT5wQAFSb3dIZWlnaHQAbjUqMi0FOUADTGVmdE5vdGVzAMcEAAADVGV4dFN0eWxlAFsEAAABRGVmYXVsdEZvbnRTaXplAAAAAAAAACRAAUZvbnRTaXplAAAAAAAAACRAA0ZvbnRDb2xvcgBVAAAAEEEA/wAAABBSABAAAAAQRwA4AAAAEEIATwAAAAFTY0EAAAAAAAAA8D8BU2NSAAAAAOA2OXU/AVNjRwAAAACAZz+kPwFTY0IAAAAAYBcEtD8AEEZvbnRUaGVtZUNvbG9yAAAAAAAQRm9udFNjaGVtZUNvbG9yAAAAAAABRm9udFRpbnRBbmRTaGFkZQAAAAAAAAAAAANQYXR0ZXJuQ29sb3IAVQAAABBBAAAAAAAQUgAAAAAAEEcAAAAAABBCAAAAAAABU2NBAAAAAAAAAAAAAVNjUgAAAAAAAAAAAAFTY0cAAAAAAAAAAAABU2NCAAAAAAAAAAAAABBQYXR0ZXJuVGhlbWVDb2xvcgAAAAAAAVBhdHRlcm5UaW50QW5kU2hhZGUAAAAAAAAAAAADRGF0YVN0eWxlRm9udENvbG9yVmFsdWUAVQAAABBBAP8AAAAQUgAQAAAAEEcAOAAAABBCAE8AAAABU2NBAAAAAAAAAPA/AVNjUgAAAADgNjl1PwFTY0cAAAAAgGc/pD8BU2NCAAAAAGAXBLQ/AAhEYXRhU3R5bGVGb250Q29sb3JIYXNWYWx1ZQABAUhlaWdodAAAAAAAAAAAAAJEYXNoU3R5bGUADQAAAG1zb0xpbmVTb2xpZAAISGFzV2lzaEZpbGxDb2xvcgAAA0ZpbGxDb2xvcgBVAAAAEEEA/wAAABBSAAAAAAAQRwAAAAAAEEIAAAAAAAFTY0EAAAAAAAAA8D8BU2NSAAAAAAAAAAAAAVNjRwAAAAAAAAAAAAFTY0IAAAAAAAAAAAAAEEZpbGxTY2hlbWVDb2xvcgAAAAAAEEZpbGxUaGVtZUNvbG9yAAAAAAABRmlsbFRpbnRBbmRTaGFkZQAAAAAAAAAAAANCb3JkZXJDb2xvcgBVAAAAEEEAAAAAABBSAAAAAAAQRwAAAAAAEEIAAAAAAAFTY0EAAAAAAAAAAAABU2NSAAAAAAAAAAAAAVNjRwAAAAAAAAAAAAFTY0IAAAAAAAAAAAAAEEJvcmRlclRoZW1lQ29sb3IAAAAAAAFCb3JkZXJUaW50QW5kU2hhZGUAAAAAAAAAAAAISXNGaWxsZWQAAQJQYXR0ZXJuABAAAABtc29QYXR0ZXJuTWl4ZWQAAlNoYXBlVHlwZQAOAAAAbXNvU2hhcGVNaXhlZAADTGFiZWxPZmZzZXQAQgAAAAFYAAAAAAAAAAAAAVkAAAAAAAAAAAABTGVuZ3RoAAAAAAAAAAAAAUxlbmd0aFNxdWFyZWQAAAAAAAAAAAAACElzRm9udEJvbGQAAAhJc0ZvbnRJdGFsaWMAAAhJc0ZvbnRVbmRlcmxpbmVkAAAITGFiZWxIYXNCYWNrZ3JvdW5kAAACVGV4dEFsaWdubWVudAAFAAAATGVmdAAACEhhcnZleUJhbGxWaXNpYmxlAAEQSGFydmV5QmFsbFZhbHVlAAAAAAACQ2hlY2tCb3hTdGF0ZQAFAAAATm9uZQACVHJhZmZpY0xpZ2h0U3RhdGUABAAAAE9mZgAAA1JpZ2h0Tm90ZXMAxwQAAANUZXh0U3R5bGUAWwQAAAFEZWZhdWx0Rm9udFNpemUAAAAAAAAAJEABRm9udFNpemUAAAAAAAAAJEADRm9udENvbG9yAFUAAAAQQQD/AAAAEFIAEAAAABBHADgAAAAQQgBPAAAAAVNjQQAAAAAAAADwPwFTY1IAAAAA4DY5dT8BU2NHAAAAAIBnP6Q/AVNjQgAAAABgFwS0PwAQRm9udFRoZW1lQ29sb3IAAAAAABBGb250U2NoZW1lQ29sb3IAAAAAAAFGb250VGludEFuZFNoYWRlAAAAAAAAAAAAA1BhdHRlcm5Db2xvcgBVAAAAEEEAAAAAABBSAAAAAAAQRwAAAAAAEEIAAAAAAAFTY0EAAAAAAAAAAAABU2NSAAAAAAAAAAAAAVNjRwAAAAAAAAAAAAFTY0IAAAAAAAAAAAAAEFBhdHRlcm5UaGVtZUNvbG9yAAAAAAABUGF0dGVyblRpbnRBbmRTaGFkZQAAAAAAAAAAAANEYXRhU3R5bGVGb250Q29sb3JWYWx1ZQBVAAAAEEEA/wAAABBSABAAAAAQRwA4AAAAEEIATwAAAAFTY0EAAAAAAAAA8D8BU2NSAAAAAOA2OXU/AVNjRwAAAACAZz+kPwFTY0IAAAAAYBcEtD8ACERhdGFTdHlsZUZvbnRDb2xvckhhc1ZhbHVlAAEBSGVpZ2h0AAAAAAAAAAAAAkRhc2hTdHlsZQANAAAAbXNvTGluZVNvbGlkAAhIYXNXaXNoRmlsbENvbG9yAAADRmlsbENvbG9yAFUAAAAQQQD/AAAAEFIAAAAAABBHAAAAAAAQQgAAAAAAAVNjQQAAAAAAAADwPwFTY1IAAAAAAAAAAAABU2NHAAAAAAAAAAAAAVNjQgAAAAAAAAAAAAAQRmlsbFNjaGVtZUNvbG9yAAAAAAAQRmlsbFRoZW1lQ29sb3IAAAAAAAFGaWxsVGludEFuZFNoYWRlAAAAAAAAAAAAA0JvcmRlckNvbG9yAFUAAAAQQQAAAAAAEFIAAAAAABBHAAAAAAAQQgAAAAAAAVNjQQAAAAAAAAAAAAFTY1IAAAAAAAAAAAABU2NHAAAAAAAAAAAAAVNjQgAAAAAAAAAAAAAQQm9yZGVyVGhlbWVDb2xvcgAAAAAAAUJvcmRlclRpbnRBbmRTaGFkZQAAAAAAAAAAAAhJc0ZpbGxlZAABAlBhdHRlcm4AEAAAAG1zb1BhdHRlcm5NaXhlZAACU2hhcGVUeXBlAA4AAABtc29TaGFwZU1peGVkAANMYWJlbE9mZnNldABCAAAAAVgAAAAAAAAAAAABWQAAAAAAAAAAAAFMZW5ndGgAAAAAAAAAAAABTGVuZ3RoU3F1YXJlZAAAAAAAAAAAAAAISXNGb250Qm9sZAAACElzRm9udEl0YWxpYwAACElzRm9udFVuZGVybGluZWQAAAhMYWJlbEhhc0JhY2tncm91bmQAAAJUZXh0QWxpZ25tZW50AAUAAABMZWZ0AAAISGFydmV5QmFsbFZpc2libGUAARBIYXJ2ZXlCYWxsVmFsdWUAAAAAAAJDaGVja0JveFN0YXRlAAUAAABOb25lAAJUcmFmZmljTGlnaHRTdGF0ZQAEAAAAT2ZmAAADTGVmdE5vdGVzUmVuZGVySW5mbwCbFAAAA0xhYmVsAHQGAAAFTWFuYWdlZElkABAAAAAE0eOE50W/3k2ybNQxyZjRkQhIYXNDaGFuZ2VzAAEIVXNlTmFtZUluc3RlYWRPZlRhZ0FzSWQAAAhTaGFwZVByZXZpb3VzbHlDcmVhdGVkAAA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AJGaWxsUGF0dGVybgAQAAAAbXNvUGF0dGVybk1peGVkAAJUZXh0AAEAAAA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CnAAAABagAAACjAAAA5w8AAAAAAAAAAAAAdWdoAAAIRm9udFN1YnNjcmlwdAAACEZvbnRTdXBlcnNjcmlwdAAACEZvbnRVbmRlcmxpbmUAAAAIU2l6ZVRvVGV4dFdpZHRoAAAIU2l6ZVRvVGV4dEhlaWdodAAAA1RleHRNYXJnaW4APwAAAAFMZWZ0AAAAAAAAAAAAAVRvcAAAAAAAAAAAAAFSaWdodAAAAAAAAAAAAAFCb3R0b20AAAAAAAAAAAAAAUhlaWdodAAAAADAHgUqQAFXaWR0aAAAAAAAAAAAAAFUb3AAAAAAgD1aYkABTGVmdAAAAAAghS94QAhGbGlwSG9yaXpvbnRhbGx5AAAIRmxpcEhvcml6b250YWxseUFwcGxpZWQAAAhGbGlwVmVydGljYWxseQAACEZsaXBWZXJ0aWNhbGx5QXBwbGllZAAAAVJvdGF0aW9uAAAAAAAAAAAAAVpPcmRlcgAAAAAAAMBSQANCb3JkZXJDb2xvcgBVAAAAEEEA/wAAABBSAP8AAAAQRwAxAAAAEEIAYgAAAAFTY0EAAAAAAAAA8D8BU2NSAAAAAAAAAPA/AVNjRwAAAABgWHOfPwFTY0IAAAAAoHxEvz8AEEJvcmRlclRoZW1lQ29sb3IAAAAAAAFCb3JkZXJUaW50QW5kU2hhZGUAAAAAAAAAAAAQQm9yZGVyU2NoZW1lQ29sb3IAAAAAAAFCb3JkZXJUaGlja25lc3MAAAAAAAAA4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MgDhBgAAA1N0YXJ0ABsAAAABWADsUbgehat3QAFZAMP1KFyP8mNAAANFbmQAGwAAAAFYAOxRuB6FM3hAAVkAw/UoXI/yY0AAAlN0YXJ0QXJyb3dIZWFkABEAAABtc29BcnJvd2hlYWROb25lAAJFbmRBcnJvd0hlYWQAEQAAAG1zb0Fycm93aGVhZE5vbmUABU1hbmFnZWRJZAAQAAAABGGU6vM2zQJMiNS99ZBhsI4ISGFzQ2hhbmdlcwAACFVzZU5hbWVJbnN0ZWFkT2ZUYWdBc0lkAAAIU2hhcGVQcmV2aW91c2x5Q3JlYXRlZAAA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AAAAAhQAFUb3AAAAAAYI/yY0ABTGVmdAAAAAAghat3QAhGbGlwSG9yaXpvbnRhbGx5AAAIRmxpcEhvcml6b250YWxseUFwcGxpZWQAAAhGbGlwVmVydGljYWxseQAACEZsaXBWZXJ0aWNhbGx5QXBwbGllZAAAAVJvdGF0aW9uAAAAAAAAAAAAAVpPcmRlcgAAAAAAAMBSQANCb3JkZXJDb2xvcgBVAAAAEEEA/wAAABBSAP8AAAAQRwAxAAAAEEIAYgAAAAFTY0EAAAAAAAAA8D8BU2NSAAAAAAAAAPA/AVNjRwAAAABgWHOfPwFTY0IAAAAAoHxEvz8AEEJvcmRlclRoZW1lQ29sb3IAAAAAAAFCb3JkZXJUaW50QW5kU2hhZGUAAAAAAAAAAAAQQm9yZGVyU2NoZW1lQ29sb3IAAAAAAAFCb3JkZXJUaGlja25lc3MAAAAAAAAA4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MwDhBgAAA1N0YXJ0ABsAAAABWADsUbgeha93QAFZAMP1KFyP6mNAAANFbmQAGwAAAAFYAOxRuB6Fr3dAAVkAexSuR+GKZUAAAlN0YXJ0QXJyb3dIZWFkABEAAABtc29BcnJvd2hlYWROb25lAAJFbmRBcnJvd0hlYWQAEQAAAG1zb0Fycm93aGVhZE5vbmUABU1hbmFnZWRJZAAQAAAABHHWV/AUSc5Ft1ClllbuVwEISGFzQ2hhbmdlcwAACFVzZU5hbWVJbnN0ZWFkT2ZUYWdBc0lkAAAIU2hhcGVQcmV2aW91c2x5Q3JlYXRlZAAA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DAHgUqQAFXaWR0aAAAAAAAAAAAAAFUb3AAAAAAYI/qY0ABTGVmdAAAAAAgha93QAhGbGlwSG9yaXpvbnRhbGx5AAAIRmxpcEhvcml6b250YWxseUFwcGxpZWQAAAhGbGlwVmVydGljYWxseQAACEZsaXBWZXJ0aWNhbGx5QXBwbGllZAAAAVJvdGF0aW9uAAAAAAAAAAAAAVpPcmRlcgAAAAAAAMBSQANCb3JkZXJDb2xvcgBVAAAAEEEA/wAAABBSAP8AAAAQRwAxAAAAEEIAYgAAAAFTY0EAAAAAAAAA8D8BU2NSAAAAAAAAAPA/AVNjRwAAAABgWHOfPwFTY0IAAAAAoHxEvz8AEEJvcmRlclRoZW1lQ29sb3IAAAAAAAFCb3JkZXJUaW50QW5kU2hhZGUAAAAAAAAAAAAQQm9yZGVyU2NoZW1lQ29sb3IAAAAAAAFCb3JkZXJUaGlja25lc3MAAAAAAAAA4D8CqAAAAAX/////pwAAAOcPAAAAAAAAAAAAAGeeAAAFX2lkABAAAAAEnTGVfgEqJ0+wSLgLFLrpVwREYXRhAA2eAAADMAB/JwAACElzRml4ZWQAAANTdGFydAArAAAAEF9pZAAGAAAAEEluZGV4AAEAAAACUG9zaXRpb24ABAAAAEVuZAAAA0VuZAAtAAAAEF9pZAAHAAAAEEluZGV4AAEAAAACUG9zaXRpb24ABgAAAFN0YXJ0AAADU3R5bGUAdAQAAAFEZWZhdWx0Rm9udFNpemUAAAAAAAAAJEABRm9udFNpemUAAAAAAAAAAAADRm9udENvbG9yAFUAAAAQQQD/AAAAEFIAEAAAABBHADgAAAAQQgBPAAAAAVNjQQAAAAAAAADwPwFTY1IAAAAA4DY5dT8BU2NHAAAAAIBnP6Q/AVNjQgAAAABgFwS0PwAQRm9udFRoZW1lQ29sb3IAAAAAABBGb250U2NoZW1lQ29sb3IAAAAAAAFGb250VGludEFuZFNoYWRlAAAAAAAAAAAAA1BhdHRlcm5Db2xvcgBVAAAAEEEAAAAAABBSAAAAAAAQRwAAAAAAEEIAAAAAAAFTY0EAAAAAAAAAAAABU2NSAAAAAAAAAAAAAVNjRwAAAAAAAAAAAAFTY0IAAAAAAAAAAAAAEFBhdHRlcm5UaGVtZUNvbG9yAAAAAAABUGF0dGVyblRpbnRBbmRTaGFkZQAAAAAAAAAAAANEYXRhU3R5bGVGb250Q29sb3JWYWx1ZQBVAAAAEEEAAAAAABBSAAAAAAAQRwAAAAAAEEIAAAAAAAFTY0EAAAAAAAAAAAABU2NSAAAAAAAAAAAAAVNjRwAAAAAAAAAAAAFTY0IAAAAAAAAAAAAACERhdGFTdHlsZUZvbnRDb2xvckhhc1ZhbHVlAAABSGVpZ2h0AAAAAAAAAAAAAkRhc2hTdHlsZQANAAAAbXNvTGluZVNvbGlkAAhIYXNXaXNoRmlsbENvbG9yAAADRmlsbENvbG9yAFUAAAAQQQD/AAAAEFIA/wAAABBHADEAAAAQQgBiAAAAAVNjQQAAAAAAAADwPwFTY1IAAAAAAAAA8D8BU2NHAAAAAGBYc58/AVNjQgAAAACgfES/PwAQRmlsbFNjaGVtZUNvbG9yAAAAAAAQRmlsbFRoZW1lQ29sb3IAAAAAAAFGaWxsVGludEFuZFNoYWRlAAAAAAAAAAAAA0JvcmRlckNvbG9yAFUAAAAQQQD/AAAAEFIA/wAAABBHADEAAAAQQgBiAAAAAVNjQQAAAAAAAADwPwFTY1IAAAAAAAAA8D8BU2NHAAAAAGBYc58/AVNjQgAAAACgfES/PwAQQm9yZGVyVGhlbWVDb2xvcgAAAAAAAUJvcmRlclRpbnRBbmRTaGFkZQAAAAAAAAAAAAhJc0ZpbGxlZAABAlBhdHRlcm4AEAAAAG1zb1BhdHRlcm5NaXhlZAACU2hhcGVUeXBlAA4AAABtc29TaGFwZU1peGVkAANMYWJlbE9mZnNldABCAAAAAVgAAAAAAAAAAAABWQAAAAAAAAAAAAFMZW5ndGgAAAAAAAAAAAABTGVuZ3RoU3F1YXJlZAAAAAAAAAAAAAABQm9yZGVyVGhpY2tuZXNzAAAAAAAAAOA/CElzRm9udEJvbGQAAAhJc0ZvbnRJdGFsaWMAAAhJc0ZvbnRVbmRlcmxpbmVkAAAITGFiZWxIYXNCYWNrZ3JvdW5kAAACVGV4dEFsaWdubWVudAAFAAAATGVmdAAAA1JlbmRlckluZm8AhSIAAARMaW5lcwB5IgAAAzAA4QYAAANTdGFydAAbAAAAAVgA7FG4HoXvd0ABWQAK16NwPWJiQAADRW5kABsAAAABWADsUbgehTN4QAFZAArXo3A9YmJAAAJTdGFydEFycm93SGVhZAARAAAAbXNvQXJyb3doZWFkTm9uZQACRW5kQXJyb3dIZWFkABEAAABtc29BcnJvd2hlYWROb25lAAVNYW5hZ2VkSWQAEAAAAARnmfyerwTMQpvuY3FiC6iLCEhhc0NoYW5nZXMAAAhVc2VOYW1lSW5zdGVhZE9mVGFnQXNJZAAACFNoYXBlUHJldmlvdXNseUNyZWF0ZWQAAA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AAAAEUABVG9wAAAAAIA9YmJAAUxlZnQAAAAAIIXvd0AIRmxpcEhvcml6b250YWxseQAACEZsaXBIb3Jpem9udGFsbHlBcHBsaWVkAAAIRmxpcFZlcnRpY2FsbHkAAAhGbGlwVmVydGljYWxseUFwcGxpZWQAAAFSb3RhdGlvbgAAAAAAAAAAAAFaT3JkZXIAAAAAAADAUkADQm9yZGVyQ29sb3IAVQAAABBBAP8AAAAQUgD/AAAAEEcAMQAAABBCAGIAAAABU2NBAAAAAAAAAPA/AVNjUgAAAAAAAADwPwFTY0cAAAAAYFhznz8BU2NCAAAAAKB8RL8/ABBCb3JkZXJUaGVtZUNvbG9yAAAAAAABQm9yZGVyVGludEFuZFNoYWRlAAAAAAAAAAAAEEJvcmRlclNjaGVtZUNvbG9yAAAAAAABQm9yZGVyVGhpY2tuZXNzAAAAAAAAAOA/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zEA4QYAAANTdGFydAAbAAAAAVgA7FG4HoUveEABWQAK16NwPVpiQAADRW5kABsAAAABWADsUbgehS94QAFZAMP1KFyP+mNAAAJTdGFydEFycm93SGVhZAARAAAAbXNvQXJyb3doZWFkTm9uZQACRW5kQXJyb3dIZWFkABEAAABtc29BcnJvd2hlYWROb25lAAVNYW5hZ2VkSWQAEAAAAASjibqClC/pS6p95W9VSj0LCEhhc0NoYW5nZXMAAAhVc2VOYW1lSW5zdGVhZE9mVGFnQXNJZAAACFNoYXBlUHJldmlvdXNseUNyZWF0ZWQAAA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6kAAAAFpgAAALYAAADnDwAAAAAAAAAAAAAAAAAAAAAAAAhGb250U3RyaWtldGhyb3VnaAAACEZvbnRTdWJzY3JpcHQAAAhGb250U3VwZXJzY3JpcHQAAAhGb250VW5kZXJsaW5lAAAACFNpemVUb1RleHRXaWR0aAAACFNpemVUb1RleHRIZWlnaHQAAANUZXh0TWFyZ2luAD8AAAABTGVmdAAAAAAAAAAAAAFUb3AAAAAAAAAAAAABUmlnaHQAAAAAAAAAAAABQm90dG9tAAAAAAAAAAAAAAJEaXNwbGF5VGV4dAABAAAAAAFIZWlnaHQAAAAAAAAA8D8BV2lkdGgAAAAAAAAA8D8BVG9wAAAAAACMlnFAAUxlZnQAAAAAQGX2jU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NlcGFyYXRvckxpbmUA/gYAAANTdGFydAAbAAAAAVgAzczMFjLzjUABWQAAAADg28ZxQAADRW5kABsAAAABWAAzMzN9mPmNQAFZAAAAAODbxnFAAAJTdGFydEFycm93SGVhZAARAAAAbXNvQXJyb3doZWFkTm9uZQACRW5kQXJyb3dIZWFkABEAAABtc29BcnJvd2hlYWROb25lAAVNYW5hZ2VkSWQAEAAAAAQM+TNqOGpuRL4+0iaI73lmCEhhc0NoYW5nZXMAAQhVc2VOYW1lSW5zdGVhZE9mVGFnQXNJZAAACFNoYXBlUHJldmlvdXNseUNyZWF0ZWQAAA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QAAQAAA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kRpc3BsYXlUZXh0AAEAAAAAAUhlaWdodAAAAAAAAAAAAAFXaWR0aAAAAACgmZnpPwFUb3AAAAAA4NvGcUABTGVmdAAAAAAgMvONQAhGbGlwSG9yaXpvbnRhbGx5AAAIRmxpcEhvcml6b250YWxseUFwcGxpZWQAAAhGbGlwVmVydGljYWxseQAACEZsaXBWZXJ0aWNhbGx5QXBwbGllZAAAAVJvdGF0aW9uAAAAAAAAAAAAAVpPcmRlcgAAAAAAAIBVQANCb3JkZXJDb2xvcgBVAAAAEEEA/wAAABBSAOMAAAAQRwDjAAAAEEIA4wAAAAFTY0EAAAAAAAAA8D8BU2NSAAAAAMCxlOg/AVNjRwAAAADAsZToPwFTY0IAAAAAwLGU6D8AEEJvcmRlclRoZW1lQ29sb3IAAAAAAAFCb3JkZXJUaW50QW5kU2hhZGUAAAAAAAAAAAAQQm9yZGVyU2NoZW1lQ29sb3IAAAAAAAFCb3JkZXJUaGlja25lc3MAAAAAAAAA8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mVjdGFuZ2xlAJEGAAACQXV0b1NoYXBlVHlwZQAKAAAAUmVjdGFuZ2xlAAVNYW5hZ2VkSWQAEAAAAARikfHwperOT5wsd1LCmEyACEhhc0NoYW5nZXMAAQhVc2VOYW1lSW5zdGVhZE9mVGFnQXNJZAAACFNoYXBlUHJldmlvdXNseUNyZWF0ZWQAAANGaWxsQ29sb3IAVQAAABBBAAAAAAAQUgD/AAAAEEcA/wAAABBCAP8AAAABU2NBAAAAAAAAAAAAAVNjUgAAAAAAAADwPwFTY0cAAAAAAAAA8D8BU2NCAAAAAAAAAPA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AAkZpbGxQYXR0ZXJuABAAAABtc29QYXR0ZXJuTWl4ZWQAAlRleHQAAQAAA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kRpc3BsYXlUZXh0AAEAAAAAAUhlaWdodAAAAABALQU4QAFXaWR0aAAAAAAAAAAAAAFUb3AAAAAAAIlGcEABTGVmdAAAAABAZe6NQAhGbGlwSG9yaXpvbnRhbGx5AAAIRmxpcEhvcml6b250YWxseUFwcGxpZWQAAAhGbGlwVmVydGljYWxseQAACEZsaXBWZXJ0aWNhbGx5QXBwbGllZAAAAVJvdGF0aW9uAAAAAAAAAAAAAVpPcmRlcgAAAAAAAEBVQANCb3JkZXJDb2xvcgBVAAAAEEEAAAAAABBSAAAAAAAQRwAAAAAAEEIAAAAAAAFTY0EAAAAAAAAAAAABU2NSAAAAAAAAAAAAAVNjRwAAAAAAAAAAAAFTY0IAAAAAAAAAAAAAEEJvcmRlclRoZW1lQ29sb3IAAAAAAAFCb3JkZXJUaW50QW5kU2hhZGUAAAAAAAAAAAAQQm9yZGVyU2NoZW1lQ29sb3IAAAAAAAFCb3JkZXJUaGlja25lc3OqAAAABasAAADNAAAA5w8AAAAAAA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RUcmFmZmljTGlnaHREYXRhAAUAAAAABEhhcnZleUJhbGxEYXRhAAUAAAAAAlRyYWZmaWNMaWdodFN0YXRlAAQAAABPZmYABENoZWNrQm94RGF0YQAFAAAAAAJDaGVja0JveFN0YXRlAAUAAABOb25lAAADUmlnaHROb3Rlc1JlbmRlckluZm8AmxQAAANMYWJlbAB0BgAABU1hbmFnZWRJZAAQAAAABMVCUtcnKw5FoTYwa9LMvTAISGFzQ2hhbmdlcwABCFVzZU5hbWVJbnN0ZWFkT2ZUYWdBc0lkAAAIU2hhcGVQcmV2aW91c2x5Q3JlYXRlZAAA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ACRmlsbFBhdHRlcm4AEAAAAG1zb1BhdHRlcm5NaXhlZAACVGV4dAABAAAA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CRGlzcGxheVRleHQAAQAAAAABSGVpZ2h0AAAAAAAAAPA/AVdpZHRoAAAAAAAAAPA/AVRvcAAAAAAAjJZxQAFMZWZ0AAAAAEBl9o1ACEZsaXBIb3Jpem9udGFsbHkAAAhGbGlwSG9yaXpvbnRhbGx5QXBwbGllZAAACEZsaXBWZXJ0aWNhbGx5AAAIRmxpcFZlcnRpY2FsbHlBcHBsaWVkAAABUm90YXRpb24AAAAAAAAAAAABWk9yZGVyAAAAAAAAAAA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TZXBhcmF0b3JMaW5lAP4GAAADU3RhcnQAGwAAAAFYAM3MzBYy841AAVkAAAAA4NvGcUAAA0VuZAAbAAAAAVgAMzMzfZj5jUABWQAAAADg28ZxQAACU3RhcnRBcnJvd0hlYWQAEQAAAG1zb0Fycm93aGVhZE5vbmUAAkVuZEFycm93SGVhZAARAAAAbXNvQXJyb3doZWFkTm9uZQAFTWFuYWdlZElkABAAAAAEKqGm9C6fDESonjaH+1eM4whIYXNDaGFuZ2VzAAEIVXNlTmFtZUluc3RlYWRPZlRhZ0FzSWQAAAhTaGFwZVByZXZpb3VzbHlDcmVhdGVkAAA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AAEAAAA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JEaXNwbGF5VGV4dAABAAAAAAFIZWlnaHQAAAAAAAAAAAABV2lkdGgAAAAAoJmZ6T8BVG9wAAAAAODbxnFAAUxlZnQAAAAAIDLzjUAIRmxpcEhvcml6b250YWxseQAACEZsaXBIb3Jpem9udGFsbHlBcHBsaWVkAAAIRmxpcFZlcnRpY2FsbHkAAAhGbGlwVmVydGljYWxseUFwcGxpZWQAAAFSb3RhdGlvbgAAAAAAAAAAAAFaT3JkZXIAAAAAAACAVUADQm9yZGVyQ29sb3IAVQAAABBBAP8AAAAQUgDjAAAAEEcA4wAAABBCAOMAAAABU2NBAAAAAAAAAPA/AVNjUgAAAADAsZToPwFTY0cAAAAAwLGU6D8BU2NCAAAAAMCxlOg/ABBCb3JkZXJUaGVtZUNvbG9yAAAAAAABQm9yZGVyVGludEFuZFNoYWRlAAAAAAAAAAAAEEJvcmRlclNjaGVtZUNvbG9yAAAAAAABQm9yZGVyVGhpY2tuZXNzAAAAAAAAAPA/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JlY3RhbmdsZQCRBgAAAkF1dG9TaGFwZVR5cGUACgAAAFJlY3RhbmdsZQAFTWFuYWdlZElkABAAAAAEiEp2usi3cUi/Ipv9AYJHlQhIYXNDaGFuZ2VzAAEIVXNlTmFtZUluc3RlYWRPZlRhZ0FzSWQAAAhTaGFwZVByZXZpb3VzbHlDcmVhdGVkAAADRmlsbENvbG9yAFUAAAAQQQAAAAAAEFIA/wAAABBHAP8AAAAQQgD/AAAAAVNjQQAAAAAAAAAAqwAAAAWhAAAAqgAAAOcPAAAAAAAAAAAAAGFsaWMAAAFGb250U2l6ZQAAAAAAAAAAAAhGb250U3RyaWtldGhyb3VnaAAACEZvbnRTdWJzY3JpcHQAAAhGb250U3VwZXJzY3JpcHQAAAhGb250VW5kZXJsaW5lAAAACFNpemVUb1RleHRXaWR0aAAACFNpemVUb1RleHRIZWlnaHQAAANUZXh0TWFyZ2luAD8AAAABTGVmdAAAAAAAAAAAAAFUb3AAAAAAAAAAAAABUmlnaHQAAAAAAAAAAAABQm90dG9tAAAAAAAAAAAAAAJEaXNwbGF5VGV4dAABAAAAAAFIZWlnaHQAAAAAAAAA8D8BV2lkdGgAAAAAAAAA8D8BVG9wAAAAAACMlnFAAUxlZnQAAAAAQGX2jU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NlcGFyYXRvckxpbmUA/gYAAANTdGFydAAbAAAAAVgAzczMFjLzjUABWQAAAADg28ZxQAADRW5kABsAAAABWAAzMzN9mPmNQAFZAAAAAODbxnFAAAJTdGFydEFycm93SGVhZAARAAAAbXNvQXJyb3doZWFkTm9uZQACRW5kQXJyb3dIZWFkABEAAABtc29BcnJvd2hlYWROb25lAAVNYW5hZ2VkSWQAEAAAAAQM+TNqOGpuRL4+0iaI73lmCEhhc0NoYW5nZXMAAQhVc2VOYW1lSW5zdGVhZE9mVGFnQXNJZAAACFNoYXBlUHJldmlvdXNseUNyZWF0ZWQAAA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QAAQAAA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kRpc3BsYXlUZXh0AAEAAAAAAUhlaWdodAAAAAAAAAAAAAFXaWR0aAAAAACgmZnpPwFUb3AAAAAA4NvGcUABTGVmdAAAAAAgMvONQAhGbGlwSG9yaXpvbnRhbGx5AAAIRmxpcEhvcml6b250YWxseUFwcGxpZWQAAAhGbGlwVmVydGljYWxseQAACEZsaXBWZXJ0aWNhbGx5QXBwbGllZAAAAVJvdGF0aW9uAAAAAAAAAAAAAVpPcmRlcgAAAAAAAIBVQANCb3JkZXJDb2xvcgBVAAAAEEEA/wAAABBSAOMAAAAQRwDjAAAAEEIA4wAAAAFTY0EAAAAAAAAA8D8BU2NSAAAAAMCxlOg/AVNjRwAAAADAsZToPwFTY0IAAAAAwLGU6D8AEEJvcmRlclRoZW1lQ29sb3IAAAAAAAFCb3JkZXJUaW50QW5kU2hhZGUAAAAAAAAAAAAQQm9yZGVyU2NoZW1lQ29sb3IAAAAAAAFCb3JkZXJUaGlja25lc3MAAAAAAAAA8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mVjdGFuZ2xlAJEGAAACQXV0b1NoYXBlVHlwZQAKAAAAUmVjdGFuZ2xlAAVNYW5hZ2VkSWQAEAAAAARikfHwperOT5wsd1LCmEyACEhhc0NoYW5nZXMAAQhVc2VOYW1lSW5zdGVhZE9mVGFnQXNJZAAACFNoYXBlUHJldmlvdXNseUNyZWF0ZWQAAANGaWxsQ29sb3IAVQAAABBBAAAAAAAQUgD/AAAAEEcA/wAAABBCAP8AAAABU2NBAAAAAAAAAAAAAVNjUgAAAAAAAADwPwFTY0cAAAAAAAAA8D8BU2NCAAAAAAAAAPA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AAkZpbGxQYXR0ZXJuABAAAABtc29QYXR0ZXJuTWl4ZWQAAlRleHQAAQAAA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kRpc3BsYXlUZXh0AAEAAAAAAUhlaWdodAAAAABALQU4QAFXaWR0aAAAAAAAAAAAAAFUb3AAAAAAAIlGcEABTGVmdAAAAABAZe6NQAhGbGlwSG9yaXpvbnRhbGx5AAAIRmxpcEhvcml6b250YWxseUFwcGxpZWQAAAhGbGlwVmVydGljYWxseQAACEZsaXBWZXJ0aWNhbGx5QXBwbGllZAAAAVJvdGF0aW9uAAAAAAAAAAAAAVpPcmRlcgAAAAAAAEBVQANCb3JkZXJDb2xvcgBVAAAAEEEAAAAAABBSAAAAAAAQRwAAAAAAEEIAAAAAAAFTY0EAAAAAAAAAAAABU2NSAAAAAAAAAAAAAVNjRwAAAAAAAAAAAAFTY0IAAAAAAAAAAAAAEEJvcmRlclRoZW1lQ29sb3IAAAAAAAFCb3JkZXJUaW50QW5kU2hhZGUAAAAAAAAAAAAQQm9yZGVyU2NoZW1lQ29sb3IAAAAAAKwAAAAFogAAAL4AAADnDwAAAAAAAAAAAABlcgAAAAAAAMBSQANCb3JkZXJDb2xvcgBVAAAAEEEA/wAAABBSAP8AAAAQRwAxAAAAEEIAYgAAAAFTY0EAAAAAAAAA8D8BU2NSAAAAAAAAAPA/AVNjRwAAAABgWHOfPwFTY0IAAAAAoHxEvz8AEEJvcmRlclRoZW1lQ29sb3IAAAAAAAFCb3JkZXJUaW50QW5kU2hhZGUAAAAAAAAAAAAQQm9yZGVyU2NoZW1lQ29sb3IAAAAAAAFCb3JkZXJUaGlja25lc3MAAAAAAAAA4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MwDhBgAAA1N0YXJ0ABsAAAABWAA9CtejcL1kQAFZAOF6FK5HEVVAAANFbmQAGwAAAAFYAD0K16NwvWRAAVkAUrgehetRWEAAAlN0YXJ0QXJyb3dIZWFkABEAAABtc29BcnJvd2hlYWROb25lAAJFbmRBcnJvd0hlYWQAEQAAAG1zb0Fycm93aGVhZE5vbmUABU1hbmFnZWRJZAAQAAAABF58sT8LV2ZBog7wU8lRieAISGFzQ2hhbmdlcwAACFVzZU5hbWVJbnN0ZWFkT2ZUYWdBc0lkAAAIU2hhcGVQcmV2aW91c2x5Q3JlYXRlZAAA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DAHgUqQAFXaWR0aAAAAAAAAAAAAAFUb3AAAAAAoEcRVUABTGVmdAAAAACgcL1kQAhGbGlwSG9yaXpvbnRhbGx5AAAIRmxpcEhvcml6b250YWxseUFwcGxpZWQAAAhGbGlwVmVydGljYWxseQAACEZsaXBWZXJ0aWNhbGx5QXBwbGllZAAAAVJvdGF0aW9uAAAAAAAAAAAAAVpPcmRlcgAAAAAAAMBSQANCb3JkZXJDb2xvcgBVAAAAEEEA/wAAABBSAP8AAAAQRwAxAAAAEEIAYgAAAAFTY0EAAAAAAAAA8D8BU2NSAAAAAAAAAPA/AVNjRwAAAABgWHOfPwFTY0IAAAAAoHxEvz8AEEJvcmRlclRoZW1lQ29sb3IAAAAAAAFCb3JkZXJUaW50QW5kU2hhZGUAAAAAAAAAAAAQQm9yZGVyU2NoZW1lQ29sb3IAAAAAAAFCb3JkZXJUaGlja25lc3MAAAAAAAAA4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NADhBgAAA1N0YXJ0ABsAAAABWAA9CtejcLVkQAFZAFK4HoXrQVhAAANFbmQAGwAAAAFYANejcD0K/2VAAVkAUrgehetBWEAAAlN0YXJ0QXJyb3dIZWFkABEAAABtc29BcnJvd2hlYWROb25lAAJFbmRBcnJvd0hlYWQAEQAAAG1zb0Fycm93aGVhZE5vbmUABU1hbmFnZWRJZAAQAAAABOHnQZAhp1FArzCI/zca1ZsISGFzQ2hhbmdlcwAACFVzZU5hbWVJbnN0ZWFkT2ZUYWdBc0lkAAAIU2hhcGVQcmV2aW91c2x5Q3JlYXRlZAAA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CgmZkkQAFUb3AAAAAAgOtBWEABTGVmdAAAAACgcLVkQAhGbGlwSG9yaXpvbnRhbGx5AAAIRmxpcEhvcml6b250YWxseUFwcGxpZWQAAAhGbGlwVmVydGljYWxseQAACEZsaXBWZXJ0aWNhbGx5QXBwbGllZAAAAVJvdGF0aW9uAAAAAAAAAAAAAVpPcmRlcgAAAAAAAMBSQANCb3JkZXJDb2xvcgBVAAAAEEEA/wAAABBSAP8AAAAQRwAxAAAAEEIAYgAAAAFTY0EAAAAAAAAA8D8BU2NSAAAAAAAAAPA/AVNjRwAAAABgWHOfPwFTY0IAAAAAoHxEvz8AEEJvcmRlclRoZW1lQ29sb3IAAAAAAAFCb3JkZXJUaW50QW5kU2hhZGUAAAAAAAAAAAAQQm9yZGVyU2NoZW1lQ29sb3IAAAAAAAFCb3JkZXJUaGlja25lc3MAAAAAAAAA4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AAAADMgB/JwAACElzRml4ZWQAAANTdGFydAArAAAAEF9pZAAHAAAAEEluZGV4AAEAAAACUG9zaXRpb24ABAAAAEVuZAAAA0VuZAAtAAAAEF9pZAAIAAAAEEmtAAAABRQAAACuAAAA5w8AAAAAAAAAAAAAAAAAAAAAAAABUmlnaHQAAAAAAAAAAAABQm90dG9tAAAAAAAAAAAAAAJEaXNwbGF5VGV4dAADAAAAMzMAAUhlaWdodAAAAACABmguQAFXaWR0aAAAAAAA0qtBQAFUb3AAAAAAwPaFM0ABTGVmdAAAAADAAYyGQAhGbGlwSG9yaXpvbnRhbGx5AAAIRmxpcEhvcml6b250YWxseUFwcGxpZWQAAAhGbGlwVmVydGljYWxseQAACEZsaXBWZXJ0aWNhbGx5QXBwbGllZAAAAVJvdGF0aW9uAAAAAAAAAAAAAVpPcmRlcgAAAAAAAAAmQANCb3JkZXJDb2xvcgBVAAAAEEEA/wAAABBSAP8AAAAQRwD/AAAAEEIA/wAAAAFTY0EAAAAAAAAA8D8BU2NSAAAAAAAAAPA/AVNjRwAAAAAAAADwPwFTY0IAAAAAAAAA8D8AEEJvcmRlclRoZW1lQ29sb3IAAAAAAAFCb3JkZXJUaW50QW5kU2hhZGUAAAAAAAAAAAAQQm9yZGVyU2NoZW1lQ29sb3IAAAAAAAFCb3JkZXJUaGlja25lc3MAAAAAAAAA0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MTgAnAYAAAVNYW5hZ2VkSWQAEAAAAARE4aROLkjuTbx7S3RziDYICEhhc0NoYW5nZXMAAAhVc2VOYW1lSW5zdGVhZE9mVGFnQXNJZAAACFNoYXBlUHJldmlvdXNseUNyZWF0ZWQAAQNGaWxsQ29sb3IAVQAAABBBAP8AAAAQUgAzAAAAEEcApwAAABBCAOUAAAABU2NBAAAAAAAAAPA/AVNjUgAAAACgG/OgPwFTY0cAAAAAoEK72D8BU2NCAAAAAOC9Euk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BAkZpbGxQYXR0ZXJuABAAAABtc29QYXR0ZXJuTWl4ZWQAAlRleHQAAwAAADM0AAJUZXh0SG9yaXpvbnRhbEFsaWdubWVudAAOAAAAbXNvQW5jaG9yTm9uZQACUGFyYWdyYXBoQWxpZ25tZW50AA8AAABtc29BbGlnbkNlbnRlcgACVGV4dFZlcnRpY2FsQWxpZ25tZW50ABAAAABtc29BbmNob3JNaWRkbGUAA0ZvbnRTdHlsZQBAAQAAEEZvbnRCYWNrZ3JvdW5kAAAAAAAIRm9udEJvbGQAAANGb250Q29sb3IAVQAAABBBAP8AAAAQUgD/AAAAEEcA/wAAABBCAP8AAAABU2NBAAAAAAAAAPA/AVNjUgAAAAAAAADwPwFTY0cAAAAAAAAA8D8BU2NCAAAAAAAAAPA/ABBGb250VGhlbWVDb2xvcgAAAAAAAUZvbnRUaW50QW5kU2hhZGUAAAAAAAAAAAAQRm9udFNjaGVtZUNvbG9yAAAAAAAIRm9udEl0YWxpYwAAAkZvbnROYW1lAAYAAABBcmlhbAABRm9udFNpemUAAAAAAAAAKEAIRm9udFN0cmlrZXRocm91Z2gAAAhGb250U3Vic2NyaXB0AAAIRm9udFN1cGVyc2NyaXB0AAAIRm9udFVuZGVybGluZQAAAAhTaXplVG9UZXh0V2lkdGgAAAhTaXplVG9UZXh0SGVpZ2h0AAADVGV4dE1hcmdpbgA/AAAAAUxlZnQAAAAAAAAAAAABVG9wAAAAAAAAAAAAAVJpZ2h0AAAAAAAAAAAAAUJvdHRvbQAAAAAAAAAAAAACRGlzcGxheVRleHQAAwAAADM0AAFIZWlnaHQAAAAAgAZoLkABV2lkdGgAAAAAANKrQUABVG9wAAAAAMD2hTNAAUxlZnQAAAAA4L6mh0AIRmxpcEhvcml6b250YWxseQAACEZsaXBIb3Jpem9udGFsbHlBcHBsaWVkAAAIRmxpcFZlcnRpY2FsbHkAAAhGbGlwVmVydGljYWxseUFwcGxpZWQAAAFSb3RhdGlvbgAAAAAAAAAAAAFaT3JkZXIAAAAAAAAAJkADQm9yZGVyQ29sb3IAVQAAABBBAP8AAAAQUgD/AAAAEEcA/wAAABBCAP8AAAABU2NBAAAAAAAAAPA/AVNjUgAAAAAAAADwPwFTY0cAAAAAAAAA8D8BU2NCAAAAAAAAAPA/ABBCb3JkZXJUaGVtZUNvbG9yAAAAAAABQm9yZGVyVGludEFuZFNoYWRlAAAAAAAAAAAAEEJvcmRlclNjaGVtZUNvbG9yAAAAAAABQm9yZGVyVGhpY2tuZXNzAAAAAAAAANA/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zE5AJwGAAAFTWFuYWdlZElkABAAAAAETeamCaC1UEeFHMNKfE+7oAhIYXNDaGFuZ2VzAAAIVXNlTmFtZUluc3RlYWRPZlRhZ0FzSWQAAAhTaGFwZVByZXZpb3VzbHlDcmVhdGVkAAEDRmlsbENvbG9yAFUAAAAQQQD/AAAAEFIAMwAAABBHAKcAAAAQQgDlAAAAAVNjQQAAAAAAAADwPwFTY1IAAAAAoBvzoD8BU2NHAAAAAKBCu9g/AVNjQgAAAADgvRLpP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QJGaWxsUGF0dGVybgAQAAAAbXNvUGF0dGVybk1peGVkAAJUZXh0AAMAAAAzNQACVGV4dEhvcml6b250YWxBbGlnbm1lbnQADgAAAG1zb0FuY2hvck5vbmUAAlBhcmFncmFwaEFsaWdubWVudAAPAAAAbXNvQWxpZ25DZW50ZXIAAlRleHRWZXJ0aWNhbEFsaWdubWVudAAQAAAAbXNvQW5jaG9yTWlkZGxlAANGb250U3R5bGUAQAEAABBGb250QmFja2dyb3VuZAAAAAAACEZvbnRCb2xkAAADRm9udENvbG9yAFUAAAAQQQD/AAAAEFIA/wAAABBHAP8AAAAQQgD/AAAAAVNjQQAAAAAAAADwPwFTY1IAAAAAAAAA8D8BU2NHAAAAAAAAAPA/AVNjQgAAAAAAAADwPwAQRm9udFRoZW1lQ29sb3IAAAAAAAFGb250VGludEFuZFNoYWRlAAAAAAAAAAAAEEZvbnRTY2hlbWVDb2xvcgAAAAAACEZvbnRJdGFsaWMAAAJGb250TmFtZQAGAAAAQXJpYWwAAUZvbnRTaXplAAAAAAAAAChACEZvbnRTdHJpa2V0aHJvdWdoAAAIRm9udFN1YnNjcmlwdAAACEZvbnRTdXBlcnNjcmlwdAAACEZvbnRVbmRlcmxpbmUAAAAIU2l6ZVRvVGV4dFdpZHRoAAAIU2l6ZVRvVGV4dEhlaWdodAAAA1RleHRNYXJnaW4APwAAAAFMZWZ0AAAAAAAAAAAAAVRvcAAAAAAAAAAAAAFSaWdodAAAAAAAAAAAAAFCb3R0b20AAAAAAAAAAAAAAkRpc3BsYXlUZXh0AAMAAAAzNQABSGVpZ2h0AAAAAIAGaC5AAVdpZHRoAAAAAADSq0FAAVRvcAAAAADA9oUzQAFMZWZ0AAAAAAB8wYhACEZsaXBIb3Jpem9udGFsbHkAAAhGbGlwSG9yaXpvbnRhbGx5QXBwbGllZAAACEZsaXBWZXJ0aWNhbGx5AAAIRmxpcFZlcnRpY2FsbHlBcHBsaWVkAAABUm90YXRpb24AAAAAAAAAAAABWk9yZGVyAAAAAAAAACZAA0JvcmRlckNvbG9yAFUAAAAQQQD/AAAAEFIA/wAAABBHAP8AAAAQQgD/AAAAAVNjQQAAAAAAAADwPwFTY1IAAAAAAAAA8D8BU2NHAAAAAAAAAPA/AVNjQgAAAAAAAADwPwAQQm9yZGVyVGhlbWVDb2xvcgAAAAAAAUJvcmRlclRpbnRBbmRTaGFkZQAAAAAAAAAAABBCb3JkZXJTY2hlbWVDb2xvcgAAAAAAAUJvcmRlclRoaWNrbmVzcwAAAAAAAADQ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rgAAAAWtAAAArwAAAOcPAAAAAAAAAAAAAAADMjAAnAYAAAVNYW5hZ2VkSWQAEAAAAATC4hm5Z2LPSKm6+lUv4GkxCEhhc0NoYW5nZXMAAAhVc2VOYW1lSW5zdGVhZE9mVGFnQXNJZAAACFNoYXBlUHJldmlvdXNseUNyZWF0ZWQAAQNGaWxsQ29sb3IAVQAAABBBAP8AAAAQUgAzAAAAEEcApwAAABBCAOUAAAABU2NBAAAAAAAAAPA/AVNjUgAAAACgG/OgPwFTY0cAAAAAoEK72D8BU2NCAAAAAOC9Euk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BAkZpbGxQYXR0ZXJuABAAAABtc29QYXR0ZXJuTWl4ZWQAAlRleHQAAwAAADM2AAJUZXh0SG9yaXpvbnRhbEFsaWdubWVudAAOAAAAbXNvQW5jaG9yTm9uZQACUGFyYWdyYXBoQWxpZ25tZW50AA8AAABtc29BbGlnbkNlbnRlcgACVGV4dFZlcnRpY2FsQWxpZ25tZW50ABAAAABtc29BbmNob3JNaWRkbGUAA0ZvbnRTdHlsZQBAAQAAEEZvbnRCYWNrZ3JvdW5kAAAAAAAIRm9udEJvbGQAAANGb250Q29sb3IAVQAAABBBAP8AAAAQUgD/AAAAEEcA/wAAABBCAP8AAAABU2NBAAAAAAAAAPA/AVNjUgAAAAAAAADwPwFTY0cAAAAAAAAA8D8BU2NCAAAAAAAAAPA/ABBGb250VGhlbWVDb2xvcgAAAAAAAUZvbnRUaW50QW5kU2hhZGUAAAAAAAAAAAAQRm9udFNjaGVtZUNvbG9yAAAAAAAIRm9udEl0YWxpYwAAAkZvbnROYW1lAAYAAABBcmlhbAABRm9udFNpemUAAAAAAAAAKEAIRm9udFN0cmlrZXRocm91Z2gAAAhGb250U3Vic2NyaXB0AAAIRm9udFN1cGVyc2NyaXB0AAAIRm9udFVuZGVybGluZQAAAAhTaXplVG9UZXh0V2lkdGgAAAhTaXplVG9UZXh0SGVpZ2h0AAADVGV4dE1hcmdpbgA/AAAAAUxlZnQAAAAAAAAAAAABVG9wAAAAAAAAAAAAAVJpZ2h0AAAAAAAAAAAAAUJvdHRvbQAAAAAAAAAAAAACRGlzcGxheVRleHQAAwAAADM2AAFIZWlnaHQAAAAAgAZoLkABV2lkdGgAAAAAANKrQUABVG9wAAAAAMD2hTNAAUxlZnQAAAAAIDnciUAIRmxpcEhvcml6b250YWxseQAACEZsaXBIb3Jpem9udGFsbHlBcHBsaWVkAAAIRmxpcFZlcnRpY2FsbHkAAAhGbGlwVmVydGljYWxseUFwcGxpZWQAAAFSb3RhdGlvbgAAAAAAAAAAAAFaT3JkZXIAAAAAAAAAJkADQm9yZGVyQ29sb3IAVQAAABBBAP8AAAAQUgD/AAAAEEcA/wAAABBCAP8AAAABU2NBAAAAAAAAAPA/AVNjUgAAAAAAAADwPwFTY0cAAAAAAAAA8D8BU2NCAAAAAAAAAPA/ABBCb3JkZXJUaGVtZUNvbG9yAAAAAAABQm9yZGVyVGludEFuZFNoYWRlAAAAAAAAAAAAEEJvcmRlclNjaGVtZUNvbG9yAAAAAAABQm9yZGVyVGhpY2tuZXNzAAAAAAAAANA/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zIxAJwGAAAFTWFuYWdlZElkABAAAAAERu/5k/3YpE+ekmz5iok/WghIYXNDaGFuZ2VzAAAIVXNlTmFtZUluc3RlYWRPZlRhZ0FzSWQAAAhTaGFwZVByZXZpb3VzbHlDcmVhdGVkAAEDRmlsbENvbG9yAFUAAAAQQQD/AAAAEFIAMwAAABBHAKcAAAAQQgDlAAAAAVNjQQAAAAAAAADwPwFTY1IAAAAAoBvzoD8BU2NHAAAAAKBCu9g/AVNjQgAAAADgvRLpP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QJGaWxsUGF0dGVybgAQAAAAbXNvUGF0dGVybk1peGVkAAJUZXh0AAMAAAAzNwACVGV4dEhvcml6b250YWxBbGlnbm1lbnQADgAAAG1zb0FuY2hvck5vbmUAAlBhcmFncmFwaEFsaWdubWVudAAPAAAAbXNvQWxpZ25DZW50ZXIAAlRleHRWZXJ0aWNhbEFsaWdubWVudAAQAAAAbXNvQW5jaG9yTWlkZGxlAANGb250U3R5bGUAQAEAABBGb250QmFja2dyb3VuZAAAAAAACEZvbnRCb2xkAAADRm9udENvbG9yAFUAAAAQQQD/AAAAEFIA/wAAABBHAP8AAAAQQgD/AAAAAVNjQQAAAAAAAADwPwFTY1IAAAAAAAAA8D8BU2NHAAAAAAAAAPA/AVNjQgAAAAAAAADwPwAQRm9udFRoZW1lQ29sb3IAAAAAAAFGb250VGludEFuZFNoYWRlAAAAAAAAAAAAEEZvbnRTY2hlbWVDb2xvcgAAAAAACEZvbnRJdGFsaWMAAAJGb250TmFtZQAGAAAAQXJpYWwAAUZvbnRTaXplAAAAAAAAAChACEZvbnRTdHJpa2V0aHJvdWdoAAAIRm9udFN1YnNjcmlwdAAACEZvbnRTdXBlcnNjcmlwdAAACEZvbnRVbmRlcmxpbmUAAAAIU2l6ZVRvVGV4dFdpZHRoAAAIU2l6ZVRvVGV4dEhlaWdodAAAA1RleHRNYXJnaW4APwAAAAFMZWZ0AAAAAAAAAAAAAVRvcAAAAAAAAAAAAAFSaWdodAAAAAAAAAAAAAFCb3R0b20AAAAAAAAAAAAAAkRpc3BsYXlUZXh0AAMAAAAzNwABSGVpZ2h0AAAAAIAGaC5AAVdpZHRoAAAAAADSq0FAAVRvcAAAAADA9oUzQAFMZWZ0AAAAAED29opACEZsaXBIb3Jpem9udGFsbHkAAAhGbGlwSG9yaXpvbnRhbGx5QXBwbGllZAAACEZsaXBWZXJ0aWNhbGx5AAAIRmxpcFZlcnRpY2FsbHlBcHBsaWVkAAABUm90YXRpb24AAAAAAAAAAAABWk9yZGVyAAAAAAAAACZAA0JvcmRlckNvbG9yAFUAAAAQQQD/AAAAEFIA/wAAABBHAP8AAAAQQgD/AAAAAVNjQQAAAAAAAADwPwFTY1IAAAAAAAAA8D8BU2NHAAAAAAAAAPA/AVNjQgAAAAAAAADwPwAQQm9yZGVyVGhlbWVDb2xvcgAAAAAAAUJvcmRlclRpbnRBbmRTaGFkZQAAAAAAAAAAABBCb3JkZXJTY2hlbWVDb2xvcgAAAAAAAUJvcmRlclRoaWNrbmVzcwAAAAAAAADQ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MyMgCcBgAABU1hbmFnZWRJZAAQAAAABFC7J8hs065KrrTgCeHWJt0ISGFzQ2hhbmdlcwAACFVzZU5hbWVJbnN0ZWFkT2ZUYWdBc0lkAAAIU2hhcGVQcmV2aW91c2x5Q3JlYXRlZAABA0ZpbGxDb2xvcgBVAAAAEEEA/wAAABBSADMAAAAQRwCnAAAAEEIA5QAAAAFTY0EAAAAAAAAA8D8BU2NSAAAAAKAb86A/AVNjRwAAAACgQrvYPwFTY0IAAAAA4L0S6T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ECRmlsbFBhdHRlcm4AEAAAAG1zb1BhdHRlcm5NaXhlZAACVGV4dAADAAAAMzgAAlRleHRIb3Jpem9udGFsQWxpZ25tZW50AA4AAABtc29BbmNob3JOb25lAAJQYXJhZ3JhcGhBbGlnbm1lbnQADwAAAG1zb0FsaWduQ2VudGVyAAJUZXh0VmVydGljYWxBbGlnbm1lbnQAEAAAAG1zb0FuY2hvck1pZGRsZQADRm9udFN0eWxlAEABAAAQRm9udEJhY2tncm91bmQAAAAAAAhGb250Qm9sZAAAA0ZvbnRDb2xvcgBVAAAAEEEA/68AAAAFrgAAALAAAADnDwAAAAAAAAAAAAAAAAAQUgD/AAAAEEcA/wAAABBCAP8AAAABU2NBAAAAAAAAAPA/AVNjUgAAAAAAAADwPwFTY0cAAAAAAAAA8D8BU2NCAAAAAAAAAPA/ABBGb250VGhlbWVDb2xvcgAAAAAAAUZvbnRUaW50QW5kU2hhZGUAAAAAAAAAAAAQRm9udFNjaGVtZUNvbG9yAAAAAAAIRm9udEl0YWxpYwAAAkZvbnROYW1lAAYAAABBcmlhbAABRm9udFNpemUAAAAAAAAAKEAIRm9udFN0cmlrZXRocm91Z2gAAAhGb250U3Vic2NyaXB0AAAIRm9udFN1cGVyc2NyaXB0AAAIRm9udFVuZGVybGluZQAAAAhTaXplVG9UZXh0V2lkdGgAAAhTaXplVG9UZXh0SGVpZ2h0AAADVGV4dE1hcmdpbgA/AAAAAUxlZnQAAAAAAAAAAAABVG9wAAAAAAAAAAAAAVJpZ2h0AAAAAAAAAAAAAUJvdHRvbQAAAAAAAAAAAAACRGlzcGxheVRleHQAAwAAADM4AAFIZWlnaHQAAAAAgAZoLkABV2lkdGgAAAAAANKrQUABVG9wAAAAAMD2hTNAAUxlZnQAAAAAYLMRjEAIRmxpcEhvcml6b250YWxseQAACEZsaXBIb3Jpem9udGFsbHlBcHBsaWVkAAAIRmxpcFZlcnRpY2FsbHkAAAhGbGlwVmVydGljYWxseUFwcGxpZWQAAAFSb3RhdGlvbgAAAAAAAAAAAAFaT3JkZXIAAAAAAAAAJkADQm9yZGVyQ29sb3IAVQAAABBBAP8AAAAQUgD/AAAAEEcA/wAAABBCAP8AAAABU2NBAAAAAAAAAPA/AVNjUgAAAAAAAADwPwFTY0cAAAAAAAAA8D8BU2NCAAAAAAAAAPA/ABBCb3JkZXJUaGVtZUNvbG9yAAAAAAABQm9yZGVyVGludEFuZFNoYWRlAAAAAAAAAAAAEEJvcmRlclNjaGVtZUNvbG9yAAAAAAABQm9yZGVyVGhpY2tuZXNzAAAAAAAAANA/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zIzAJwGAAAFTWFuYWdlZElkABAAAAAE8nI4a1N+PEeQLpBenMY7WwhIYXNDaGFuZ2VzAAAIVXNlTmFtZUluc3RlYWRPZlRhZ0FzSWQAAAhTaGFwZVByZXZpb3VzbHlDcmVhdGVkAAEDRmlsbENvbG9yAFUAAAAQQQD/AAAAEFIAMwAAABBHAKcAAAAQQgDlAAAAAVNjQQAAAAAAAADwPwFTY1IAAAAAoBvzoD8BU2NHAAAAAKBCu9g/AVNjQgAAAADgvRLpP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QJGaWxsUGF0dGVybgAQAAAAbXNvUGF0dGVybk1peGVkAAJUZXh0AAMAAAAzOQACVGV4dEhvcml6b250YWxBbGlnbm1lbnQADgAAAG1zb0FuY2hvck5vbmUAAlBhcmFncmFwaEFsaWdubWVudAAPAAAAbXNvQWxpZ25DZW50ZXIAAlRleHRWZXJ0aWNhbEFsaWdubWVudAAQAAAAbXNvQW5jaG9yTWlkZGxlAANGb250U3R5bGUAQAEAABBGb250QmFja2dyb3VuZAAAAAAACEZvbnRCb2xkAAADRm9udENvbG9yAFUAAAAQQQD/AAAAEFIA/wAAABBHAP8AAAAQQgD/AAAAAVNjQQAAAAAAAADwPwFTY1IAAAAAAAAA8D8BU2NHAAAAAAAAAPA/AVNjQgAAAAAAAADwPwAQRm9udFRoZW1lQ29sb3IAAAAAAAFGb250VGludEFuZFNoYWRlAAAAAAAAAAAAEEZvbnRTY2hlbWVDb2xvcgAAAAAACEZvbnRJdGFsaWMAAAJGb250TmFtZQAGAAAAQXJpYWwAAUZvbnRTaXplAAAAAAAAAChACEZvbnRTdHJpa2V0aHJvdWdoAAAIRm9udFN1YnNjcmlwdAAACEZvbnRTdXBlcnNjcmlwdAAACEZvbnRVbmRlcmxpbmUAAAAIU2l6ZVRvVGV4dFdpZHRoAAAIU2l6ZVRvVGV4dEhlaWdodAAAA1RleHRNYXJnaW4APwAAAAFMZWZ0AAAAAAAAAAAAAVRvcAAAAAAAAAAAAAFSaWdodAAAAAAAAAAAAAFCb3R0b20AAAAAAAAAAAAAAkRpc3BsYXlUZXh0AAMAAAAzOQABSGVpZ2h0AAAAAIAGaC5AAVdpZHRoAAAAAKCZPjlAAVRvcAAAAADA9oUzQAFMZWZ0AAAAAIBwLI1ACEZsaXBIb3Jpem9udGFsbHkAAAhGbGlwSG9yaXpvbnRhbGx5QXBwbGllZAAACEZsaXBWZXJ0aWNhbGx5AAAIRmxpcFZlcnRpY2FsbHlBcHBsaWVkAAABUm90YXRpb24AAAAAAAAAAAABWk9yZGVyAAAAAAAAACZAA0JvcmRlckNvbG9yAFUAAAAQQQD/AAAAEFIA/wAAABBHAP8AAAAQQgD/AAAAAVNjQQAAAAAAAADwPwFTY1IAAAAAAAAA8D8BU2NHAAAAAAAAAPA/AVNjQgAAAAAAAADwPwAQQm9yZGVyVGhlbWVDb2xvcgAAAAAAAUJvcmRlclRpbnRBbmRTaGFkZQAAAAAAAAAAABBCb3JkZXJTY2hlbWVDb2xvcgAAAAAAAUJvcmRlclRoaWNrbmVzcwAAAAAAAADQ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AERGF5SGVhZGVycwAFAAAAAARHcmlkTGluZXMABQAAAAAEV2Vla0xpbmVzAAUAAAAABEFsdGVybmF0aW5nQmFja2dyb3VuZHMAm00AAAMwAHQGAAACQXV0b1NoYXBlVHlwZQAKAAAAUmVjdGFuZ2xlAAVNYW5hZ2VkSWQAEAAAAAQj8LEH3pKfR7hOJqCsvgzHCEhhc0NoYW5nZXMAAAhVc2VOYW1lSW5zdGVhZE9mVGFnQXNJZAAACFNoYXBlUHJldmlvdXNseUNyZWF0ZWQAAANGaWxsQ29sb3IAVQAAABBBAP8AAAAQUgDjAAAAEEcA4wAAABBCAOMAAAABU2NBAAAAAAAAAPA/AVNjUgAAAADAsZToPwFTY0cAAAAAwLGU6D8BU2NCAAAAAMCxlOg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ILarf0ABV2lkdGgAAAAAANKrQUABVG9wAAAAAAD9XEFAAUxlZnQAAAAAQL+AY0AIRmxpcEhvcml6b250YWxseQAACEZsaXBIb3Jpem9udGFsbHlBcHBsaWVkAAAIRmxpcFZlcnRpY2FsbHkAAAhGbGlwVmVydGljYWxseUFwcGxpZWQAAAFSb3RhdGlvbgAAAAAAAAAAAAFaT3JkZXIAAAAAAAAAJEADQm9yZGVyQ29sb3IAVQAAABBBAAAAAAAQUgAAAAAAEEcAAAAAABBCAAAAAAABU2NBAAAAAAAAAAAAAVNjUgAAAACwAAAABa8AAACxAAAA5w8AAAAAAAA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MxAHQGAAACQXV0b1NoYXBlVHlwZQAKAAAAUmVjdGFuZ2xlAAVNYW5hZ2VkSWQAEAAAAAR4x801ZG4XQKwi10o6YRKeCEhhc0NoYW5nZXMAAAhVc2VOYW1lSW5zdGVhZE9mVGFnQXNJZAAACFNoYXBlUHJldmlvdXNseUNyZWF0ZWQAAANGaWxsQ29sb3IAVQAAABBBAP8AAAAQUgDjAAAAEEcA4wAAABBCAOMAAAABU2NBAAAAAAAAAPA/AVNjUgAAAADAsZToPwFTY0cAAAAAwLGU6D8BU2NCAAAAAMCxlOg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ILarf0ABV2lkdGgAAAAAANKrQUABVG9wAAAAAAD9XEFAAUxlZnQAAAAAQKhWbEAIRmxpcEhvcml6b250YWxseQAACEZsaXBIb3Jpem9udGFsbHlBcHBsaWVkAAAIRmxpcFZlcnRpY2FsbHkAAAhGbGlwVmVydGljYWxseUFwcGxpZWQAAAFSb3RhdGlvbgAAAAAAAAAAAAFaT3JkZXIAAAAAAAAAJE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zIAdAYAAAJBdXRvU2hhcGVUeXBlAAoAAABSZWN0YW5nbGUABU1hbmFnZWRJZAAQAAAABKNCN3kM+9FNsQtFjCjNnCUISGFzQ2hhbmdlcwAACFVzZU5hbWVJbnN0ZWFkT2ZUYWdBc0lkAAAIU2hhcGVQcmV2aW91c2x5Q3JlYXRlZAAAA0ZpbGxDb2xvcgBVAAAAEEEA/wAAABBSAOMAAAAQRwDjAAAAEEIA4wAAAAFTY0EAAAAAAAAA8D8BU2NSAAAAAMCxlOg/AVNjRwAAAADAsZToPwFTY0IAAAAAwLGU6D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gtqt/QAFXaWR0aAAAAAAA0qtBQAFUb3AAAAAAAP1cQUABTGVmdAAAAACgSJZyQAhGbGlwSG9yaXpvbnRhbGx5AAAIRmxpcEhvcml6b250YWxseUFwcGxpZWQAAAhGbGlwVmVydGljYWxseQAACEZsaXBWZXJ0aWNhbGx5QXBwbGllZAAAAVJvdGF0aW9uAAAAAAAAAAAAAVpPcmRlcgAAAAAAAAAk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MwB0BgAAAkF1dG9TaGFwZVR5cGUACgAAAFJlY3RhbmdsZQAFTWFuYWdlZElkABAAAAAEcoM7NT+MJ0yqdpIz80UcxQhIYXNDaGFuZ2VzAAAIVXNlTmFtZUluc3RlYWRPZlRhZ0FzSWQAAAhTaGFwZVByZXZpb3VzbHlDcmVhdGVkAAADRmlsbENvbG9yAFUAAAAQQQD/AAAAEFIA4wAAABBHAOMAAAAQQgDjAAAAAVNjQQAAAAAAAADwPwFTY1IAAAAAwLGU6D8BU2NHAAAAAMCxlOg/AVNjQgAAAADAsZToPwAQRmlsbFRoZW1lQ29sb3IAAAAAAAFGaWxsVGludEFuZFNoYWRlAAAAAAAAAAAAEEZpbGxTY2hlbWVDb2xvcgAAAAAAA1BhdHRlcm5Db2xvcgBVAAAAEEEAAAAAABBSAAAAAAAQRwAAAAAAEEIAAAAAAAFTY0EAAAAAAAAAAAABU2NSAAAAAAAAAAAAAVNjRwAAAAAAAAAAAAFTY0IAsQAAAAWwAAAAsgAAAOcPAAAAAAAAAAAAAAAAAAAAAAAAABBQYXR0ZXJuVGhlbWVDb2xvcgAAAAAAAVBhdHRlcm5UaW50QW5kU2hhZGUAAAAAAAAAAAAIRmlsbFZpc2libGUAAQ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gtqt/QAFXaWR0aAAAAAAA0qtBQAFUb3AAAAAAAP1cQUABTGVmdAAAAAAgPQF3QAhGbGlwSG9yaXpvbnRhbGx5AAAIRmxpcEhvcml6b250YWxseUFwcGxpZWQAAAhGbGlwVmVydGljYWxseQAACEZsaXBWZXJ0aWNhbGx5QXBwbGllZAAAAVJvdGF0aW9uAAAAAAAAAAAAAVpPcmRlcgAAAAAAAAAk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NAB0BgAAAkF1dG9TaGFwZVR5cGUACgAAAFJlY3RhbmdsZQAFTWFuYWdlZElkABAAAAAECpGJ0kkulEa2CdyF0ggO0QhIYXNDaGFuZ2VzAAAIVXNlTmFtZUluc3RlYWRPZlRhZ0FzSWQAAAhTaGFwZVByZXZpb3VzbHlDcmVhdGVkAAADRmlsbENvbG9yAFUAAAAQQQD/AAAAEFIA4wAAABBHAOMAAAAQQgDjAAAAAVNjQQAAAAAAAADwPwFTY1IAAAAAwLGU6D8BU2NHAAAAAMCxlOg/AVNjQgAAAADAsZToP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CC2q39AAVdpZHRoAAAAAADSq0FAAVRvcAAAAAAA/VxBQAFMZWZ0AAAAAKAxbHtACEZsaXBIb3Jpem9udGFsbHkAAAhGbGlwSG9yaXpvbnRhbGx5QXBwbGllZAAACEZsaXBWZXJ0aWNhbGx5AAAIRmxpcFZlcnRpY2FsbHlBcHBsaWVkAAABUm90YXRpb24AAAAAAAAAAAABWk9yZGVyAAAAAAAAACR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M1AHQGAAACQXV0b1NoYXBlVHlwZQAKAAAAUmVjdGFuZ2xlAAVNYW5hZ2VkSWQAEAAAAASKo9C9FoPaRqYaKd3KH153CEhhc0NoYW5nZXMAAAhVc2VOYW1lSW5zdGVhZE9mVGFnQXNJZAAACFNoYXBlUHJldmlvdXNseUNyZWF0ZWQAAANGaWxsQ29sb3IAVQAAABBBAP8AAAAQUgDjAAAAEEcA4wAAABBCAOMAAAABU2NBAAAAAAAAAPA/AVNjUgAAAADAsZToPwFTY0cAAAAAwLGU6D8BU2NCAAAAAMCxlOg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ILarf0ABV2lkdGgAAAAAANKrQUABVG9wAAAAAAD9XEFAAUxlZnQAAAAAICbXf0AIRmxpcEhvcml6b250YWxseQAACEZsaXBIb3Jpem9udGFsbHlBcHBsaWVkAAAIRmxpcFZlcrIAAAAFsQAAALMAAADnDwAAAAAAAAAAAAB0aWNhbGx5AAAIRmxpcFZlcnRpY2FsbHlBcHBsaWVkAAABUm90YXRpb24AAAAAAAAAAAABWk9yZGVyAAAAAAAAACR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M2AHQGAAACQXV0b1NoYXBlVHlwZQAKAAAAUmVjdGFuZ2xlAAVNYW5hZ2VkSWQAEAAAAATYUl/70+p5Sqnpvr7occnwCEhhc0NoYW5nZXMAAAhVc2VOYW1lSW5zdGVhZE9mVGFnQXNJZAAACFNoYXBlUHJldmlvdXNseUNyZWF0ZWQAAANGaWxsQ29sb3IAVQAAABBBAP8AAAAQUgDjAAAAEEcA4wAAABBCAOMAAAABU2NBAAAAAAAAAPA/AVNjUgAAAADAsZToPwFTY0cAAAAAwLGU6D8BU2NCAAAAAMCxlOg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ILarf0ABV2lkdGgAAAAAANKrQUABVG9wAAAAAAD9XEFAAUxlZnQAAAAAQA0hgkAIRmxpcEhvcml6b250YWxseQAACEZsaXBIb3Jpem9udGFsbHlBcHBsaWVkAAAIRmxpcFZlcnRpY2FsbHkAAAhGbGlwVmVydGljYWxseUFwcGxpZWQAAAFSb3RhdGlvbgAAAAAAAAAAAAFaT3JkZXIAAAAAAAAAJE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zcAdAYAAAJBdXRvU2hhcGVUeXBlAAoAAABSZWN0YW5nbGUABU1hbmFnZWRJZAAQAAAABN98uCmyQbVNvvU0VJ40ZXoISGFzQ2hhbmdlcwAACFVzZU5hbWVJbnN0ZWFkT2ZUYWdBc0lkAAAIU2hhcGVQcmV2aW91c2x5Q3JlYXRlZAAAA0ZpbGxDb2xvcgBVAAAAEEEA/wAAABBSAOMAAAAQRwDjAAAAEEIA4wAAAAFTY0EAAAAAAAAA8D8BU2NSAAAAAMCxlOg/AVNjRwAAAADAsZToPwFTY0IAAAAAwLGU6D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gtqt/QAFXaWR0aAAAAAAA0qtBQAFUb3AAAAAAAP1cQUABTGVmdAAAAACAh1aEQAhGbGlwSG9yaXpvbnRhbGx5AAAIRmxpcEhvcml6b250YWxseUFwcGxpZWQAAAhGbGlwVmVydGljYWxseQAACEZsaXBWZXJ0aWNhbGx5QXBwbGllZAAAAVJvdGF0aW9uAAAAAAAAAAAAAVpPcmRlcgAAAAAAAAAk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OAB0BgAAAkF1dG9TaGFwZVR5cGUACgAAAFJlY3RhbmdsZQAFTWFuYWdlZElkABAAAAAEjJSbZmbo90KA8wrjJqCo7whIYXNDaGFuZ2VzAAAIVXNlTmFtZUluc3RlYWRPZlRhZ0FzSWQAAAhTaGFwZVByZXZpb3VzbHlDcmVhdGVkAAADRmlsbENvbG9yAFUAAAAQQQD/AAAAEFIA4wAAABBHAOMAAAAQQgDjAAAAAVNjQQAAAAAAAADwPwFTY1IAAAAAwLGU6D8BU2NHAAAAAMCxlOg/AVNjQgAAAADAsZToPwAQRmlsbFRoZW1lQ29sb3IAAAAAAAFGaWyzAAAABbIAAAC0AAAA5w8AAAAAAAAAAAAA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gtqt/QAFXaWR0aAAAAAAA0qtBQAFUb3AAAAAAAP1cQUABTGVmdAAAAADAAYyGQAhGbGlwSG9yaXpvbnRhbGx5AAAIRmxpcEhvcml6b250YWxseUFwcGxpZWQAAAhGbGlwVmVydGljYWxseQAACEZsaXBWZXJ0aWNhbGx5QXBwbGllZAAAAVJvdGF0aW9uAAAAAAAAAAAAAVpPcmRlcgAAAAAAAAAk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OQB0BgAAAkF1dG9TaGFwZVR5cGUACgAAAFJlY3RhbmdsZQAFTWFuYWdlZElkABAAAAAE05mT74A2sEi4R7/G0iTHyQhIYXNDaGFuZ2VzAAAIVXNlTmFtZUluc3RlYWRPZlRhZ0FzSWQAAAhTaGFwZVByZXZpb3VzbHlDcmVhdGVkAAADRmlsbENvbG9yAFUAAAAQQQD/AAAAEFIA4wAAABBHAOMAAAAQQgDjAAAAAVNjQQAAAAAAAADwPwFTY1IAAAAAwLGU6D8BU2NHAAAAAMCxlOg/AVNjQgAAAADAsZToP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CC2q39AAVdpZHRoAAAAAADSq0FAAVRvcAAAAAAA/VxBQAFMZWZ0AAAAAAB8wYhACEZsaXBIb3Jpem9udGFsbHkAAAhGbGlwSG9yaXpvbnRhbGx5QXBwbGllZAAACEZsaXBWZXJ0aWNhbGx5AAAIRmxpcFZlcnRpY2FsbHlBcHBsaWVkAAABUm90YXRpb24AAAAAAAAAAAABWk9yZGVyAAAAAAAAACR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MxMAB0BgAAAkF1dG9TaGFwZVR5cGUACgAAAFJlY3RhbmdsZQAFTWFuYWdlZElkABAAAAAE/KkuhJl+EkC76UdASj+toAhIYXNDaGFuZ2VzAAAIVXNlTmFtZUluc3RlYWRPZlRhZ0FzSWQAAAhTaGFwZVByZXZpb3VzbHlDcmVhdGVkAAADRmlsbENvbG9yAFUAAAAQQQD/AAAAEFIA4wAAABBHAOMAAAAQQgDjAAAAAVNjQQAAAAAAAADwPwFTY1IAAAAAwLGU6D8BU2NHAAAAAMCxlOg/AVNjQgAAAADAsZToP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tAAAAAWzAAAAtQAAAOcPAAAAAAAAAAAAAAAAAAAAAAFCb3R0b20AAAAAAAAAAAAAAUhlaWdodAAAAAAgtqt/QAFXaWR0aAAAAAAA0qtBQAFUb3AAAAAAAP1cQUABTGVmdAAAAABA9vaKQAhGbGlwSG9yaXpvbnRhbGx5AAAIRmxpcEhvcml6b250YWxseUFwcGxpZWQAAAhGbGlwVmVydGljYWxseQAACEZsaXBWZXJ0aWNhbGx5QXBwbGllZAAAAVJvdGF0aW9uAAAAAAAAAAAAAVpPcmRlcgAAAAAAAAAk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MTEAdAYAAAJBdXRvU2hhcGVUeXBlAAoAAABSZWN0YW5nbGUABU1hbmFnZWRJZAAQAAAABAYj57UQzXpBsC622Rv5AVcISGFzQ2hhbmdlcwAACFVzZU5hbWVJbnN0ZWFkT2ZUYWdBc0lkAAAIU2hhcGVQcmV2aW91c2x5Q3JlYXRlZAAAA0ZpbGxDb2xvcgBVAAAAEEEA/wAAABBSAOMAAAAQRwDjAAAAEEIA4wAAAAFTY0EAAAAAAAAA8D8BU2NSAAAAAMCxlOg/AVNjRwAAAADAsZToPwFTY0IAAAAAwLGU6D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gtqt/QAFXaWR0aAAAAACgmT45QAFUb3AAAAAAAP1cQUABTGVmdAAAAACAcCyNQAhGbGlwSG9yaXpvbnRhbGx5AAAIRmxpcEhvcml6b250YWxseUFwcGxpZWQAAAhGbGlwVmVydGljYWxseQAACEZsaXBWZXJ0aWNhbGx5QXBwbGllZAAAAVJvdGF0aW9uAAAAAAAAAAAAAVpPcmRlcgAAAAAAAAAk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AAANMZWZ0Tm90ZXMApAYAAANOb3RlSGVhZGVyAJMGAAAFTWFuYWdlZElkABAAAAAEAN+s7vRS50OT+W/Zn9qX5ghIYXNDaGFuZ2VzAAEIVXNlTmFtZUluc3RlYWRPZlRhZ0FzSWQAAAhTaGFwZVByZXZpb3VzbHlDcmVhdGVkAAADRmlsbENvbG9yAFUAAAAQQQAAAAAAEFIAAAAAABBHAAAAAAAQQgAAAAAAAVNjQQAAAAAAAADwvwFTY1IAAAAAAAAA8L8BU2NHAAAAAAAAAPC/AVNjQgAAAAAAAADwvwAQRmlsbFRoZW1lQ29sb3IAAAAAAAFGaWxsVGludEFuZFNoYWRlAAAAAAAAAAAAEEZpbGxTY2hlbWVDb2xvcgAAAAAAA1BhdHRlcm5Db2xvcgBVAAAAEEEA/wAAABBSAP8AAAAQRwD/AAAAEEIA/wAAAAFTY0EAAAAAAAAA8D8BU2NSAAAAAAAAAPA/AVNjRwAAAAAAAADwPwFTY0IAAAAAAAAA8D8AEFBhdHRlcm5UaGVtZUNvbG9yAAAAAAABUGF0dGVyblRpbnRBbmRTaGFkZQAAAAAAAAAAAAhGaWxsVmlzaWJsZQABCFZpc2libGUAAAJGaWxsUGF0dGVybgAQAAAAbXNvUGF0dGVybk1peGVkAAJUZXh0AAEAAAAAAlRleHRIb3Jpem9udGFsQWxpZ25tZW50AA4AAABtc29BbmNob3JOb25lAAJQYXJhZ3JhcGhBbGlnbm1lbnQADQAAAG1zb0FsaWduTGVmdAACVGV4dFZlcnRpY2FsQWxpZ25tZW50AA0AAABtc29BbmNob3JUb3AAA0ZvbnRTdHlsZQBAAQAAEEZvbnRCYWNrZ3JvdW5kAAAAAAAIRm9udEJvbGQAAANGb250Q29sb3IAVQAAABBBAP8AAAAQUgAQAAAAEEcAOAAAABBCAE8AAAABU2NBAAAAAAAAAPA/AVNjUgAAAADgNjl1PwFTY0cAAAAAgGc/pD8BU2NCAAAAAGAXBLQ/ABBGb250VGhlbWVDb2xvcgAAAAAAAUZvbnRUaW50QW5kU2hhZGUAAAAAAAAAAAAQRm9udFNjaGVtZUNvbG9yAAAAAAAIRm9udEl0YWxpYwAAAkZvbnROYW1lAAYAAABBcmlhbAABRm9udFNpemUAAAAAAAAAKEAIRm9udFN0cmlrZXRocm91Z2gAAAhGb250U3Vic2NyaXB0AAAIRm9udFN1cGVyc2NyaXB0AAAIRm9udFVuZGVybGluZQAAAAhTaXplVG9UZXh0V2lkdGgAAAhTaXplVG9UZXh0SGVpZ2h0AAADVGV4dE1hcmdpbgA/AAAAAUxlZnQAAAAAAAAAAAABVG9wAAAAAAAAAAAAAVJpZ2h0AAAAAAAAAAAAAUJvdHRvbQAAAAAAAAAAAAACRGlzcGxheVRleHQAAQAAAAABSGVpZ2h0AAAAAAAAAPA/AVdpZHRoAAAAAAAAAPA/AVRvcAAAAAAAjJZxQAFMZWZ0AAAAAEBl9o1ACEZsaXBIb3Jpem9udGFsbHkAAAhGbGlwSG9yaXpvbnRhbGx5QXBwbGllZAAACEZsaXBWZXJ0aWNhbGx5AAAIRmxpcFZlcnRpY2FsbHlBcHBsaWVkAAABUm90YXRpb24AAAAAAAAAAAABWk9yZGVyAAAAAAAAAAAAA0JvcmRlckNvbG9yAFUAAAAQQQAAAAAAEFIA/wAAABBHAP8AAAAQQgD/AAAAAVNjQQAAAAAAAAAAAAFTY1IAAAAAAAAA8D8BU2NHAAAAAAAAAPA/AVNjQgAAAAAAAADwPw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ADUmlnaHROb3RlcwCkBgAAA05vdGVIZWFkZXIAkwYAAAVNYW5hZ2VkSWQAEAAAAASllUGS9ejhQIGqH7UAAAAFtAAAAP////9fDYgCAAAAAAAAAAD3IRyRtQhIYXNDaGFuZ2VzAAEIVXNlTmFtZUluc3RlYWRPZlRhZ0FzSWQAAAhTaGFwZVByZXZpb3VzbHlDcmVhdGVkAAADRmlsbENvbG9yAFUAAAAQQQAAAAAAEFIAAAAAABBHAAAAAAAQQgAAAAAAAVNjQQAAAAAAAADwvwFTY1IAAAAAAAAA8L8BU2NHAAAAAAAAAPC/AVNjQgAAAAAAAADwvwAQRmlsbFRoZW1lQ29sb3IAAAAAAAFGaWxsVGludEFuZFNoYWRlAAAAAAAAAAAAEEZpbGxTY2hlbWVDb2xvcgAAAAAAA1BhdHRlcm5Db2xvcgBVAAAAEEEA/wAAABBSAP8AAAAQRwD/AAAAEEIA/wAAAAFTY0EAAAAAAAAA8D8BU2NSAAAAAAAAAPA/AVNjRwAAAAAAAADwPwFTY0IAAAAAAAAA8D8AEFBhdHRlcm5UaGVtZUNvbG9yAAAAAAABUGF0dGVyblRpbnRBbmRTaGFkZQAAAAAAAAAAAAhGaWxsVmlzaWJsZQABCFZpc2libGUAAAJGaWxsUGF0dGVybgAQAAAAbXNvUGF0dGVybk1peGVkAAJUZXh0AAEAAAAAAlRleHRIb3Jpem9udGFsQWxpZ25tZW50AA4AAABtc29BbmNob3JOb25lAAJQYXJhZ3JhcGhBbGlnbm1lbnQADQAAAG1zb0FsaWduTGVmdAACVGV4dFZlcnRpY2FsQWxpZ25tZW50AA0AAABtc29BbmNob3JUb3AAA0ZvbnRTdHlsZQBAAQAAEEZvbnRCYWNrZ3JvdW5kAAAAAAAIRm9udEJvbGQAAANGb250Q29sb3IAVQAAABBBAP8AAAAQUgAQAAAAEEcAOAAAABBCAE8AAAABU2NBAAAAAAAAAPA/AVNjUgAAAADgNjl1PwFTY0cAAAAAgGc/pD8BU2NCAAAAAGAXBLQ/ABBGb250VGhlbWVDb2xvcgAAAAAAAUZvbnRUaW50QW5kU2hhZGUAAAAAAAAAAAAQRm9udFNjaGVtZUNvbG9yAAAAAAAIRm9udEl0YWxpYwAAAkZvbnROYW1lAAYAAABBcmlhbAABRm9udFNpemUAAAAAAAAAKEAIRm9udFN0cmlrZXRocm91Z2gAAAhGb250U3Vic2NyaXB0AAAIRm9udFN1cGVyc2NyaXB0AAAIRm9udFVuZGVybGluZQAAAAhTaXplVG9UZXh0V2lkdGgAAAhTaXplVG9UZXh0SGVpZ2h0AAADVGV4dE1hcmdpbgA/AAAAAUxlZnQAAAAAAAAAAAABVG9wAAAAAAAAAAAAAVJpZ2h0AAAAAAAAAAAAAUJvdHRvbQAAAAAAAAAAAAACRGlzcGxheVRleHQAAQAAAAABSGVpZ2h0AAAAAAAAAPA/AVdpZHRoAAAAAAAAAPA/AVRvcAAAAAAAjJZxQAFMZWZ0AAAAAEBl9o1ACEZsaXBIb3Jpem9udGFsbHkAAAhGbGlwSG9yaXpvbnRhbGx5QXBwbGllZAAACEZsaXBWZXJ0aWNhbGx5AAAIRmxpcFZlcnRpY2FsbHlBcHBsaWVkAAABUm90YXRpb24AAAAAAAAAAAABWk9yZGVyAAAAAAAAAAAAA0JvcmRlckNvbG9yAFUAAAAQQQAAAAAAEFIA/wAAABBHAP8AAAAQQgD/AAAAAVNjQQAAAAAAAAAAAAFTY1IAAAAAAAAA8D8BU2NHAAAAAAAAAPA/AVNjQgAAAAAAAADwPw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ADVG9wQ292ZXIAogYAAANUb3BDb3ZlcgCTBgAAAkF1dG9TaGFwZVR5cGUACgAAAFJlY3RhbmdsZQAFTWFuYWdlZElkABAAAAAEKycnCpfT3EugeNl3ErK0tghIYXNDaGFuZ2VzAAAIVXNlTmFtZUluc3RlYWRPZlRhZ0FzSWQAAAhTaGFwZVByZXZpb3VzbHlDcmVhdGVkAAEDRmlsbENvbG9yAFUAAAAQQQAAAAAAEFIA/wAAABBHAP8AAAAQQgD/AAAAAVNjQQAAAAAAAAAAAAFTY1IAAAAAAAAA8D8BU2NHAAAAAAAAAPA/AVNjQgAAAAAAAADwP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QJGaWxsUGF0dGVybgAQAAAAbXNvUGF0dGVybk1peGVkAAJUZXh0AAIAAAAg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CRGlzcGxheVRleHQAAgAAACAAAUhlaWdodAAAAABAG8mAQAFXaWR0aAAAAAAAg9uNQAFUb3AAAAAAAM5HEUABTGVmdAAAAAAASuIKQAhGbGlwSG9yaXpvbnRhbGx5AAAIRmxpcEhvcml6b250YWxseUFwcGxpZWQAAAhGbGlwVmVydGljYWxseQAACEZsaXBWZXJ0aWNhbGx5QXBwbGllZAAAAVJvdGF0aW9uAAAAAAAAAAAAAVpPcmRlcgAAAAAAAECP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AAAJOYW1lABIAAABHbG9iYWxSZW5kZXJJbmZvcwAQVmVyc2lvbgABAAAACUxhc3RXcml0ZQAttev2j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2AAAABakAAADAAAAA5w8AAAAAAAAAAAAA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BFRyYWZmaWNMaWdodERhdGEABQAAAAAESGFydmV5QmFsbERhdGEABQAAAAACVHJhZmZpY0xpZ2h0U3RhdGUABAAAAE9mZgAEQ2hlY2tCb3hEYXRhAAUAAAAAAkNoZWNrQm94U3RhdGUABQAAAE5vbmUAAANSaWdodE5vdGVzUmVuZGVySW5mbwCbFAAAA0xhYmVsAHQGAAAFTWFuYWdlZElkABAAAAAExUJS1ycrDkWhNjBr0sy9MAhIYXNDaGFuZ2VzAAEIVXNlTmFtZUluc3RlYWRPZlRhZ0FzSWQAAAhTaGFwZVByZXZpb3VzbHlDcmVhdGVkAAA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AJGaWxsUGF0dGVybgAQAAAAbXNvUGF0dGVybk1peGVkAAJUZXh0AAEAAAA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JEaXNwbGF5VGV4dAABAAAAAAFIZWlnaHQAAAAAAAAA8D8BV2lkdGgAAAAAAAAA8D8BVG9wAAAAAACMlnFAAUxlZnQAAAAAQGX2jU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NlcGFyYXRvckxpbmUA/gYAAANTdGFydAAbAAAAAVgAzczMFjLzjUABWQAAAADg28ZxQAADRW5kABsAAAABWAAzMzN9mPmNQAFZAAAAAODbxnFAAAJTdGFydEFycm93SGVhZAARAAAAbXNvQXJyb3doZWFkTm9uZQACRW5kQXJyb3dIZWFkABEAAABtc29BcnJvd2hlYWROb25lAAVNYW5hZ2VkSWQAEAAAAAQqoab0Lp8MRKieNof7V4zjCEhhc0NoYW5nZXMAAQhVc2VOYW1lSW5zdGVhZE9mVGFnQXNJZAAACFNoYXBlUHJldmlvdXNseUNyZWF0ZWQAAA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QAAQAAA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kRpc3BsYXlUZXh0AAEAAAAAAUhlaWdodAAAAAAAAAAAAAFXaWR0aAAAAACgmZnpPwFUb3AAAAAA4NvGcUABTGVmdAAAAAAgMvONQAhGbGlwSG9yaXpvbnRhbGx5AAAIRmxpcEhvcml6b250YWxseUFwcGxpZWQAAAhGbGlwVmVydGljYWxseQAACEZsaXBWZXJ0aWNhbGx5QXBwbGllZAAAAVJvdGF0aW9uAAAAAAAAAAAAAVpPcmRlcgAAAAAAAIBVQANCb3JkZXJDb2xvcgBVAAAAEEEA/wAAABBSAOMAAAAQRwDjAAAAEEIA4wAAAAFTY0EAAAAAAAAA8D8BU2NSAAAAAMCxlOg/AVNjRwAAAADAsZToPwFTY0IAAAAAwLGU6D8AEEJvcmRlclRoZW1lQ29sb3IAAAAAAAFCb3JkZXJUaW50QW5kU2hhZGUAAAAAAAAAAAAQQm9yZGVyU2NoZW1lQ29sb3IAAAAAAAFCb3JkZXJUaGlja25lc3MAAAAAAAAA8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mVjdGFuZ2xlAJEGAAACQXV0b1NoYXBlVHlwZQAKAAAAUmVjdGFuZ2xlAAVNYW5hZ2VkSWQAEAAAAASISna6yLdxSL8im/0BgkeVCEhhc0NoYW5nZXMAAQhVc2VOYW1lSW5zdGVhZE9mVGFnQXNJZAAACFNoYXBlUHJldmlvdXNseUNyZWF0ZWQAAANGaWxsQ29sb3IAVQAAABBBAAAAAAAQUgD/AAAAEEcA/wAAABBCAP8AAAABU2NBAAAAAAAAAAAAAVNjUgAAAAAAAADwPwFTtwAAAAXKAAAA3AAAAOcPAAAAAAAAAAAAAH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oJmZ6T8BVG9wAAAAAACJNnBAAUxlZnQAAAAAIDLzjUAIRmxpcEhvcml6b250YWxseQAACEZsaXBIb3Jpem9udGFsbHlBcHBsaWVkAAAIRmxpcFZlcnRpY2FsbHkAAAhGbGlwVmVydGljYWxseUFwcGxpZWQAAAFSb3RhdGlvbgAAAAAAAAAAAAFaT3JkZXIAAAAAAACAVUADQm9yZGVyQ29sb3IAVQAAABBBAP8AAAAQUgDjAAAAEEcA4wAAABBCAOMAAAABU2NBAAAAAAAAAPA/AVNjUgAAAADAsZToPwFTY0cAAAAAwLGU6D8BU2NCAAAAAMCxlOg/ABBCb3JkZXJUaGVtZUNvbG9yAAAAAAABQm9yZGVyVGludEFuZFNoYWRlAAAAAAAAAAAAEEJvcmRlclNjaGVtZUNvbG9yAAAAAAABQm9yZGVyVGhpY2tuZXNzAAAAAAAAAPA/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JlY3RhbmdsZQB0BgAAAkF1dG9TaGFwZVR5cGUACgAAAFJlY3RhbmdsZQAFTWFuYWdlZElkABAAAAAEYBCIkpks0027/N4iMdLH7QhIYXNDaGFuZ2VzAAEIVXNlTmFtZUluc3RlYWRPZlRhZ0FzSWQAAAhTaGFwZVByZXZpb3VzbHlDcmVhdGVkAAADRmlsbENvbG9yAFUAAAAQQQAAAAAAEFIA/wAAABBHAP8AAAAQQgD/AAAAAVNjQQAAAAAAAAAAAAFTY1IAAAAAAAAA8D8BU2NHAAAAAAAAAPA/AVNjQgAAAAAAAADwP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A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EAtBThAAVdpZHRoAAAAAAAAAAAAAVRvcAAAAACAbGxtQAFMZWZ0AAAAAEBl7o1ACEZsaXBIb3Jpem9udGFsbHkAAAhGbGlwSG9yaXpvbnRhbGx5QXBwbGllZAAACEZsaXBWZXJ0aWNhbGx5AAAIRmxpcFZlcnRpY2FsbHlBcHBsaWVkAAABUm90YXRpb24AAAAAAAAAAAABWk9yZGVyAAAAAAAAQFV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RUcmFmZmljTGlnaHREYXRhAAUAAAAABEhhcnZleUJhbGxEYXRhAAUAAAAAAlRyYWZmaWNMaWdodFN0YXRlAAQAAABPZmYABENoZWNrQm94RGF0YQAFAAAAAAJDaGVja0JveFN0YXRlAAUAAABOb25lAAADTGVmdFNpZGVSZW5kZXJJbmZvABoUAAADTGFiZWwAnwYAAAVNYW5hZ2VkSWQAEAAAAATByBHUwN6vT4yXDYE6YCZCCEhhc0NoYW5nZXMAAAhVc2VOYW1lSW5zdGVhZE9mVGFnQXNJZAAACFNoYXBlUHJldmlvdXNseUNyZWF0ZWQAAQ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QABwAAAE9FRSBEQQACVGV4dEhvcml6b250YWxBbGlnbm1lbnQADgAAAG1zb0FuY2hvck5vbmUAAlBhcmFncmFwaEFsaWdubWVudAANAAAAbXNvQWxpZ25MZWZ0AAJUZXh0VmVydGljYWxBbGlnbm1lbnQADQAAAG1zb0FuY2hvclRvcAADRm9udFN0eWxlAEABAAAQRm9udEJhY2tncm91bmQAAAAAAAhGb250Qm9sZAAAA0ZvbnRDb2xvcgBVAAAAEEEA/wAAABBSABAAAAAQRwA4AAAAEEIATwAAAAFTY0EAAAAAAAAA8D8BU2NSAAAAAOA2OXU/AVNjRwAAAACAZz+kPwFTY0IAAAAAYBcEtD8AEEZvbnRUaGVtZUNvbG9yAAAAAAABRm9udFRpbnRBbmRTaGFkZQAAAAAAAAAAABBGb250U2NoZW1lQ29sb3IAAAAAAAhGb250SXRhbGljAAACRm9udE5hbWUABgAAAEFyaWFsAAFGb250U2l6ZQAAAAAAAAAoQAhGb250U3RyaWtldGhyb3VnaAAACEZvbnRTdWJzY3JpcHQAAAhGb250U3VwZXJzY3JpcHQAAAhGb250VW5kZXJsaW5lAAAACFNpemVUb1RleHRXaWR0aAAACFNpemVUb1RleHRIZWlnaHQAAANUZXh0TWFyZ2luAD8AAAABTGVmdAAAAAAAAAAAAAFUb3AAAAAAAAAAAAABUmlnaHQAAAAAAAAAAAABQm90dG9tAAAAAAAAAAAAAAJEaXNwbGF5VGV4dAAHAAAAT0VFIERBAAFIZWlnaHQAAAAAwKi7KkABV2lkdGgAAAAAYPLrSEABVG9wAAAAAADiGm5AAUxlZnQAAAAAgJK4KkAIRmxpcEhvcml6b250YWxseQAACEZsabgAAAAFyQAAALsAAADnDwAAAAAAAAAAAABACEZsaXBIb3Jpem9udGFsbHkAAAhGbGlwSG9yaXpvbnRhbGx5QXBwbGllZAAACEZsaXBWZXJ0aWNhbGx5AAAIRmxpcFZlcnRpY2FsbHlBcHBsaWVkAAABUm90YXRpb24AAAAAAAAAAAABWk9yZGVyAAAAAAAAAD5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SZWN0YW5nbGUAdAYAAAJBdXRvU2hhcGVUeXBlAAoAAABSZWN0YW5nbGUABU1hbmFnZWRJZAAQAAAABAykcV8YaqZGuEbyZVFkA7cISGFzQ2hhbmdlcwAACFVzZU5hbWVJbnN0ZWFkT2ZUYWdBc0lkAAAIU2hhcGVQcmV2aW91c2x5Q3JlYXRlZAAAA0ZpbGxDb2xvcgBVAAAAEEEAAAAAABBSAP8AAAAQRwD/AAAAEEIA/wAAAAFTY0EAAAAAAAAAAAABU2NSAAAAAAAAAPA/AVNjRwAAAAAAAADwPwFTY0IAAAAAAAAA8D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A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BALQU4QAFXaWR0aAAAAAAAg9uNQAFUb3AAAAAAgGxsbUABTGVmdAAAAAAASuIKQAhGbGlwSG9yaXpvbnRhbGx5AAAIRmxpcEhvcml6b250YWxseUFwcGxpZWQAAAhGbGlwVmVydGljYWxseQAACEZsaXBWZXJ0aWNhbGx5QXBwbGllZAAAAVJvdGF0aW9uAAAAAAAAAAAAAVpPcmRlcgAAAAAAAAAm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2VwYXJhdG9yTGluZQDhBgAAA1N0YXJ0ABsAAAABWADNzMzMFq8HQAFZAA6+NwyJNnBAAANFbmQAGwAAAAFYADMzM32Y+Y1AAVkADr43DIk2cEAAAlN0YXJ0QXJyb3dIZWFkABEAAABtc29BcnJvd2hlYWROb25lAAJFbmRBcnJvd0hlYWQAEQAAAG1zb0Fycm93aGVhZE5vbmUABU1hbmFnZWRJZAAQAAAABARoUFh0ietLsMdkUAF3bf0ISGFzQ2hhbmdlcwAACFVzZU5hbWVJbnN0ZWFkT2ZUYWdBc0lkAAAIU2hhcGVQcmV2aW91c2x5Q3JlYXRlZAAA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Bg6eGNQAFUb3AAAAAAAIk2cEABTGVmdAAAAADAFq8HQAhGbGlwSG9yaXpvbnRhbGx5AAAIRmxpcEhvcml6b250YWxseUFwcGxpZWQAAAhGbGlwVmVydGljYWxseQAACEZsaXBWZXJ0aWNhbGx5QXBwbGllZAAAAVJvdGF0aW9uAAAAAAAAAAAAAVpPcmRlcgAAAAAAAAAoQANCb3JkZXJDb2xvcgBVAAAAEEEA/wAAABBSAOMAAAAQRwDjAAAAEEIA4wAAAAFTY0EAAAAAAAAA8D8BU2NSAAAAAMCxlOg/AVNjRwAAAADAsZToPwFTY0IAAAAAwLGU6D8AEEJvcmRlclRoZW1lQ29sb3IAAAAAAAFCb3JkZXJUaW50QW5kU2hhZGUAAAAAAAAAAAAQQm9yZGVyU2NoZW1lQ29sb3IAAAAAAAFCb3JkZXJUaGlja25lc3MAAAAAAAAA8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AA1N1bW1hcnlSZW5kZXJJbmZvAAkXAAADRnJlZWZvcm1SZWN0YW5nbGUA/AgAAARWZXJ0aWNlcwCbAgAAAzAALAAAABC5AAAABboAAAD/////SA+fAAAAAAAAAAAAAAAAAAFCb3JkZXJUaW50QW5kU2hhZGUAAAAAAAAAAAAQQm9yZGVyU2NoZW1lQ29sb3IAAAAAAAFCb3JkZXJUaGlja25lc3MAAAAAAAAA4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MwDhBgAAA1N0YXJ0ABsAAAABWAAK16NwPa6BQAFZAKRwPQrXK2pAAANFbmQAGwAAAAFYAArXo3A9roFAAVkAXI/C9SjMa0AAAlN0YXJ0QXJyb3dIZWFkABEAAABtc29BcnJvd2hlYWROb25lAAJFbmRBcnJvd0hlYWQAEQAAAG1zb0Fycm93aGVhZE5vbmUABU1hbmFnZWRJZAAQAAAABDpkERzzJthBjlv8O1+jcW8ISGFzQ2hhbmdlcwAACFVzZU5hbWVJbnN0ZWFkT2ZUYWdBc0lkAAAIU2hhcGVQcmV2aW91c2x5Q3JlYXRlZAAA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DAHgUqQAFXaWR0aAAAAAAAAAAAAAFUb3AAAAAAANcrakABTGVmdAAAAACAPa6BQAhGbGlwSG9yaXpvbnRhbGx5AAAIRmxpcEhvcml6b250YWxseUFwcGxpZWQAAAhGbGlwVmVydGljYWxseQAACEZsaXBWZXJ0aWNhbGx5QXBwbGllZAAAAVJvdGF0aW9uAAAAAAAAAAAAAVpPcmRlcgAAAAAAAMBSQANCb3JkZXJDb2xvcgBVAAAAEEEA/wAAABBSAP8AAAAQRwAxAAAAEEIAYgAAAAFTY0EAAAAAAAAA8D8BU2NSAAAAAAAAAPA/AVNjRwAAAABgWHOfPwFTY0IAAAAAoHxEvz8AEEJvcmRlclRoZW1lQ29sb3IAAAAAAAFCb3JkZXJUaW50QW5kU2hhZGUAAAAAAAAAAAAQQm9yZGVyU2NoZW1lQ29sb3IAAAAAAAFCb3JkZXJUaGlja25lc3MAAAAAAAAA4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NADhBgAAA1N0YXJ0ABsAAAABWAAK16NwPayBQAFZAFyPwvUoxGtAAANFbmQAGwAAAAFYAArXo3A9zoFAAVkAXI/C9SjEa0AAAlN0YXJ0QXJyb3dIZWFkABEAAABtc29BcnJvd2hlYWROb25lAAJFbmRBcnJvd0hlYWQAEQAAAG1zb0Fycm93aGVhZE5vbmUABU1hbmFnZWRJZAAQAAAABLj9z6+hjYJHhjgonYrpuXMISGFzQ2hhbmdlcwAACFVzZU5hbWVJbnN0ZWFkT2ZUYWdBc0lkAAAIU2hhcGVQcmV2aW91c2x5Q3JlYXRlZAAA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AAAAARQAFUb3AAAAAAACnEa0ABTGVmdAAAAACAPayBQAhGbGlwSG9yaXpvbnRhbGx5AAAIRmxpcEhvcml6b250YWxseUFwcGxpZWQAAAhGbGlwVmVydGljYWxseQAACEZsaXBWZXJ0aWNhbGx5QXBwbGllZAAAAVJvdGF0aW9uAAAAAAAAAAAAAVpPcmRlcgAAAAAAAMBSQANCb3JkZXJDb2xvcgBVAAAAEEEA/wAAABBSAP8AAAAQRwAxAAAAEEIAYgAAAAFTY0EAAAAAAAAA8D8BU2NSAAAAAAAAAPA/AVNjRwAAAABgWHOfPwFTY0IAAAAAoHxEvz8AEEJvcmRlclRoZW1lQ29sb3IAAAAAAAFCb3JkZXJUaW50QW5kU2hhZGUAAAAAAAAAAAAQQm9yZGVyU2NoZW1lQ29sb3IAAAAAAAFCb3JkZXJUaGlja25lc3MAAAAAAAAA4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AAAAAAk5hbWUACwAAAENvbm5lY3RvcnMAEFZlcnNpb24AAAAAAAlMYXN0V3JpdGUAfUrv9o4BAAAAAAAAAAAAAAAAAAAAAAAAAAAAAAAAAAAAAAAAAAAAAAAAAAAAAAAAAAAAAAAAAAAAAAAAAAAAAAAAAAAAAAAAAAAAAAAAAAAAAAAAAAAAAAAAAAAAAAAAAAAAAAAAAAAAAAAAAAAAAAAAAAAAAAAAAAAAAAAAAAAAAAAAAAAAAAAAAAAAAAAAAAAAAAAAAAAAAAAAAAAAAAAAAAAAAAAAugAAAAW8AAAAuQAAAOcPAAAAAAAAAAAAA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AAAAEUABVG9wAAAAACCFo2hAAUxlZnQAAAAAgD3OgUAIRmxpcEhvcml6b250YWxseQAACEZsaXBIb3Jpem9udGFsbHlBcHBsaWVkAAAIRmxpcFZlcnRpY2FsbHkAAAhGbGlwVmVydGljYWxseUFwcGxpZWQAAAFSb3RhdGlvbgAAAAAAAAAAAAFaT3JkZXIAAAAAAADAUkADQm9yZGVyQ29sb3IAVQAAABBBAP8AAAAQUgD/AAAAEEcAMQAAABBCAGIAAAABU2NBAAAAAAAAAPA/AVNjUgAAAAAAAADwPwFTY0cAAAAAYFhznz8BU2NCAAAAAKB8RL8/ABBCb3JkZXJUaGVtZUNvbG9yAAAAAAABQm9yZGVyVGludEFuZFNoYWRlAAAAAAAAAAAAEEJvcmRlclNjaGVtZUNvbG9yAAAAAAABQm9yZGVyVGhpY2tuZXNzAAAAAAAAAOA/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zEA4QYAAANTdGFydAAbAAAAAVgACtejcD3ugUABWQDsUbgehZtoQAADRW5kABsAAAABWAAK16NwPe6BQAFZAKRwPQrXO2pAAAJTdGFydEFycm93SGVhZAARAAAAbXNvQXJyb3doZWFkTm9uZQACRW5kQXJyb3dIZWFkABEAAABtc29BcnJvd2hlYWROb25lAAVNYW5hZ2VkSWQAEAAAAATnRHNJT1vJQKstV+kCV43kCEhhc0NoYW5nZXMAAAhVc2VOYW1lSW5zdGVhZE9mVGFnQXNJZAAACFNoYXBlUHJldmlvdXNseUNyZWF0ZWQAAA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wB4FKkABV2lkdGgAAAAAAAAAAAABVG9wAAAAACCFm2hAAUxlZnQAAAAAgD3ugUAIRmxpcEhvcml6b250YWxseQAACEZsaXBIb3Jpem9udGFsbHlBcHBsaWVkAAAIRmxpcFZlcnRpY2FsbHkAAAhGbGlwVmVydGljYWxseUFwcGxpZWQAAAFSb3RhdGlvbgAAAAAAAAAAAAFaT3JkZXIAAAAAAADAUkADQm9yZGVyQ29sb3IAVQAAABBBAP8AAAAQUgD/AAAAEEcAMQAAABBCAGIAAAABU2NBAAAAAAAAAPA/AVNjUgAAAAAAAADwPwFTY0cAAAAAYFhznz8BU2NCAAAAAKB8RL8/ABBCb3JkZXJUaGVtZUNvbG9yAAAAAAABQm9yZGVyVGludEFuZFNoYWRlAAAAAAAAAAAAEEJvcmRlclNjaGVtZUNvbG9yAAAAAAABQm9yZGVyVGhpY2tuZXNzAAAAAAAAAOA/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zIA4QYAAANTdGFydAAbAAAAAVgACtejcD2sgUABWQCkcD0K1zNqQAADRW5kABsAAAABWAAK16NwPfCBQAFZAKRwPQrXM2pAAAJTdGFydEFycm93SGVhZAARAAAAbXNvQXJyb3doZWFkTm9uZQACRW5kQXJyb3dIZWFkABEAAABtc29BcnJvd2hlYWROb25lAAVNYW5hZ2VkSWQAEAAAAASjESLl9217TbOqFfgPRmXaCEhhc0NoYW5nZXMAAAhVc2VOYW1lSW5zdGVhZE9mVGFnQXNJZAAACFNoYXBlUHJldmlvdXNseUNyZWF0ZWQAAA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AAAAIUABVG9wAAAAAADXM2pAAUxlZnQAAAAAgD2sgUAIRmxpcEhvcml6b250YWxseQAACEZsaXBIb3Jpem9udGFsbHlBcHBsaWVkAAAIRmxpcFZlcnRpY2FsbHkAAAhGbGlwVmVydGljYWxseUFwcGxpZWQAAAFSb3RhdGlvbgAAAAAAAAAAAAFaT3JkZXIAAAAAAADAUkADQm9yZGVyQ29sb3IAVQAAABBBAP8AAAAQUgD/AAAAEEcAMQAAABBCAGIAAAABU2NBAAAAAAAAAPA/AVNjUgAAAAAAAADwPwFTY0cAAAAAYFhznz8BU2NCAAAAAKB8RL8/ABBCb3JkZXJUaGVtZUNvbG9yALsAAAAFuAAAAMYAAADnDwAAAAAAAAAAAABJbmRleDAAAAAAABBJbmRleDEAAAAAAAFWYWx1ZQAAAAAARaiBQAADMQAsAAAAEEluZGV4MAAAAAAAEEluZGV4MQABAAAAAVZhbHVlAAAAAGAoK25AAAMyACwAAAAQSW5kZXgwAAEAAAAQSW5kZXgxAAAAAAABVmFsdWUAAAAAAEXQgUAAAzMALAAAABBJbmRleDAAAQAAABBJbmRleDEAAQAAAAFWYWx1ZQAAAABAv+xuQAADNAAsAAAAEEluZGV4MAACAAAAEEluZGV4MQAAAAAAAVZhbHVlAAAAAABFqIFAAAM1ACwAAAAQSW5kZXgwAAIAAAAQSW5kZXgxAAEAAAABVmFsdWUAAAAAQFaub0AAAzYALAAAABBJbmRleDAAAwAAABBJbmRleDEAAAAAAAFWYWx1ZQAAAADgvn6HQAADNwAsAAAAEEluZGV4MAADAAAAEEluZGV4MQABAAAAAVZhbHVlAAAAAEBWrm9AAAM4ACwAAAAQSW5kZXgwAAQAAAAQSW5kZXgxAAAAAAABVmFsdWUAAAAA4L6mh0AAAzkALAAAABBJbmRleDAABAAAABBJbmRleDEAAQAAAAFWYWx1ZQAAAABAv+xuQAADMTAALAAAABBJbmRleDAABQAAABBJbmRleDEAAAAAAAFWYWx1ZQAAAADgvn6HQAADMTEALAAAABBJbmRleDAABQAAABBJbmRleDEAAQAAAAFWYWx1ZQAAAABgKCtuQAADMTIALAAAABBJbmRleDAABgAAABBJbmRleDEAAAAAAAFWYWx1ZQAAAAAARaiBQAADMTMALAAAABBJbmRleDAABgAAABBJbmRleDEAAQAAAAFWYWx1ZQAAAABgKCtuQAAABU1hbmFnZWRJZAAQAAAABGLQoA0ajoJNn1IbttNivvMISGFzQ2hhbmdlcwAACFVzZU5hbWVJbnN0ZWFkT2ZUYWdBc0lkAAAIU2hhcGVQcmV2aW91c2x5Q3JlYXRlZAAAA0ZpbGxDb2xvcgBVAAAAEEEA/wAAABBSAEAAAAAQRwBgAAAAEEIAcgAAAAFTY0EAAAAAAAAA8D8BU2NSAAAAAMD9P6o/AVNjRwAAAABAyvG9PwFTY0IAAAAAANqJxT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DA3TIoQAFXaWR0aAAAAACA5/lnQAFUb3AAAAAAYCgrbkABTGVmdAAAAAAARaiBQAhGbGlwSG9yaXpvbnRhbGx5AAAIRmxpcEhvcml6b250YWxseUFwcGxpZWQAAAhGbGlwVmVydGljYWxseQAACEZsaXBWZXJ0aWNhbGx5QXBwbGllZAAAAVJvdGF0aW9uAAAAAAAAAAAAAVpPcmRlcgAAAAAAAABOQANCb3JkZXJDb2xvcgBVAAAAEEEA/wAAABBSAEAAAAAQRwBgAAAAEEIAcgAAAAFTY0EAAAAAAAAA8D8BU2NSAAAAAMD9P6o/AVNjRwAAAABAyvG9PwFTY0IAAAAAANqJxT8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QmFyU3R5bGVEYXRhACQAAAACQmFyU3R5bGVTaGFwZVR5cGUACAAAAENoZXZyb24AAANMYWJlbADMBgAABU1hbmFnZWRJZAAQAAAABENXDC+2DNFCkefpl6jWA0wISGFzQ2hhbmdlcwAACFVzZU5hbWVJbnN0ZWFkT2ZUYWdBc0lkAAAIU2hhcGVQcmV2aW91c2x5Q3JlYXRlZAABA0ZpbGxDb2xvcgBVAAAAEEEA/wAAABBSAEAAAAAQRwBgAAAAEEIAcgAAAAFTY0EAAAAAAAAA8D8BU2NSAAAAAMD9P6o/AVNjRwAAAABAyvG9PwFTY0IAAAAAANqJxT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AAcAAAAN+KAiy8xMy8yMDI0IC0gOC8xOC8yMDLigIs0AAJUZXh0SG9yaXpvbnRhbEFsaWdubWVudAAOAAAAbXNvQW5jaG9yTm9uZQACUGFyYWdyYXBoQWxpZ25tZW50AA0AAABtc29BbGlnbkxlZnQAAlRleHRWZXJ0aWNhbEFsaWdubWVudAAQAAAAbXNvQW5jaG9yTWlkZGxlAANGb250U3R5bGUAQAEAABBGb250QmFja2dyb3VuZAAAAAAACEZvbnRCb2xkAAADRm9udENvbG9yAFUAAAAQQQD/AAAAEFIA/wAAABBHAP8AAAAQQgD/AAAAAVNjQQAAAAAAAADwPwFTY1IAAAAAAAAA8D8BU2NHAAAAAAAAAPA/AVNjQgAAAAAAAADwPwAQRm9udFRoZW1lQ29sb3IAAAAAAAFGb250VGludEFuZFNoYWRlAAAAAAAAAAAAEEZvbnRTY2hlbWVDb2xvcgAAAAAACEZvbnRJdGFsaWMAAAJGb250TmFtZQAGAAAAQXJpYWwAAUZvbnRTaXplAAAAAAAAACRACEZvbnRTdHJpa2V0aHJvdWdoAAAIRm9udFN1YnNjcmlwdAAACEZvbnRTdXBlcnNjcmlwdAAACEZvbnRVbmRlcmxpbmUAAAAIU2l6ZVRvVGV4dFdpZHRoAAAIU2l6ZVRvVGV4dEhlaWdodAAAA1RleHRNYXJnaW4APwAAAAFMZWZ0AAAAAAAAAAAAAVRvcAAAAAAAAAAAAAFSaWdodAAAAAAAAAAAAAFCb3R0b20AAAAAAAAAAAAAAkRpc3BsYXlUZXh0ABwAAAA34oCLLzEzLzIwMjQgLSA4LzE4LzIwMuKAizQAAUhlaWdodAAAAABg3wsnQAFXaWR0aAAAAADAHnVYQAFUb3AAAAAA4Ho0bkABTGVmdAAAAADAqviBQAhGbGlwSG9yaXpvbnRhbGx5AAAIRmxpcEhvcml6b250YWxseUFwcGxpZWQAAAhGbGlwVmVydGljYWxseQAACEZsaXBWZXJ0aWNhbGx5QXBwbGllZAAAAVJvdGF0aW9uAAAAAAAAAAAAAVpPcmRlcgAAAAAAAIBO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C8AAAABb8AAAC6AAAA5w8AAAAAAAAAAAAACExpbmVSdWxlQmVmb3JlAAAITGluZVJ1bGVXaXRoaW4AAAFSaWdodEluZGVudAAAAAAAAAAAAAFTcGFjZUFmdGVyAAAAAAAAAAAAAVNwYWNlQmVmb3JlAAAAAAAAAAAAAVNwYWNlV2l0aGluAAAAAAAAAAAAAAM0AOEGAAADU3RhcnQAGwAAAAFYAFyPwvUouHxAAVkA7FG4HoWjaEAAA0VuZAAbAAAAAVgAXI/C9Sj8fEABWQDsUbgehaNoQAACU3RhcnRBcnJvd0hlYWQAEQAAAG1zb0Fycm93aGVhZE5vbmUAAkVuZEFycm93SGVhZAARAAAAbXNvQXJyb3doZWFkTm9uZQAFTWFuYWdlZElkABAAAAAEijHLqZ+h30Oa45/ynYNxnwhIYXNDaGFuZ2VzAAAIVXNlTmFtZUluc3RlYWRPZlRhZ0FzSWQAAAhTaGFwZVByZXZpb3VzbHlDcmVhdGVkAAA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AAAAAAAAVdpZHRoAAAAAAAAABFAAVRvcAAAAAAghaNoQAFMZWZ0AAAAAAApuHxACEZsaXBIb3Jpem9udGFsbHkAAAhGbGlwSG9yaXpvbnRhbGx5QXBwbGllZAAACEZsaXBWZXJ0aWNhbGx5AAAIRmxpcFZlcnRpY2FsbHlBcHBsaWVkAAABUm90YXRpb24AAAAAAAAAAAABWk9yZGVyAAAAAAAAwFJAA0JvcmRlckNvbG9yAFUAAAAQQQD/AAAAEFIA/wAAABBHADEAAAAQQgBiAAAAAVNjQQAAAAAAAADwPwFTY1IAAAAAAAAA8D8BU2NHAAAAAGBYc58/AVNjQgAAAACgfES/PwAQQm9yZGVyVGhlbWVDb2xvcgAAAAAAAUJvcmRlclRpbnRBbmRTaGFkZQAAAAAAAAAAABBCb3JkZXJTY2hlbWVDb2xvcgAAAAAAAUJvcmRlclRoaWNrbmVzcwAAAAAAAADg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AAAAMzAH8nAAAISXNGaXhlZAAAA1N0YXJ0ACsAAAAQX2lkAAgAAAAQSW5kZXgAAQAAAAJQb3NpdGlvbgAEAAAARW5kAAADRW5kAC0AAAAQX2lkAAQAAAAQSW5kZXgAAQAAAAJQb3NpdGlvbgAGAAAAU3RhcnQAAANTdHlsZQB0BAAAAURlZmF1bHRGb250U2l6ZQAAAAAAAAAkQAFGb250U2l6ZQAAAAAAAAAAAANGb250Q29sb3IAVQAAABBBAP8AAAAQUgAQAAAAEEcAOAAAABBCAE8AAAABU2NBAAAAAAAAAPA/AVNjUgAAAADgNjl1PwFTY0cAAAAAgGc/pD8BU2NCAAAAAGAXBLQ/ABBGb250VGhlbWVDb2xvcgAAAAAAEEZvbnRTY2hlbWVDb2xvcgAAAAAAAUZvbnRUaW50QW5kU2hhZGUAAAAAAAAAAAADUGF0dGVybkNvbG9yAFUAAAAQQQAAAAAAEFIAAAAAABBHAAAAAAAQQgAAAAAAAVNjQQAAAAAAAAAAAAFTY1IAAAAAAAAAAAABU2NHAAAAAAAAAAAAAVNjQgAAAAAAAAAAAAAQUGF0dGVyblRoZW1lQ29sb3IAAAAAAAFQYXR0ZXJuVGludEFuZFNoYWRlAAAAAAAAAAAAA0RhdGFTdHlsZUZvbnRDb2xvclZhbHVlAFUAAAAQQQAAAAAAEFIAAAAAABBHAAAAAAAQQgAAAAAAAVNjQQAAAAAAAAAAAAFTY1IAAAAAAAAAAAABU2NHAAAAAAAAAAAAAVNjQgAAAAAAAAAAAAAIRGF0YVN0eWxlRm9udENvbG9ySGFzVmFsdWUAAAFIZWlnaHQAAAAAAAAAAAACRGFzaFN0eWxlAA0AAABtc29MaW5lU29saWQACEhhc1dpc2hGaWxsQ29sb3IAAANGaWxsQ29sb3IAVQAAABBBAP8AAAAQUgD/AAAAEEcAMQAAABBCAGIAAAABU2NBAAAAAAAAAPA/AVNjUgAAAAAAAADwPwFTY0cAAAAAYFhznz8BU2NCAAAAAKB8RL8/ABBGaWxsU2NoZW1lQ29sb3IAAAAAABBGaWxsVGhlbWVDb2xvcgAAAAAAAUZpbGxUaW50QW5kU2hhZGUAAAAAAAAAAAADQm9yZGVyQ29sb3IAVQAAABBBAP8AAAAQUgD/AAAAEEcAMQAAABBCAGIAAAABU2NBAAAAAAAAAPA/AVNjUgAAAAAAAADwPwFTY0cAAAAAYFhznz8BU2NCAAAAAKB8RL8/ABBCb3JkZXJUaGVtZUNvbG9yAAAAAAABQm9yZGVyVGludEFuZFNoYWRlAAAAAAAAAAAACElzRmlsbGVkAAECUGF0dGVybgAQAAAAbXNvUGF0dGVybk1peGVkAAJTaGFwZVR5cGUADgAAAG1zb1NoYXBlTWl4ZWQAA0xhYmVsT2Zmc2V0AEIAAAABWAAAAAAAAAAAAAFZAAAAAAAAAAAAAUxlbmd0aAAAAAAAAAAAAAFMZW5ndGhTcXVhcmVkAAAAAAAAAAAAAAFCb3JkZXJUaGlja25lc3MAAAAAAAAA4D8ISXNGb250Qm9sZAAACElzRm9udEl0YWxpYwAACElzRm9udFVuZGVybGluZWQAAAhMYWJlbEhhc0JhY2tncm91bmQAAAJUZXh0QWxpZ25tZW50AAUAAABMZWZ0AAADUmVuZGVySW5mbwCFIgAABExpbmVzAHkiAAADMADhBgAAA1N0YXJ0ABsAAAABWAAK16NwPc6BQAFZAOxRuB6Fo2hAAANFbmQAGwAAAAFYAArXo3A98IFAAVkA7FG4HoWjaEAAAlN0YXJ0QXJyb3dIZWFkABEAAABtc29BcnJvd2hlYWROb25lAAJFbmRBcnJvd0hlYWQAEQAAAG1zb0Fycm93aGVhZE5vbmUABU1hbmFnZWRJZAAQAAAABLCDgaxbmDtCuiqKqdcgSAgISGFzQ2hhbmdlcwAACFVzZU5hbWVJbnN0ZWFkT2ZUYWdBc0lkAAAIU2hhcGVQcmV2aW91c2x5Q3JlYXRlZAAA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vQAAAAXUAAAAzwAAAOcPAAAAAAAAAAAAA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wN0yKEABV2lkdGgAAAAAwN0yKEABVG9wAAAAAOA5NnJAAUxlZnQAAAAAIFl2h0AIRmxpcEhvcml6b250YWxseQAACEZsaXBIb3Jpem9udGFsbHlBcHBsaWVkAAAIRmxpcFZlcnRpY2FsbHkAAAhGbGlwVmVydGljYWxseUFwcGxpZWQAAAFSb3RhdGlvbgAAAAAAAAAAAAFaT3JkZXIAAAAAAACAVEADQm9yZGVyQ29sb3IAVQAAABBBAP8AAAAQUgD/AAAAEEcA/wAAABBCAP8AAAABU2NBAAAAAAAAAPA/AVNjUgAAAAAAAADwPwFTY0cAAAAAAAAA8D8BU2NCAAAAAAAAAPA/ABBCb3JkZXJUaGVtZUNvbG9yAAAAAAABQm9yZGVyVGludEFuZFNoYWRlAAAAAAAAAAAAEEJvcmRlclNjaGVtZUNvbG9yAAAAAAABQm9yZGVyVGhpY2tuZXNzAAAAAAAAAPA/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xhYmVsAMMGAAAFTWFuYWdlZElkABAAAAAEhhNgEHk4TkadKqX2D2uDsghIYXNDaGFuZ2VzAAAIVXNlTmFtZUluc3RlYWRPZlRhZ0FzSWQAAAhTaGFwZVByZXZpb3VzbHlDcmVhdGVkAAEDRmlsbENvbG9yAFUAAAAQQQD/AAAAEFIAAAAAABBHAJEAAAAQQgDfAAAAAVNjQQAAAAAAAADwPwFTY1IAAAAAAAAAAAABU2NHAAAAAAAcH9I/AVNjQgAAAABg9pznP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AB0AAAA44oCLLzE4LzIwMuKAizQgRGFzaGJvYXJkIHYxAAJUZXh0SG9yaXpvbnRhbEFsaWdubWVudAAOAAAAbXNvQW5jaG9yTm9uZQACUGFyYWdyYXBoQWxpZ25tZW50AAIAAAAwAAJUZXh0VmVydGljYWxBbGlnbm1lbnQAEAAAAG1zb0FuY2hvck1pZGRsZQADRm9udFN0eWxlAEABAAAQRm9udEJhY2tncm91bmQAAAAAAAhGb250Qm9sZAAAA0ZvbnRDb2xvcgBVAAAAEEEA/wAAABBSABAAAAAQRwA4AAAAEEIATwAAAAFTY0EAAAAAAAAA8D8BU2NSAAAAAOA2OXU/AVNjRwAAAACAZz+kPwFTY0IAAAAAYBcEtD8AEEZvbnRUaGVtZUNvbG9yAAAAAAABRm9udFRpbnRBbmRTaGFkZQAAAAAAAAAAABBGb250U2NoZW1lQ29sb3IAAAAAAAhGb250SXRhbGljAAACRm9udE5hbWUABgAAAEFyaWFsAAFGb250U2l6ZQAAAAAAAAAgQAhGb250U3RyaWtldGhyb3VnaAAACEZvbnRTdWJzY3JpcHQAAAhGb250U3VwZXJzY3JpcHQAAAhGb250VW5kZXJsaW5lAAAACFNpemVUb1RleHRXaWR0aAAACFNpemVUb1RleHRIZWlnaHQAAANUZXh0TWFyZ2luAD8AAAABTGVmdAAAAAAAAAAAAAFUb3AAAAAAAAAAAAABUmlnaHQAAAAAAAAAAAABQm90dG9tAAAAAAAAAAAAAAJEaXNwbGF5VGV4dAAdAAAAOOKAiy8xOC8yMDLigIs0IERhc2hib2FyZCB2MQABSGVpZ2h0AAAAAOCxSyVAAVdpZHRoAAAAAABjGVhAAVRvcAAAAABA3FtxQAFMZWZ0AAAAAOC+podACEZsaXBIb3Jpem9udGFsbHkAAAhGbGlwSG9yaXpvbnRhbGx5QXBwbGllZAAACEZsaXBWZXJ0aWNhbGx5AAAIRmxpcFZlcnRpY2FsbHlBcHBsaWVkAAABUm90YXRpb24AAAAAAAAAAAABWk9yZGVyAAAAAAAAwFR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Db25uZWN0b3JMaW5lAOEGAAADU3RhcnQAGwAAAAFYAAAAACBZdodAAVkAAAAA4Dk2ckAAA0VuZAAbAAAAAVgAAAAAIFl2h0ABWQAAAADgOTZyQAACU3RhcnRBcnJvd0hlYWQAEQAAAG1zb0Fycm93aGVhZE5vbmUAAkVuZEFycm93SGVhZAARAAAAbXNvQXJyb3doZWFkTm9uZQAFTWFuYWdlZElkABAAAAAEDQSusJiQxUKxHTJ+qGii7QhIYXNDaGFuZ2VzAAAIVXNlTmFtZUluc3RlYWRPZlRhZ0FzSWQAAAhTaGFwZVByZXZpb3VzbHlDcmVhdGVkAAA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A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AAAAAAAAVdpZHRoAAAAAAAAAAAAAVRvcAAAAADgOTZyQAFMZWZ0AAAAACBZdodACEZsaXBIb3Jpem9udGFsbHkAAAhGbGlwSG9yaXpvbnRhbGx5QXBwbGllZAAACEZsaXBWZXJ0aWNhbGx5AAAIRmxpcFZlcnRpY2FsbHlBcHBsaWVkAAABUm90YXRpb24AAAAAAAAAAAABWk9yZGVyAAAAAAAAQFRAA0JvcmRlckNvbG9yAFUAAAAQQQD/AAAAEFIAAAAAABBHAJEAAAAQQgDfAAAAAVNjQQAAAAAAAADwPwFTY1IAAAAAAAAAAAABU2NHAAAAAAAcH9I/AVNjQgAAAABg9pznPwAQQm9yZGVyVGhlbWVDb2xvcgAAAAAAAUJvcmRlclRpbnRBbmRTaGFkZQAAAAAAAAAAABBCb3JkZXJTY2hlbWVDb2xvcr4AAAAFrAAAAL8AAADnDwAAAAAAAAAAAABuZGV4AAEAAAACUG9zaXRpb24ABgAAAFN0YXJ0AAADU3R5bGUAdAQAAAFEZWZhdWx0Rm9udFNpemUAAAAAAAAAJEABRm9udFNpemUAAAAAAAAAAAADRm9udENvbG9yAFUAAAAQQQD/AAAAEFIAEAAAABBHADgAAAAQQgBPAAAAAVNjQQAAAAAAAADwPwFTY1IAAAAA4DY5dT8BU2NHAAAAAIBnP6Q/AVNjQgAAAABgFwS0PwAQRm9udFRoZW1lQ29sb3IAAAAAABBGb250U2NoZW1lQ29sb3IAAAAAAAFGb250VGludEFuZFNoYWRlAAAAAAAAAAAAA1BhdHRlcm5Db2xvcgBVAAAAEEEAAAAAABBSAAAAAAAQRwAAAAAAEEIAAAAAAAFTY0EAAAAAAAAAAAABU2NSAAAAAAAAAAAAAVNjRwAAAAAAAAAAAAFTY0IAAAAAAAAAAAAAEFBhdHRlcm5UaGVtZUNvbG9yAAAAAAABUGF0dGVyblRpbnRBbmRTaGFkZQAAAAAAAAAAAANEYXRhU3R5bGVGb250Q29sb3JWYWx1ZQBVAAAAEEEAAAAAABBSAAAAAAAQRwAAAAAAEEIAAAAAAAFTY0EAAAAAAAAAAAABU2NSAAAAAAAAAAAAAVNjRwAAAAAAAAAAAAFTY0IAAAAAAAAAAAAACERhdGFTdHlsZUZvbnRDb2xvckhhc1ZhbHVlAAABSGVpZ2h0AAAAAAAAAAAAAkRhc2hTdHlsZQANAAAAbXNvTGluZVNvbGlkAAhIYXNXaXNoRmlsbENvbG9yAAADRmlsbENvbG9yAFUAAAAQQQD/AAAAEFIA/wAAABBHADEAAAAQQgBiAAAAAVNjQQAAAAAAAADwPwFTY1IAAAAAAAAA8D8BU2NHAAAAAGBYc58/AVNjQgAAAACgfES/PwAQRmlsbFNjaGVtZUNvbG9yAAAAAAAQRmlsbFRoZW1lQ29sb3IAAAAAAAFGaWxsVGludEFuZFNoYWRlAAAAAAAAAAAAA0JvcmRlckNvbG9yAFUAAAAQQQD/AAAAEFIA/wAAABBHADEAAAAQQgBiAAAAAVNjQQAAAAAAAADwPwFTY1IAAAAAAAAA8D8BU2NHAAAAAGBYc58/AVNjQgAAAACgfES/PwAQQm9yZGVyVGhlbWVDb2xvcgAAAAAAAUJvcmRlclRpbnRBbmRTaGFkZQAAAAAAAAAAAAhJc0ZpbGxlZAABAlBhdHRlcm4AEAAAAG1zb1BhdHRlcm5NaXhlZAACU2hhcGVUeXBlAA4AAABtc29TaGFwZU1peGVkAANMYWJlbE9mZnNldABCAAAAAVgAAAAAAAAAAAABWQAAAAAAAAAAAAFMZW5ndGgAAAAAAAAAAAABTGVuZ3RoU3F1YXJlZAAAAAAAAAAAAAABQm9yZGVyVGhpY2tuZXNzAAAAAAAAAOA/CElzRm9udEJvbGQAAAhJc0ZvbnRJdGFsaWMAAAhJc0ZvbnRVbmRlcmxpbmVkAAAITGFiZWxIYXNCYWNrZ3JvdW5kAAACVGV4dEFsaWdubWVudAAFAAAATGVmdAAAA1JlbmRlckluZm8AhSIAAARMaW5lcwB5IgAAAzAA4QYAAANTdGFydAAbAAAAAVgAXI/C9Sj8fEABWQB7FK5H4YJlQAADRW5kABsAAAABWABcj8L1KEB9QAFZAHsUrkfhgmVAAAJTdGFydEFycm93SGVhZAARAAAAbXNvQXJyb3doZWFkTm9uZQACRW5kQXJyb3dIZWFkABEAAABtc29BcnJvd2hlYWROb25lAAVNYW5hZ2VkSWQAEAAAAATO1dxAYhHRQp5Nd/BfARrWCEhhc0NoYW5nZXMAAAhVc2VOYW1lSW5zdGVhZE9mVGFnQXNJZAAACFNoYXBlUHJldmlvdXNseUNyZWF0ZWQAAA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AAAAEUABVG9wAAAAAEDhgmVAAUxlZnQAAAAAACn8fEAIRmxpcEhvcml6b250YWxseQAACEZsaXBIb3Jpem9udGFsbHlBcHBsaWVkAAAIRmxpcFZlcnRpY2FsbHkAAAhGbGlwVmVydGljYWxseUFwcGxpZWQAAAFSb3RhdGlvbgAAAAAAAAAAAAFaT3JkZXIAAAAAAADAUkADQm9yZGVyQ29sb3IAVQAAABBBAP8AAAAQUgD/AAAAEEcAMQAAABBCAGIAAAABU2NBAAAAAAAAAPA/AVNjUgAAAAAAAADwPwFTY0cAAAAAYFhznz8BU2NCAAAAAKB8RL8/ABBCb3JkZXJUaGVtZUNvbG9yAAAAAAABQm9yZGVyVGludEFuZFNoYWRlAAAAAAAAAAAAEEJvcmRlclNjaGVtZUNvbG9yAAAAAAABQm9yZGVyVGhpY2tuZXNzAAAAAAAAAOA/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zEA4QYAAANTdGFydAAbAAAAAVgAXI/C9Sg8fUABWQB7FK5H4XplQAADRW5kABsAAAABWABcj8L1KDx9QAFZADMzMzMzG2dAAAJTdGFydEFycm93SGVhZAARAAAAbXNvQXJyb3doZWFkTm9uZQACRW5kQXJyb3dIZWFkABEAAABtc29BcnJvd2hlYWROb25lAAVNYW5hZ2VkSWQAEAAAAAQoDVzchFqFSoC7eQTidJEBCEhhc0NoYW5nZXMAAAhVc2VOYW1lSW5zdGVhZE9mVGFnQXNJZAAACFNoYXBlUHJldmlvdXNseUNyZWF0ZWQAAA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C/AAAABb4AAAC8AAAA5w8AAAAAAAAAAAAAAAAAAAAAAAAAAVJpZ2h0AAAAAAAAAAAAAUJvdHRvbQAAAAAAAAAAAAABSGVpZ2h0AAAAAMAeBSpAAVdpZHRoAAAAAAAAAAAAAVRvcAAAAABA4XplQAFMZWZ0AAAAAAApPH1ACEZsaXBIb3Jpem9udGFsbHkAAAhGbGlwSG9yaXpvbnRhbGx5QXBwbGllZAAACEZsaXBWZXJ0aWNhbGx5AAAIRmxpcFZlcnRpY2FsbHlBcHBsaWVkAAABUm90YXRpb24AAAAAAAAAAAABWk9yZGVyAAAAAAAAwFJAA0JvcmRlckNvbG9yAFUAAAAQQQD/AAAAEFIA/wAAABBHADEAAAAQQgBiAAAAAVNjQQAAAAAAAADwPwFTY1IAAAAAAAAA8D8BU2NHAAAAAGBYc58/AVNjQgAAAACgfES/PwAQQm9yZGVyVGhlbWVDb2xvcgAAAAAAAUJvcmRlclRpbnRBbmRTaGFkZQAAAAAAAAAAABBCb3JkZXJTY2hlbWVDb2xvcgAAAAAAAUJvcmRlclRoaWNrbmVzcwAAAAAAAADg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MyAOEGAAADU3RhcnQAGwAAAAFYAFyPwvUouHxAAVkAMzMzMzMTZ0AAA0VuZAAbAAAAAVgAXI/C9ShAfUABWQAzMzMzMxNnQAACU3RhcnRBcnJvd0hlYWQAEQAAAG1zb0Fycm93aGVhZE5vbmUAAkVuZEFycm93SGVhZAARAAAAbXNvQXJyb3doZWFkTm9uZQAFTWFuYWdlZElkABAAAAAEWNH6BWdRVESn8RuuxHVHFQhIYXNDaGFuZ2VzAAAIVXNlTmFtZUluc3RlYWRPZlRhZ0FzSWQAAAhTaGFwZVByZXZpb3VzbHlDcmVhdGVkAAA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AAAAAAAAVdpZHRoAAAAAAAAACFAAVRvcAAAAABAMxNnQAFMZWZ0AAAAAAApuHxACEZsaXBIb3Jpem9udGFsbHkAAAhGbGlwSG9yaXpvbnRhbGx5QXBwbGllZAAACEZsaXBWZXJ0aWNhbGx5AAAIRmxpcFZlcnRpY2FsbHlBcHBsaWVkAAABUm90YXRpb24AAAAAAAAAAAABWk9yZGVyAAAAAAAAwFJAA0JvcmRlckNvbG9yAFUAAAAQQQD/AAAAEFIA/wAAABBHADEAAAAQQgBiAAAAAVNjQQAAAAAAAADwPwFTY1IAAAAAAAAA8D8BU2NHAAAAAGBYc58/AVNjQgAAAACgfES/PwAQQm9yZGVyVGhlbWVDb2xvcgAAAAAAAUJvcmRlclRpbnRBbmRTaGFkZQAAAAAAAAAAABBCb3JkZXJTY2hlbWVDb2xvcgAAAAAAAUJvcmRlclRoaWNrbmVzcwAAAAAAAADg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MzAOEGAAADU3RhcnQAGwAAAAFYAFyPwvUovHxAAVkAMzMzMzMLZ0AAA0VuZAAbAAAAAVgAXI/C9Si8fEABWQDsUbgehatoQAACU3RhcnRBcnJvd0hlYWQAEQAAAG1zb0Fycm93aGVhZE5vbmUAAkVuZEFycm93SGVhZAARAAAAbXNvQXJyb3doZWFkTm9uZQAFTWFuYWdlZElkABAAAAAEN+ETPDj8KUGLlnc7Ku2k7AhIYXNDaGFuZ2VzAAAIVXNlTmFtZUluc3RlYWRPZlRhZ0FzSWQAAAhTaGFwZVByZXZpb3VzbHlDcmVhdGVkAAA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MAeBSpAAVdpZHRoAAAAAAAAAAAAAVRvcAAAAABAMwtnQAFMZWZ0AAAAAAApvHxACEZsaXBIb3Jpem9udGFsbHkAAAhGbGlwSG9yaXpvbnRhbGx5QXBwbGllZAAACEZsaXBWZXJ0aWNhbGx5AAAIRmxpcFZlcnRpY2FsbHlBcHBsaWVkAAABUm90YXRpb24AAAAAAAAAAAABWk9yZGVyAAAAAAAAwFJAA0JvcmRlckNvbG9yAFUAAAAQQQD/AAAAEFIA/wAAABBHADEAAAAQQgBiAAAAAVNjQQAAAAAAAADwPwFTY1IAAAAAAAAA8D8BU2NHAAAAAGBYc58/AVNjQgAAAACgfES/PwAQQm9yZGVyVGhlbWVDb2xvcgAAAAAAAUJvcmRlclRpbnRBbmRTaGFkZQAAAAAAAAAAABBCb3JkZXJTY2hlbWVDb2xvcgAAAAAAAUJvcmRlclRoaWNrbmVzcwAAAAAAAADgPwJMaW5lRGFzaFN0eWxlAAoAAABMaW5lU29saWQAAUZpcnN0TGluZUluZGVudAAAAAAAAAAAAAhIYW5naW5nUHVuY3R1YXRpb24AABBJbmRlbnRMZXZlbAAAAAAAAUxlZnRJbmRlbnQAAAAAAAAAAAAITGluZVJ1bGVBZnRlcgAAwAAAAAW2AAAAwQAAAOcPAAAAAAAAAAAAAGNHAAAAAAAAAPA/AVNjQgAAAAAAAADwP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AJGaWxsUGF0dGVybgAQAAAAbXNvUGF0dGVybk1peGVkAAJUZXh0AAEAAAA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JEaXNwbGF5VGV4dAABAAAAAAFIZWlnaHQAAAAAQC0FOEABV2lkdGgAAAAAAAAAAAABVG9wAAAAAACJRnBAAUxlZnQAAAAAQGXujUAIRmxpcEhvcml6b250YWxseQAACEZsaXBIb3Jpem9udGFsbHlBcHBsaWVkAAAIRmxpcFZlcnRpY2FsbHkAAAhGbGlwVmVydGljYWxseUFwcGxpZWQAAAFSb3RhdGlvbgAAAAAAAAAAAAFaT3JkZXIAAAAAAABAVU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BFRyYWZmaWNMaWdodERhdGEABQAAAAAESGFydmV5QmFsbERhdGEABQAAAAACVHJhZmZpY0xpZ2h0U3RhdGUABAAAAE9mZgAEQ2hlY2tCb3hEYXRhAAUAAAAAAkNoZWNrQm94U3RhdGUABQAAAE5vbmUAAANMZWZ0U2lkZVJlbmRlckluZm8AWxQAAANMYWJlbACmBgAABU1hbmFnZWRJZAAQAAAABPng/58BwspEoWbMlISnZ2AISGFzQ2hhbmdlcwAACFVzZU5hbWVJbnN0ZWFkT2ZUYWdBc0lkAAAIU2hhcGVQcmV2aW91c2x5Q3JlYXRlZAAB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AAJAAAAU3ByaW50IDEAAlRleHRIb3Jpem9udGFsQWxpZ25tZW50AA4AAABtc29BbmNob3JOb25lAAJQYXJhZ3JhcGhBbGlnbm1lbnQADQAAAG1zb0FsaWduTGVmdAACVGV4dFZlcnRpY2FsQWxpZ25tZW50ABAAAABtc29BbmNob3JNaWRkbGUAA0ZvbnRTdHlsZQBAAQAAEEZvbnRCYWNrZ3JvdW5kAAAAAAAIRm9udEJvbGQAAANGb250Q29sb3IAVQAAABBBAP8AAAAQUgAQAAAAEEcAOAAAABBCAE8AAAABU2NBAAAAAAAAAPA/AVNjUgAAAADgNjl1PwFTY0cAAAAAgGc/pD8BU2NCAAAAAGAXBLQ/ABBGb250VGhlbWVDb2xvcgAAAAAAAUZvbnRUaW50QW5kU2hhZGUAAAAAAAAAAAAQRm9udFNjaGVtZUNvbG9yAAAAAAAIRm9udEl0YWxpYwAAAkZvbnROYW1lAAYAAABBcmlhbAABRm9udFNpemUAAAAAAAAAJEAIRm9udFN0cmlrZXRocm91Z2gAAAhGb250U3Vic2NyaXB0AAAIRm9udFN1cGVyc2NyaXB0AAAIRm9udFVuZGVybGluZQAAAAhTaXplVG9UZXh0V2lkdGgAAAhTaXplVG9UZXh0SGVpZ2h0AAADVGV4dE1hcmdpbgA/AAAAAUxlZnQAAAAAAAAAAAABVG9wAAAAAAAAAAAAAVJpZ2h0AAAAAAAAAAAAAUJvdHRvbQAAAAAAAAAAAAACRGlzcGxheVRleHQACQAAAFNwcmludCAxAAFIZWlnaHQAAAAAYN8LJ0ABV2lkdGgAAAAAAHR6Q0ABVG9wAAAAAACDqnBAAUxlZnQAAAAAQElcN0AIRmxpcEhvcml6b250YWxseQAACEZsaXBIb3Jpem9udGFsbHlBcHBsaWVkAAAIRmxpcFZlcnRpY2FsbHkAAAhGbGlwVmVydGljYWxseUFwcGxpZWQAAAFSb3RhdGlvbgAAAAAAAAAAAAFaT3JkZXIAAAAAAAAAPk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JlY3RhbmdsZQCRBgAAAkF1dG9TaGFwZVR5cGUACgAAAFJlY3RhbmdsZQAFTWFuYWdlZElkABAAAAAE2PILmtj9SUqwHeqMndHWewhIYXNDaGFuZ2VzAAAIVXNlTmFtZUluc3RlYWRPZlRhZ0FzSWQAAAhTaGFwZVByZXZpb3VzbHlDcmVhdGVkAAADRmlsbENvbG9yAFUAAAAQQQAAAAAAEFIA/wAAABBHAP8AAAAQQgD/AAAAAVNjQQAAAAAAAAAAAAFTY1IAAAAAAAAA8D8BU2NHAAAAAAAAAPA/AVNjQgAAAAAAAADwP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AJGaWxsUGF0dGVybgAQAAAAbXNvUGF0dGVybk1peGVkAAJUZXh0AAEAAAA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MEAAAAFwAAAAMIAAADnDwAAAAAA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CRGlzcGxheVRleHQAAQAAAAABSGVpZ2h0AAAAAEAtBThAAVdpZHRoAAAAAACD241AAVRvcAAAAAAAiUZwQAFMZWZ0AAAAAABK4gpACEZsaXBIb3Jpem9udGFsbHkAAAhGbGlwSG9yaXpvbnRhbGx5QXBwbGllZAAACEZsaXBWZXJ0aWNhbGx5AAAIRmxpcFZlcnRpY2FsbHlBcHBsaWVkAAABUm90YXRpb24AAAAAAAAAAAABWk9yZGVyAAAAAAAAACZ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TZXBhcmF0b3JMaW5lAP4GAAADU3RhcnQAGwAAAAFYAM3MzMwWrwdAAVkAZWFa39vGcUAAA0VuZAAbAAAAAVgAMzMzfZj5jUABWQBlYVrf28ZxQAACU3RhcnRBcnJvd0hlYWQAEQAAAG1zb0Fycm93aGVhZE5vbmUAAkVuZEFycm93SGVhZAARAAAAbXNvQXJyb3doZWFkTm9uZQAFTWFuYWdlZElkABAAAAAEgu/EVpkR/0W+rvJ5l567HAhIYXNDaGFuZ2VzAAAIVXNlTmFtZUluc3RlYWRPZlRhZ0FzSWQAAAhTaGFwZVByZXZpb3VzbHlDcmVhdGVkAAA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AAEAAAA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JEaXNwbGF5VGV4dAABAAAAAAFIZWlnaHQAAAAAAAAAAAABV2lkdGgAAAAAYOnhjUABVG9wAAAAAODbxnFAAUxlZnQAAAAAwBavB0AIRmxpcEhvcml6b250YWxseQAACEZsaXBIb3Jpem9udGFsbHlBcHBsaWVkAAAIRmxpcFZlcnRpY2FsbHkAAAhGbGlwVmVydGljYWxseUFwcGxpZWQAAAFSb3RhdGlvbgAAAAAAAAAAAAFaT3JkZXIAAAAAAAAAKEADQm9yZGVyQ29sb3IAVQAAABBBAP8AAAAQUgDjAAAAEEcA4wAAABBCAOMAAAABU2NBAAAAAAAAAPA/AVNjUgAAAADAsZToPwFTY0cAAAAAwLGU6D8BU2NCAAAAAMCxlOg/ABBCb3JkZXJUaGVtZUNvbG9yAAAAAAABQm9yZGVyVGludEFuZFNoYWRlAAAAAAAAAAAAEEJvcmRlclNjaGVtZUNvbG9yAAAAAAABQm9yZGVyVGhpY2tuZXNzAAAAAAAAAPA/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AADMQDJggAAEF9pZAASAAAABEl0ZW1zAGU2AAADMAB5HAAAAl90eXBlAEsAAABlbXBvd2VyLkNoYXJ0cy5EYXRhLkdhbnR0LkNocm9ub2xvZ3kuRGF0YS5CYXJUYXNrRGF0YSwgZW1wb3dlci5DaGFydHMuRGF0YQACTGFiZWxQb3NpdGlvbgAHAAAAQ2VudGVyAAhJc0xhYmVsSW5zaWRlQm91bmRzAAEDU3R5bGUAWwQAAAFEZWZhdWx0Rm9udFNpemUAAAAAAAAAJEABRm9udFNpemUAAAAAAAAAIEADRm9udENvbG9yAFUAAAAQQQD/AAAAEFIAEAAAABBHADgAAAAQQgBPAAAAAVNjQQAAAAAAAADwPwFTY1IAAAAA4DY5dT8BU2NHAAAAAIBnP6Q/AVNjQgAAAABgFwS0PwAQRm9udFRoZW1lQ29sb3IAAAAAABBGb250U2NoZW1lQ29sb3IAAAAAAAFGb250VGludEFuZFNoYWRlAAAAAAAAAAAAA1BhdHRlcm5Db2xvcgBVAAAAEEEAAAAAABBSAAAAAAAQRwAAAAAAEEIAAAAAAAFTY0EAAAAAAAAAAAABU2NSAAAAAAAAAAAAAVNjRwAAAAAAAAAAAAFTY0IAAAAAAAAAAAAAEFBhdHRlcm5UaGVtZUNvbG9yAAAAAAABUGF0dGVyblRpbnRBbmRTaGFkZQAAAAAAAAAAAANEYXRhU3R5bGVGb250Q29sb3JWYWx1ZQBVAAAAEEEAAAAAABBSAAAAAAAQRwAAAAAAEEIAAAAAAAFTY0EAAAAAAAAAAAABU2NSAAAAAAAAAAAAAVNjRwAAAAAAAAAAAAFTY0IAAAAAAAAAAAAACERhdGFTdHlsZUZvbnRDb2xvckhhc1ZhbHVlAAABSGVpZ2h0AAAAAODdMihAAkRhc2hTdHlsZQANAAAAbXNvTGluZVNvbGlkAAhIYXNXaXNoRmlsbENvbG9yAAADRmlsbENvbG9yAFUAAAAQQQD/AAAAEFIAmQAAABBHANMAAAAQQgDyAAAAAVNjQQAAAAAAAADwPwFTY1IAAAAAIBJj1D8BU2NHAAAAAKBQ2OQ/AVNjQgAAAADA3WnsPwAQRmlsbFNjaGVtZUNvbG9yAAAAAAAQRmlsbFRoZW1lQ29sb3IAAAAAAAFGaWxsVGludEFuZFNoYWRlAAAAAAAAAAAAA0JvcmRlckNvbG9yAFUAAAAQQQAAAAAAEFIAAAAAABBHAAAAAAAQQgAAAAAAAVNjQQAAAAAAAAAAAAFTY1IAAAAAAAAAAAABU2NHAAAAAAAAAAAAAVNjQgAAAAAAAAAAAAAQQm9yZGVyVGhlbWVDb2xvcgAAAAAAAUJvcmRlclRpbnRBbmRTaGFkZQAAAAAAAAAAAAhJc0ZpbGxlZAABAlBhdHRlcm4AEAAAAG1zb1BhdHRlcm5NaXhlZAACU2hhcGVUeXBlAA4AAABtc29TaGFwZU1peGVkAANMYWJlbE9mZnNldABCAAAAAVgAAAAAAAAAAAABWQAAAAAAAAAAAAFMZW5ndGgAAAAAAAAAAAABTGVuZ3RoU3F1YXJlZAAAAAAAAAAAAAAISXNGb250Qm9sZAAACElzRm9udEl0YWxpYwAACElzRm9udFVuZGVybGluZWQAAAhMYWJlbEhhc0JhY2tncm91bmQAAAJUZXh0QWxpZ25tZW50AAUAAABMZWZ0AAAIRGlzcGxheUxhYmVsAAEDUmVuZGVySW7CAAAABcEAAADDAAAA5w8AAAAAAAAAAAAAZm8A+RYAAANSZWN0YW5nbGVGcmVlZm9ybQD8CAAABFZlcnRpY2VzAJsCAAADMAAsAAAAEEluZGV4MAAAAAAAEEluZGV4MQAAAAAAAVZhbHVlAAAAAGB8IIVAAAMxACwAAAAQSW5kZXgwAAAAAAAQSW5kZXgxAAEAAAABVmFsdWUAAAAA4Dk2ckAAAzIALAAAABBJbmRleDAAAQAAABBJbmRleDEAAAAAAAFWYWx1ZQAAAABgfCCFQAADMwAsAAAAEEluZGV4MAABAAAAEEluZGV4MQABAAAAAVZhbHVlAAAAAGAFl3JAAAM0ACwAAAAQSW5kZXgwAAIAAAAQSW5kZXgxAAAAAAABVmFsdWUAAAAAYHwghUAAAzUALAAAABBJbmRleDAAAgAAABBJbmRleDEAAQAAAAFWYWx1ZQAAAADA0PdyQAADNgAsAAAAEEluZGV4MAADAAAAEEluZGV4MQAAAAAAAVZhbHVlAAAAAOC+podAAAM3ACwAAAAQSW5kZXgwAAMAAAAQSW5kZXgxAAEAAAABVmFsdWUAAAAAwND3ckAAAzgALAAAABBJbmRleDAABAAAABBJbmRleDEAAAAAAAFWYWx1ZQAAAADgvqaHQAADOQAsAAAAEEluZGV4MAAEAAAAEEluZGV4MQABAAAAAVZhbHVlAAAAAGAFl3JAAAMxMAAsAAAAEEluZGV4MAAFAAAAEEluZGV4MQAAAAAAAVZhbHVlAAAAAOC+podAAAMxMQAsAAAAEEluZGV4MAAFAAAAEEluZGV4MQABAAAAAVZhbHVlAAAAAOA5NnJAAAMxMgAsAAAAEEluZGV4MAAGAAAAEEluZGV4MQAAAAAAAVZhbHVlAAAAAGB8IIVAAAMxMwAsAAAAEEluZGV4MAAGAAAAEEluZGV4MQABAAAAAVZhbHVlAAAAAOA5NnJAAAAFTWFuYWdlZElkABAAAAAEWShTbbRuP0G3W+MQzu9ajghIYXNDaGFuZ2VzAAAIVXNlTmFtZUluc3RlYWRPZlRhZ0FzSWQAAAhTaGFwZVByZXZpb3VzbHlDcmVhdGVkAAADRmlsbENvbG9yAFUAAAAQQQD/AAAAEFIAmQAAABBHANMAAAAQQgDyAAAAAVNjQQAAAAAAAADwPwFTY1IAAAAAIBJj1D8BU2NHAAAAAKBQ2OQ/AVNjQgAAAADA3WnsP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MDdMihAAVdpZHRoAAAAAEAUMlRAAVRvcAAAAADgOTZyQAFMZWZ0AAAAAGB8IIVACEZsaXBIb3Jpem9udGFsbHkAAAhGbGlwSG9yaXpvbnRhbGx5QXBwbGllZAAACEZsaXBWZXJ0aWNhbGx5AAAIRmxpcFZlcnRpY2FsbHlBcHBsaWVkAAABUm90YXRpb24AAAAAAAAAAAABWk9yZGVyAAAAAAAAgFFAA0JvcmRlckNvbG9yAFUAAAAQQQD/AAAAEFIA/wAAABBHAP8AAAAQQgD/AAAAAVNjQQAAAAAAAADwPwFTY1IAAAAAAAAA8D8BU2NHAAAAAAAAAPA/AVNjQgAAAAAAAADwPwAQQm9yZGVyVGhlbWVDb2xvcgAAAAAAAUJvcmRlclRpbnRBbmRTaGFkZQAAAAAAAAAAABBCb3JkZXJTY2hlbWVDb2xvcgAAAAAAAUJvcmRlclRoaWNrbmVzcwAAAAAAAADw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CYXJTdHlsZURhdGEAJgAAAAJCYXJTdHlsZVNoYXBlVHlwZQAKAAAAUmVjdGFuZ2xlAAADTGFiZWwAtgYAAAVNYW5hZ2VkSWQAEAAAAAQuMhXhAXbkQq4GwESJFR+eCEhhc0NoYW5nZXMAAAhVc2VOYW1lSW5zdGVhZE9mVGFnQXNJZAAACFNoYXBlUHJldmlvdXNseUNyZWF0ZWQAAQNGaWxsQ29sb3IAVQAAABBBAP8AAAAQUgCZAAAAEEcA0wAAABBCAPIAAAABU2NBAAAAAAAAAPA/AVNjUgAAAAAgEmPUPwFTY0cAAAAAoFDY5D8BU2NCAAAAAMDdaew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QAEAAAAERhdGEgQW5hbmx5dGljcwACVGV4dEhvcml6b250YWxBbGlnbm1lbnQADgAAAG1zb0FuY2hvck5vbmUAAlBhcmFncmFwaEFsaWdubWVudAAPAAAAbXNvQWxpZ25DZW50ZXIAAlRleHRWZXJ0aWNhbEFsaWdubWVudAAQAAAAbXNvQW5jaG9yTWlkZGxlAANGb250U3R5bGUAQAEAABBGb250QmFja2dyb3VuZAAAAAAACEZvbnRCb2xkAAADRm9udENvbG9yAFUAAAAQQQD/AAAAEFIAEAAAABBHADgAAAAQQgBPAAAAAVNjQQAAAAAAAADwPwFTY1IAAAAA4DY5dT8BU2NHAAAAAIBnP6Q/AVNjQgAAAABgFwS0PwAQRm9udFRoZW1lQ29sb3IAAAAAAAFGb250VGludEFuZFNoYWRlAAAAAAAAAAAAEEZvbnRTY2hlbWVDb2xvcgAAAAAACEZvbnRJdGFsaWMAAAJGb250TmFtZQAGAAAAQXJpYWwAAUZvbnRTaXplAAAAAAAAACBACEZvbnRTdHJpa2V0aHJvdWdoAAAIRm9udFN1YnNjcmlwdAAACEZvbnRTdXBlcnNjcmlwdAAACEZvbnRVbmRlcmxpbmUAAAAIU2l6ZVRvVGV4dFdpZHRoAAAIU2l6ZVRvVGV4dEhlaWdodAAAA1RleHRNYXJnaW4APwAAAAFMZWZ0AAAAAAAAAAAAAVRvcAAAAAAAAAAAAAFSaWdodAAAAAAAAAAAAAFCb3R0b20AAAAAAAAAAAAAAkRpc3BsYXlUZXh0ABAAAABEYXRhIEFuYW5seXRpY3MAAUhlaWdodAAAAAAAFlwjQAFXaWR0aAAAAADAWNJLQAFUb3AAAAAAAJVJckABTGVmdAAAAADgCoWFQAhGbGlwSG9yaXpvbnRhbGx5AAAIRmxpcEhvcml6b250YWxseUFwcGxpZWQAAAhGbGlwVmVydGljYWxseQAACEZsaXBWZXJ0aWNhbGx5QXBwbGllZAAAAVJvdGF0aW9uAAAAAAAAAAAAAVpPcmRlcgAAAAAAAABS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wwAAAAXCAAAAzgAAAOcPAAAAAAAAAAAAAGUAAAAAAAAAAAABU3BhY2VXaXRoaW4AAAAAAAAAAAAAA0Nvbm5lY3RvckxpbmVEYXRhAOEGAAADU3RhcnQAGwAAAAFYAAAAAGB8IIVAAVkAAAAA4Dk2ckAAA0VuZAAbAAAAAVgAAAAAYHwghUABWQAAAADgOTZyQAACU3RhcnRBcnJvd0hlYWQAEQAAAG1zb0Fycm93aGVhZE5vbmUAAkVuZEFycm93SGVhZAARAAAAbXNvQXJyb3doZWFkTm9uZQAFTWFuYWdlZElkABAAAAAEPdt2IQj3YEi37MjFZNER8ghIYXNDaGFuZ2VzAAAIVXNlTmFtZUluc3RlYWRPZlRhZ0FzSWQAAAhTaGFwZVByZXZpb3VzbHlDcmVhdGVkAAA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A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AAAAAAAAVdpZHRoAAAAAAAAAAAAAVRvcAAAAADgOTZyQAFMZWZ0AAAAAGB8IIVACEZsaXBIb3Jpem9udGFsbHkAAAhGbGlwSG9yaXpvbnRhbGx5QXBwbGllZAAACEZsaXBWZXJ0aWNhbGx5AAAIRmxpcFZlcnRpY2FsbHlBcHBsaWVkAAABUm90YXRpb24AAAAAAAAAAAABWk9yZGVyAAAAAAAAwFFAA0JvcmRlckNvbG9yAFUAAAAQQQD/AAAAEFIAmQAAABBHANMAAAAQQgDyAAAAAVNjQQAAAAAAAADwPwFTY1IAAAAAIBJj1D8BU2NHAAAAAKBQ2OQ/AVNjQgAAAADA3WnsPw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AJRW5kVGltZQAAMxJkkQEAABBJbmRleAABAAAAAkRlc2NyaXB0aW9uABAAAABEYXRhIEFuYW5seXRpY3MAAk5hbWUABQAAAFRhc2sACElzTGVhZGVyTGluZUluQXV0b01vZGUAAQlTdGFydFRpbWUAAM/SFpEBAAAAAzEA4RkAAAJfdHlwZQBNAAAAZW1wb3dlci5DaGFydHMuRGF0YS5HYW50dC5DaHJvbm9sb2d5LkRhdGEuTWlsZXN0b25lRGF0YSwgZW1wb3dlci5DaGFydHMuRGF0YQADU3R5bGUAdgQAAAFEZWZhdWx0Rm9udFNpemUAAAAAAAAAJEABRm9udFNpemUAAAAAAAAAIEADRm9udENvbG9yAFUAAAAQQQD/AAAAEFIAEAAAABBHADgAAAAQQgBPAAAAAVNjQQAAAAAAAADwPwFTY1IAAAAA4DY5dT8BU2NHAAAAAIBnP6Q/AVNjQgAAAABgFwS0PwAQRm9udFRoZW1lQ29sb3IAAAAAABBGb250U2NoZW1lQ29sb3IAAAAAAAFGb250VGludEFuZFNoYWRlAAAAAAAAAAAAA1BhdHRlcm5Db2xvcgBVAAAAEEEAAAAAABBSAAAAAAAQRwAAAAAAEEIAAAAAAAFTY0EAAAAAAAAAAAABU2NSAAAAAAAAAAAAAVNjRwAAAAAAAAAAAAFTY0IAAAAAAAAAAAAAEFBhdHRlcm5UaGVtZUNvbG9yAAAAAAABUGF0dGVyblRpbnRBbmRTaGFkZQAAAAAAAAAAAANEYXRhU3R5bGVGb250Q29sb3JWYWx1ZQBVAAAAEEEAAAAAABBSAAAAAAAQRwAAAAAAEEIAAAAAAAFTY0EAAAAAAAAAAAABU2NSAAAAAAAAAAAAAVNjRwAAAAAAAAAAAAFTY0IAAAAAAAAAAAAACERhdGFTdHlsZUZvbnRDb2xvckhhc1ZhbHVlAAABSGVpZ2h0AAAAAODdMihAAkRhc2hTdHlsZQANAAAAbXNvTGluZVNvbGlkAAhIYXNXaXNoRmlsbENvbG9yAAADRmlsbENvbG9yAFUAAAAQQQD/AAAAEFIAAAAAABBHAJEAAAAQQgDfAAAAAVNjQQAAAAAAAADwPwFTY1IAAAAAAAAAAAABU2NHAAAAAAAcH9I/AVNjQgAAAABg9pznPwAQRmlsbFNjaGVtZUNvbG9yAAAAAAAQRmlsbFRoZW1lQ29sb3IAAAAAAAFGaWxsVGludEFuZFNoYWRlAAAAAAAAAAAAA0JvcmRlckNvbG9yAFUAAAAQQQD/AAAAEFIA/wAAABBHAP8AAAAQQgD/AAAAAVNjQQAAAAAAAADwPwFTY1IAAAAAAAAA8D8BU2NHAAAAAAAAAPA/AVNjQgAAAAAAAADwPwAQQm9yZGVyVGhlbWVDb2xvcgAAAAAAAUJvcmRlclRpbnRBbmRTaGFkZQAAAAAAAAAAAAhJc0ZpbGxlZAABAlBhdHRlcm4AEAAAAG1zb1BhdHRlcm5NaXhlZAACU2hhcGVUeXBlABAAAABtc29TaGFwZURpYW1vbmQAA0xhYmVsT2Zmc2V0AEIAAAABWAAAAAAAAAAAAAFZABDEtmOQsjPAAUxlbmd0aAAQxLZjkLIzQAFMZW5ndGhTcXVhcmVkAHi5k77fP3hAAAFCb3JkZXJUaGlja25lc3MAAAAAAAAA8D8ISXNGb250Qm9sZAAACElzRm9udEl0YWxpYwAACElzRm9udFVuZGVybGluZWQAAAhMYWJlbEhhc0JhY2tncm91bmQAAAJUZXh0QWxpZ25tZW50AAUAAABMZWZ0AAAIRGlzcGxheUxhYmVsAAEITGFiZWxIYXNCYWNrZ3JvdW5kAAADUmVuZGVySW5mbwA5FAAAA1N5bWJvbAByBgAAAkF1dG9TaGFwZVR5cGUACAAAAERpYW1vbmQABU1hbmFnZWRJZAAQAAAABG5pK4kxyNtGn3gzSSuQJRIISGFzQ2hhbmdlcwAACFVzZU5hbWVJbnN0ZWFkT2ZUYWdBc0lkAAAIU2hhcGVQcmV2aW91c2x5Q3JlYXRlZAAAA0ZpbGxDb2xvcgBVAAAAEEEA/wAAABBSAAAAAAAQRwCRAAAAEEIA3wAAAAFTY0EAAAAAAAAA8D8BU2NSAAAAAAAAAAAAAVNjRwAAAAAAHB/SPwFTY0IAAAAAYPac5z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sQAAAAF2AAAAMkAAADnDwAAAAAAAAAAAABhbmdsZQAFTWFuYWdlZElkABAAAAAEfyqT7Y72v06nbQLVOUjcOAhIYXNDaGFuZ2VzAAEIVXNlTmFtZUluc3RlYWRPZlRhZ0FzSWQAAAhTaGFwZVByZXZpb3VzbHlDcmVhdGVkAAADRmlsbENvbG9yAFUAAAAQQQAAAAAAEFIA/wAAABBHAP8AAAAQQgD/AAAAAVNjQQAAAAAAAAAAAAFTY1IAAAAAAAAA8D8BU2NHAAAAAAAAAPA/AVNjQgAAAAAAAADwP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A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EAtBThAAVdpZHRoAAAAAAAAAAAAAVRvcAAAAACAbGxtQAFMZWZ0AAAAAEBl7o1ACEZsaXBIb3Jpem9udGFsbHkAAAhGbGlwSG9yaXpvbnRhbGx5QXBwbGllZAAACEZsaXBWZXJ0aWNhbGx5AAAIRmxpcFZlcnRpY2FsbHlBcHBsaWVkAAABUm90YXRpb24AAAAAAAAAAAABWk9yZGVyAAAAAAAAQFV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RUcmFmZmljTGlnaHREYXRhAAUAAAAABEhhcnZleUJhbGxEYXRhAAUAAAAAAlRyYWZmaWNMaWdodFN0YXRlAAQAAABPZmYABENoZWNrQm94RGF0YQAFAAAAAAJDaGVja0JveFN0YXRlAAUAAABOb25lAAADUmlnaHROb3Rlc1JlbmRlckluZm8AYRQAAANMYWJlbAB0BgAABU1hbmFnZWRJZAAQAAAABPX0FP21h8BKthe0LNpHESIISGFzQ2hhbmdlcwABCFVzZU5hbWVJbnN0ZWFkT2ZUYWdBc0lkAAAIU2hhcGVQcmV2aW91c2x5Q3JlYXRlZAAA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ACRmlsbFBhdHRlcm4AEAAAAG1zb1BhdHRlcm5NaXhlZAACVGV4dAABAAAA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CRGlzcGxheVRleHQAAQAAAAABSGVpZ2h0AAAAAAAAAPA/AVdpZHRoAAAAAAAAAPA/AVRvcAAAAAAAjJZxQAFMZWZ0AAAAAEBl9o1ACEZsaXBIb3Jpem9udGFsbHkAAAhGbGlwSG9yaXpvbnRhbGx5QXBwbGllZAAACEZsaXBWZXJ0aWNhbGx5AAAIRmxpcFZlcnRpY2FsbHlBcHBsaWVkAAABUm90YXRpb24AAAAAAAAAAAABWk9yZGVyAAAAAAAAAAA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TZXBhcmF0b3JMaW5lAOEGAAADU3RhcnQAGwAAAAFYAM3MzBYy841AAVkAAAAAAIk2cEAAA0VuZAAbAAAAAVgAMzMzfZj5jUABWQAAAAAAiTZwQAACU3RhcnRBcnJvd0hlYWQAEQAAAG1zb0Fycm93aGVhZE5vbmUAAkVuZEFycm93SGVhZAARAAAAbXNvQXJyb3doZWFkTm9uZQAFTWFuYWdlZElkABAAAAAEG+Ye2uBPUECzLKRqJHowGwhIYXNDaGFuZ2VzAAEIVXNlTmFtZUluc3RlYWRPZlRhZ0FzSWQAAAhTaGFwZVByZXZpb3VzbHlDcmVhdGVkAAA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XFAAAABcYAAADgAAAA5w8AAAAAAAAAAAAA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wN0yKEABV2lkdGgAAAAAgNGrQUABVG9wAAAAACAdvHVAAUxlZnQAAAAAQKhWbEAIRmxpcEhvcml6b250YWxseQAACEZsaXBIb3Jpem9udGFsbHlBcHBsaWVkAAAIRmxpcFZlcnRpY2FsbHkAAAhGbGlwVmVydGljYWxseUFwcGxpZWQAAAFSb3RhdGlvbgAAAAAAAAAAAAFaT3JkZXIAAAAAAACAUUADQm9yZGVyQ29sb3IAVQAAABBBAP8AAAAQUgD/AAAAEEcA/wAAABBCAP8AAAABU2NBAAAAAAAAAPA/AVNjUgAAAAAAAADwPwFTY0cAAAAAAAAA8D8BU2NCAAAAAAAAAPA/ABBCb3JkZXJUaGVtZUNvbG9yAAAAAAABQm9yZGVyVGludEFuZFNoYWRlAAAAAAAAAAAAEEJvcmRlclNjaGVtZUNvbG9yAAAAAAABQm9yZGVyVGhpY2tuZXNzAAAAAAAAAPA/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JhclN0eWxlRGF0YQAmAAAAAkJhclN0eWxlU2hhcGVUeXBlAAoAAABSZWN0YW5nbGUAAANMYWJlbACuBgAABU1hbmFnZWRJZAAQAAAABKD71eH+3hhEjxWbtykESSUISGFzQ2hhbmdlcwAACFVzZU5hbWVJbnN0ZWFkT2ZUYWdBc0lkAAAIU2hhcGVQcmV2aW91c2x5Q3JlYXRlZAABA0ZpbGxDb2xvcgBVAAAAEEEA/wAAABBSAJkAAAAQRwDTAAAAEEIA8gAAAAFTY0EAAAAAAAAA8D8BU2NSAAAAACASY9Q/AVNjRwAAAACgUNjkPwFTY0IAAAAAwN1p7D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AAMAAAARGVmaW5pY2nDs24AAlRleHRIb3Jpem9udGFsQWxpZ25tZW50AA4AAABtc29BbmNob3JOb25lAAJQYXJhZ3JhcGhBbGlnbm1lbnQADwAAAG1zb0FsaWduQ2VudGVyAAJUZXh0VmVydGljYWxBbGlnbm1lbnQAEAAAAG1zb0FuY2hvck1pZGRsZQADRm9udFN0eWxlAEABAAAQRm9udEJhY2tncm91bmQAAAAAAAhGb250Qm9sZAAAA0ZvbnRDb2xvcgBVAAAAEEEA/wAAABBSABAAAAAQRwA4AAAAEEIATwAAAAFTY0EAAAAAAAAA8D8BU2NSAAAAAOA2OXU/AVNjRwAAAACAZz+kPwFTY0IAAAAAYBcEtD8AEEZvbnRUaGVtZUNvbG9yAAAAAAABRm9udFRpbnRBbmRTaGFkZQAAAAAAAAAAABBGb250U2NoZW1lQ29sb3IAAAAAAAhGb250SXRhbGljAAACRm9udE5hbWUABgAAAEFyaWFsAAFGb250U2l6ZQAAAAAAAAAgQAhGb250U3RyaWtldGhyb3VnaAAACEZvbnRTdWJzY3JpcHQAAAhGb250U3VwZXJzY3JpcHQAAAhGb250VW5kZXJsaW5lAAAACFNpemVUb1RleHRXaWR0aAAACFNpemVUb1RleHRIZWlnaHQAAANUZXh0TWFyZ2luAD8AAAABTGVmdAAAAAAAAAAAAAFUb3AAAAAAAAAAAAABUmlnaHQAAAAAAAAAAAABQm90dG9tAAAAAAAAAAAAAAJEaXNwbGF5VGV4dAAMAAAARGVmaW5pY2nDs24AAUhlaWdodAAAAAAAFlwjQAFXaWR0aAAAAADgo9BBQAFUb3AAAAAAQHjPdUABTGVmdAAAAAAADlJsQAhGbGlwSG9yaXpvbnRhbGx5AAAIRmxpcEhvcml6b250YWxseUFwcGxpZWQAAAhGbGlwVmVydGljYWxseQAACEZsaXBWZXJ0aWNhbGx5QXBwbGllZAAAAVJvdGF0aW9uAAAAAAAAAAAAAVpPcmRlcgAAAAAAAABS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Q29ubmVjdG9yTGluZURhdGEA4QYAAANTdGFydAAbAAAAAVgAAAAAQKhWbEABWQAAAAAgHbx1QAADRW5kABsAAAABWAAAAABAqFZsQAFZAAAAACAdvHVAAAJTdGFydEFycm93SGVhZAARAAAAbXNvQXJyb3doZWFkTm9uZQACRW5kQXJyb3dIZWFkABEAAABtc29BcnJvd2hlYWROb25lAAVNYW5hZ2VkSWQAEAAAAAQ0XuJtj///RLAW/CkbgssmCEhhc0NoYW5nZXMAAAhVc2VOYW1lSW5zdGVhZE9mVGFnQXNJZAAACFNoYXBlUHJldmlvdXNseUNyZWF0ZWQAAA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A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xgAAAAW7AAAAxQAAAOcPAAAAAAAAAAAAAANDb25uZWN0b3JMaW5lAOEGAAADU3RhcnQAGwAAAAFYAAAAAABFqIFAAVkAAAAAYCgrbkAAA0VuZAAbAAAAAVgAAAAAAEWogUABWQAAAABgKCtuQAACU3RhcnRBcnJvd0hlYWQAEQAAAG1zb0Fycm93aGVhZE5vbmUAAkVuZEFycm93SGVhZAARAAAAbXNvQXJyb3doZWFkTm9uZQAFTWFuYWdlZElkABAAAAAEaMY1/W16L0CX6t7PylyY0AhIYXNDaGFuZ2VzAAAIVXNlTmFtZUluc3RlYWRPZlRhZ0FzSWQAAAhTaGFwZVByZXZpb3VzbHlDcmVhdGVkAAA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A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AAAAAAAAVdpZHRoAAAAAAAAAAAAAVRvcAAAAABgKCtuQAFMZWZ0AAAAAABFqIFACEZsaXBIb3Jpem9udGFsbHkAAAhGbGlwSG9yaXpvbnRhbGx5QXBwbGllZAAACEZsaXBWZXJ0aWNhbGx5AAAIRmxpcFZlcnRpY2FsbHlBcHBsaWVkAAABUm90YXRpb24AAAAAAAAAAAABWk9yZGVyAAAAAAAAgE5AA0JvcmRlckNvbG9yAFUAAAAQQQD/AAAAEFIAQAAAABBHAGAAAAAQQgByAAAAAVNjQQAAAAAAAADwPwFTY1IAAAAAwP0/qj8BU2NHAAAAAEDK8b0/AVNjQgAAAAAA2onFPw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ACVGV4dEhvcml6b250YWxBbGlnbm1lbnQAAgAAADAAAAMzAKpkBAAQX2lkAAsAAAAEUm93cwBi/AMAAzAAnZ4AABBfaWQACQAAAARJdGVtcwDnUgAAAzAAbRwAAAJfdHlwZQBLAAAAZW1wb3dlci5DaGFydHMuRGF0YS5HYW50dC5DaHJvbm9sb2d5LkRhdGEuQmFyVGFza0RhdGEsIGVtcG93ZXIuQ2hhcnRzLkRhdGEAAkxhYmVsUG9zaXRpb24ABwAAAENlbnRlcgAISXNMYWJlbEluc2lkZUJvdW5kcwABA1N0eWxlAFsEAAABRGVmYXVsdEZvbnRTaXplAAAAAAAAACRAAUZvbnRTaXplAAAAAAAAACBAA0ZvbnRDb2xvcgBVAAAAEEEA/wAAABBSABAAAAAQRwA4AAAAEEIATwAAAAFTY0EAAAAAAAAA8D8BU2NSAAAAAOA2OXU/AVNjRwAAAACAZz+kPwFTY0IAAAAAYBcEtD8AEEZvbnRUaGVtZUNvbG9yAAAAAAAQRm9udFNjaGVtZUNvbG9yAAAAAAABRm9udFRpbnRBbmRTaGFkZQAAAAAAAAAAAANQYXR0ZXJuQ29sb3IAVQAAABBBAAAAAAAQUgAAAAAAEEcAAAAAABBCAAAAAAABU2NBAAAAAAAAAAAAAVNjUgAAAAAAAAAAAAFTY0cAAAAAAAAAAAABU2NCAAAAAAAAAAAAABBQYXR0ZXJuVGhlbWVDb2xvcgAAAAAAAVBhdHRlcm5UaW50QW5kU2hhZGUAAAAAAAAAAAADRGF0YVN0eWxlRm9udENvbG9yVmFsdWUAVQAAABBBAAAAAAAQUgAAAAAAEEcAAAAAABBCAAAAAAABU2NBAAAAAAAAAAAAAVNjUgAAAAAAAAAAAAFTY0cAAAAAAAAAAAABU2NCAAAAAAAAAAAAAAhEYXRhU3R5bGVGb250Q29sb3JIYXNWYWx1ZQAAAUhlaWdodAAAAADg3TIoQAJEYXNoU3R5bGUADQAAAG1zb0xpbmVTb2xpZAAISGFzV2lzaEZpbGxDb2xvcgAAA0ZpbGxDb2xvcgBVAAAAEEEA/wAAABBSAJkAAAAQRwDTAAAAEEIA8gAAAAFTY0EAAAAAAAAA8D8BU2NSAAAAACASY9Q/AVNjRwAAAACgUNjkPwFTY0IAAAAAwN1p7D8AEEZpbGxTY2hlbWVDb2xvcgAAAAAAEEZpbGxUaGVtZUNvbG9yAAAAAAABRmlsbFRpbnRBbmRTaGFkZQAAAAAAAAAAAANCb3JkZXJDb2xvcgBVAAAAEEEAAAAAABBSAAAAAAAQRwAAAAAAEEIAAAAAAAFTY0EAAAAAAAAAAAABU2NSAAAAAAAAAAAAAVNjRwAAAAAAAAAAAAFTY0IAAAAAAAAAAAAAEEJvcmRlclRoZW1lQ29sb3IAAAAAAAFCb3JkZXJUaW50QW5kU2hhZGUAAAAAAAAAAAAISXNGaWxsZWQAAQJQYXR0ZXJuABAAAABtc29QYXR0ZXJuTWl4ZWQAAlNoYXBlVHlwZQAOAAAAbXNvU2hhcGVNaXhlZAADTGFiZWxPZmZzZXQAQgAAAAFYAAAAAAAAAAAAAVkAAAAAAAAAAAABTGVuZ3RoAAAAAAAAAAAAAUxlbmd0aFNxdWFyZWQAAAAAAAAAAAAACElzRm9udEJvbGQAAAhJc0ZvbnRJdGFsaWMAAAhJc0ZvbnRVbmRlcmxpbmVkAAAITGFiZWxIYXNCYWNrZ3JvdW5kAAACVGV4dEFsaWdubWVudAAFAAAATGVmdAAACERpc3BsYXlMYWJlbAABA1JlbmRlckluZm8A8RYAAANSZWN0YW5nbGVGcmVlZm9ybQD8CAAABFZlcnRpY2VzAJsCAAADMAAsAAAAEEluZGV4MAAAAAAAEEluZGV4MQAAAAAAAVZhbHVlAAAAAECoVmxAAAMxACwAAAAQSW5kZXgwAAAAAAAQSW5kZXgxAAEAAAABVmFsdWUAAAAAIB28dUAAAzIALAAAABBJbmRleDAAAQAAABBJbmRleDEAAAAAAAFWYWx1ZQAAAABAqFZsQAADMwAsAAAAEEluZGV4MAABAAAAEEluZGV4MQABAAAAAVZhbHVlAAAAAKDoHHZAAAM0ACwAAAAQSW5kZXgwAAIAAAAQSW5kZXgxAAAAAAABVmFsdWUAAAAAQKhWbEAAAzUALAAAABBJbmRleDAAAgAAABBJbmRleDEAAQAAAAFWYWx1ZQAAAAAAtH12QAADNgAsAAAAEEluZGV4MAADAAAAEEluZGV4MQAAAAAAAVZhbHVlAAAAAEDOYHBAAAM3ACwAAAAQSW5kZXgwAAMAAAAQSW5kZXgxAAEAAAABVmFsdWUAAAAAALR9dkAAAzgALAAAABBJbmRleDAABAAAABBJbmRleDEAAAAAAAFWYWx1ZQAAAABAzmBwQAADOQAsAAAAEEluZGV4MAAEAAAAEEluZGV4MQABAAAAAVZhbHVlAAAAAKDoHHZAAAMxMAAsAAAAEEluZGV4MAAFAAAAEEluZGV4MQAAAAAAAVZhbHVlAAAAAEDOYHBAAAMxMQAsAAAAEEluZGV4MAAFAAAAEEluZGV4MQABAAAAAVZhbHVlAAAAACAdvHVAAAMxMgAsAAAAEEluZGV4MAAGAAAAEEluZGV4MQAAAAAAAVZhbHVlAAAAAECoVmxAAAMxMwAsAAAAEEluZGV4MAAGAAAAEEluZGV4MQABAAAAAVZhbHVlAAAAACAdvHVAAAAFTWFuYWdlZElkABAAAAAELsy67jMJfEajtL54kR3Q6AhIYXNDaGFuZ2VzAAAIVXNlTmFtZUluc3RlYWRPZlRhZ0FzSWQAAAhTaGFwZVByZXZpb3VzbHlDcmVhdGVkAAADRmlsbENvbG9yAFUAAAAQQQD/AAAAEFIAmQAAABBHANMAAAAQQgDyAAAAAVNjQQAAAAAAAADwPwFTY1IAAAAAIBJj1D8BU2NHAAAAAKBQ2OQ/AVNjQgAAAADA3WnsPwAQRmlsbFRoZW1lQ29sb3IAAAAAAAFGaccAAAAF1QAAANAAAADnDwAAAAAAAAAAAABNaXhlZAACVGV4dAABAAAA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CRGlzcGxheVRleHQAAQAAAAABSGVpZ2h0AAAAAEAtBThAAVdpZHRoAAAAAAAAAAAAAVRvcAAAAADg29ZxQAFMZWZ0AAAAAEBl7o1ACEZsaXBIb3Jpem9udGFsbHkAAAhGbGlwSG9yaXpvbnRhbGx5QXBwbGllZAAACEZsaXBWZXJ0aWNhbGx5AAAIRmxpcFZlcnRpY2FsbHlBcHBsaWVkAAABUm90YXRpb24AAAAAAAAAAAABWk9yZGVyAAAAAAAAQFV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RUcmFmZmljTGlnaHREYXRhAAUAAAAABEhhcnZleUJhbGxEYXRhAAUAAAAAAlRyYWZmaWNMaWdodFN0YXRlAAQAAABPZmYABENoZWNrQm94RGF0YQAFAAAAAAJDaGVja0JveFN0YXRlAAUAAABOb25lAAADUmlnaHROb3Rlc1JlbmRlckluZm8AmxQAAANMYWJlbAB0BgAABU1hbmFnZWRJZAAQAAAABBU3VC+r9LtFs2L9UBEy3XIISGFzQ2hhbmdlcwABCFVzZU5hbWVJbnN0ZWFkT2ZUYWdBc0lkAAAIU2hhcGVQcmV2aW91c2x5Q3JlYXRlZAAA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ACRmlsbFBhdHRlcm4AEAAAAG1zb1BhdHRlcm5NaXhlZAACVGV4dAABAAAA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CRGlzcGxheVRleHQAAQAAAAABSGVpZ2h0AAAAAAAAAPA/AVdpZHRoAAAAAAAAAPA/AVRvcAAAAAAAjJZxQAFMZWZ0AAAAAEBl9o1ACEZsaXBIb3Jpem9udGFsbHkAAAhGbGlwSG9yaXpvbnRhbGx5QXBwbGllZAAACEZsaXBWZXJ0aWNhbGx5AAAIRmxpcFZlcnRpY2FsbHlBcHBsaWVkAAABUm90YXRpb24AAAAAAAAAAAABWk9yZGVyAAAAAAAAAAA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TZXBhcmF0b3JMaW5lAP4GAAADU3RhcnQAGwAAAAFYAM3MzBYy841AAVkAAAAAwC5Xc0AAA0VuZAAbAAAAAVgAMzMzfZj5jUABWQAAAADALldzQAACU3RhcnRBcnJvd0hlYWQAEQAAAG1zb0Fycm93aGVhZE5vbmUAAkVuZEFycm93SGVhZAARAAAAbXNvQXJyb3doZWFkTm9uZQAFTWFuYWdlZElkABAAAAAEpcYhOtE7HEu3wT8cJegQmAhIYXNDaGFuZ2VzAAEIVXNlTmFtZUluc3RlYWRPZlRhZ0FzSWQAAAhTaGFwZVByZXZpb3VzbHlDcmVhdGVkAAA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AAEAAAA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TIAAAABdYAAADZAAAA5w8AAAAAAAAAAAAAYWx1ZQAAAAAAAkNoZWNrQm94U3RhdGUABQAAAE5vbmUAAlRyYWZmaWNMaWdodFN0YXRlAAQAAABPZmYAAANMZWZ0Tm90ZXNSZW5kZXJJbmZvAJsUAAADTGFiZWwAdAYAAAVNYW5hZ2VkSWQAEAAAAATtECfAWEBBT4cEwWTLJVjHCEhhc0NoYW5nZXMAAQhVc2VOYW1lSW5zdGVhZE9mVGFnQXNJZAAACFNoYXBlUHJldmlvdXNseUNyZWF0ZWQAAA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AAkZpbGxQYXR0ZXJuABAAAABtc29QYXR0ZXJuTWl4ZWQAAlRleHQAAQAAA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kRpc3BsYXlUZXh0AAEAAAAAAUhlaWdodAAAAAAAAADwPwFXaWR0aAAAAAAAAADwPwFUb3AAAAAAAIyWcUABTGVmdAAAAABAZfaNQAhGbGlwSG9yaXpvbnRhbGx5AAAIRmxpcEhvcml6b250YWxseUFwcGxpZWQAAAhGbGlwVmVydGljYWxseQAACEZsaXBWZXJ0aWNhbGx5QXBwbGllZAAAAVJvdGF0aW9uAAAAAAAAAAAAAVpPcmRlcgAAAAAAAAAAA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2VwYXJhdG9yTGluZQD+BgAAA1N0YXJ0ABsAAAABWADNzMwWMvONQAFZAAAAAMAuV3NAAANFbmQAGwAAAAFYADMzM32Y+Y1AAVkAAAAAwC5Xc0AAAlN0YXJ0QXJyb3dIZWFkABEAAABtc29BcnJvd2hlYWROb25lAAJFbmRBcnJvd0hlYWQAEQAAAG1zb0Fycm93aGVhZE5vbmUABU1hbmFnZWRJZAAQAAAABCpPE1cmvPNNqoEmio/oGmYISGFzQ2hhbmdlcwABCFVzZU5hbWVJbnN0ZWFkT2ZUYWdBc0lkAAAIU2hhcGVQcmV2aW91c2x5Q3JlYXRlZAAA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AABAAAA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CRGlzcGxheVRleHQAAQAAAAABSGVpZ2h0AAAAAAAAAAAAAVdpZHRoAAAAAKCZmek/AVRvcAAAAADALldzQAFMZWZ0AAAAACAy841ACEZsaXBIb3Jpem9udGFsbHkAAAhGbGlwSG9yaXpvbnRhbGx5QXBwbGllZAAACEZsaXBWZXJ0aWNhbGx5AAAIRmxpcFZlcnRpY2FsbHlBcHBsaWVkAAABUm90YXRpb24AAAAAAAAAAAABWk9yZGVyAAAAAAAAgFVAA0JvcmRlckNvbG9yAFUAAAAQQQD/AAAAEFIA4wAAABBHAOMAAAAQQgDjAAAAAVNjQQAAAAAAAADwPwFTY1IAAAAAwLGU6D8BU2NHAAAAAMCxlOg/AVNjQgAAAADAsZToPwAQQm9yZGVyVGhlbWVDb2xvcgAAAAAAAUJvcmRlclRpbnRBbmRTaGFkZQAAAAAAAAAAABBCb3JkZXJTY2hlbWVDb2xvcgAAAAAAAUJvcmRlclRoaWNrbmVzcwAAAAAAAADw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SZWN0YW5nbGUAkQYAAAJBdXRvU2hhcGVUeXBlAAoAAABSZWN0YW5nbGUABU1hbmFnZWRJZAAQAAAABJjSs9iklnpCnKhTA9pWrH0ISGFzQ2hhbmdlcwABCFVzZU5hbWVJbnN0ZWFkT2ZUYWdBc0lkAAAIU2hhcGVQcmV2aW91c2x5Q3JlYXRlZAAAA0ZpbGxDb2xvcgBVAAAAEEEAAAAAABBSAP8AAAAQRwD/AAAAEEIA/wAAAAFTY0EAAAAAAAAAAAABU2NSAAAAAAAAAPA/AVNjRwAAAAAAAADwPwFTY0IAAAAAAAAA8D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ACRmlsbFBhdHRlcm4AEAAAAG1zb1BhdHRlcm5NaXhlZAACVGV4dAABAAAAyQAAAAXEAAAAuAAAAOcPAAAAAAAAAAAAAG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oJmZ6T8BVG9wAAAAAACJNnBAAUxlZnQAAAAAIDLzjUAIRmxpcEhvcml6b250YWxseQAACEZsaXBIb3Jpem9udGFsbHlBcHBsaWVkAAAIRmxpcFZlcnRpY2FsbHkAAAhGbGlwVmVydGljYWxseUFwcGxpZWQAAAFSb3RhdGlvbgAAAAAAAAAAAAFaT3JkZXIAAAAAAACAVUADQm9yZGVyQ29sb3IAVQAAABBBAP8AAAAQUgDjAAAAEEcA4wAAABBCAOMAAAABU2NBAAAAAAAAAPA/AVNjUgAAAADAsZToPwFTY0cAAAAAwLGU6D8BU2NCAAAAAMCxlOg/ABBCb3JkZXJUaGVtZUNvbG9yAAAAAAABQm9yZGVyVGludEFuZFNoYWRlAAAAAAAAAAAAEEJvcmRlclNjaGVtZUNvbG9yAAAAAAABQm9yZGVyVGhpY2tuZXNzAAAAAAAAAPA/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JlY3RhbmdsZQB0BgAAAkF1dG9TaGFwZVR5cGUACgAAAFJlY3RhbmdsZQAFTWFuYWdlZElkABAAAAAEYBCIkpks0027/N4iMdLH7QhIYXNDaGFuZ2VzAAEIVXNlTmFtZUluc3RlYWRPZlRhZ0FzSWQAAAhTaGFwZVByZXZpb3VzbHlDcmVhdGVkAAADRmlsbENvbG9yAFUAAAAQQQAAAAAAEFIA/wAAABBHAP8AAAAQQgD/AAAAAVNjQQAAAAAAAAAAAAFTY1IAAAAAAAAA8D8BU2NHAAAAAAAAAPA/AVNjQgAAAAAAAADwP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A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EAtBThAAVdpZHRoAAAAAAAAAAAAAVRvcAAAAACAbGxtQAFMZWZ0AAAAAEBl7o1ACEZsaXBIb3Jpem9udGFsbHkAAAhGbGlwSG9yaXpvbnRhbGx5QXBwbGllZAAACEZsaXBWZXJ0aWNhbGx5AAAIRmxpcFZlcnRpY2FsbHlBcHBsaWVkAAABUm90YXRpb24AAAAAAAAAAAABWk9yZGVyAAAAAAAAQFV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RUcmFmZmljTGlnaHREYXRhAAUAAAAABEhhcnZleUJhbGxEYXRhAAUAAAAAAlRyYWZmaWNMaWdodFN0YXRlAAQAAABPZmYABENoZWNrQm94RGF0YQAFAAAAAAJDaGVja0JveFN0YXRlAAUAAABOb25lAAADTGVmdFNpZGVSZW5kZXJJbmZvABoUAAADTGFiZWwAnwYAAAVNYW5hZ2VkSWQAEAAAAATByBHUwN6vT4yXDYE6YCZCCEhhc0NoYW5nZXMAAAhVc2VOYW1lSW5zdGVhZE9mVGFnQXNJZAAACFNoYXBlUHJldmlvdXNseUNyZWF0ZWQAAQ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QABwAAAE9FRSBEQQACVGV4dEhvcml6b250YWxBbGlnbm1lbnQADgAAAG1zb0FuY2hvck5vbmUAAlBhcmFncmFwaEFsaWdubWVudAANAAAAbXNvQWxpZ25MZWZ0AAJUZXh0VmVydGljYWxBbGlnbm1lbnQADQAAAG1zb0FuY2hvclRvcAADRm9udFN0eWxlAEABAAAQRm9udEJhY2tncm91bmQAAAAAAAhGb250Qm9sZAAAA0ZvbnRDb2xvcgBVAAAAEEEA/wAAABBSABAAAAAQRwA4AAAAEEIATwAAAAFTY0EAAAAAAAAA8D8BU2NSAAAAAOA2OXU/AVNjRwAAAACAZz+kPwFTY0IAAAAAYBcEtD8AEEZvbnRUaGVtZUNvbG9yAAAAAAABRm9udFRpbnRBbmRTaGFkZQAAAAAAAAAAABBGb250U2NoZW1lQ29sb3IAAAAAAAhGb250SXRhbGljAAACRm9udE5hbWUABgAAAEFyaWFsAAFGb250U2l6ZQAAAAAAAAAoQAhGb250U3RyaWtldGhyb3VnaAAACEZvbnRTdWJzY3JpcHQAAAhGb250U3VwZXJzY3JpcHQAAAhGb250VW5kZXJsaW5lAAAACFNpemVUb1RleHRXaWR0aAAACFNpemVUb1RleHRIZWlnaHQAAANUZXh0TWFyZ2luAD8AAAABTGVmdAAAAAAAAAAAAAFUb3AAAAAAAAAAAAABUmlnaHQAAAAAAAAAAAABQm90dG9tAAAAAAAAAAAAAAJEaXNwbGF5VGV4dAAHAAAAT0VFIERBAAFIZWlnaHQAAAAAwKi7KkABV2lkdGgAAAAAYPLrSEABVG9wAAAAAADiGm5AAUxlZnQAAAAAgJK4KsoAAAAFywAAALcAAADnDwAAAAAAAAAAAACT7Y72v06nbQLVOUjcOAhIYXNDaGFuZ2VzAAEIVXNlTmFtZUluc3RlYWRPZlRhZ0FzSWQAAAhTaGFwZVByZXZpb3VzbHlDcmVhdGVkAAADRmlsbENvbG9yAFUAAAAQQQAAAAAAEFIA/wAAABBHAP8AAAAQQgD/AAAAAVNjQQAAAAAAAAAAAAFTY1IAAAAAAAAA8D8BU2NHAAAAAAAAAPA/AVNjQgAAAAAAAADwP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A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EAtBThAAVdpZHRoAAAAAAAAAAAAAVRvcAAAAACAbGxtQAFMZWZ0AAAAAEBl7o1ACEZsaXBIb3Jpem9udGFsbHkAAAhGbGlwSG9yaXpvbnRhbGx5QXBwbGllZAAACEZsaXBWZXJ0aWNhbGx5AAAIRmxpcFZlcnRpY2FsbHlBcHBsaWVkAAABUm90YXRpb24AAAAAAAAAAAABWk9yZGVyAAAAAAAAQFV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RUcmFmZmljTGlnaHREYXRhAAUAAAAABEhhcnZleUJhbGxEYXRhAAUAAAAAAlRyYWZmaWNMaWdodFN0YXRlAAQAAABPZmYABENoZWNrQm94RGF0YQAFAAAAAAJDaGVja0JveFN0YXRlAAUAAABOb25lAAADUmlnaHROb3Rlc1JlbmRlckluZm8AYRQAAANMYWJlbAB0BgAABU1hbmFnZWRJZAAQAAAABPX0FP21h8BKthe0LNpHESIISGFzQ2hhbmdlcwABCFVzZU5hbWVJbnN0ZWFkT2ZUYWdBc0lkAAAIU2hhcGVQcmV2aW91c2x5Q3JlYXRlZAAA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ACRmlsbFBhdHRlcm4AEAAAAG1zb1BhdHRlcm5NaXhlZAACVGV4dAABAAAA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CRGlzcGxheVRleHQAAQAAAAABSGVpZ2h0AAAAAAAAAPA/AVdpZHRoAAAAAAAAAPA/AVRvcAAAAAAAjJZxQAFMZWZ0AAAAAEBl9o1ACEZsaXBIb3Jpem9udGFsbHkAAAhGbGlwSG9yaXpvbnRhbGx5QXBwbGllZAAACEZsaXBWZXJ0aWNhbGx5AAAIRmxpcFZlcnRpY2FsbHlBcHBsaWVkAAABUm90YXRpb24AAAAAAAAAAAABWk9yZGVyAAAAAAAAAAA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TZXBhcmF0b3JMaW5lAOEGAAADU3RhcnQAGwAAAAFYAM3MzBYy841AAVkAAAAAAIk2cEAAA0VuZAAbAAAAAVgAMzMzfZj5jUABWQAAAAAAiTZwQAACU3RhcnRBcnJvd0hlYWQAEQAAAG1zb0Fycm93aGVhZE5vbmUAAkVuZEFycm93SGVhZAARAAAAbXNvQXJyb3doZWFkTm9uZQAFTWFuYWdlZElkABAAAAAEG+Ye2uBPUECzLKRqJHowGwhIYXNDaGFuZ2VzAAEIVXNlTmFtZUluc3RlYWRPZlRhZ0FzSWQAAAhTaGFwZVByZXZpb3VzbHlDcmVhdGVkAAA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UGHLAAAABcwAAADKAAAA5w8AAAAAAAAAAAAAEEZpbGxTY2hlbWVDb2xvcgAAAAAAEEZpbGxUaGVtZUNvbG9yAAAAAAABRmlsbFRpbnRBbmRTaGFkZQAAAAAAAAAAAANCb3JkZXJDb2xvcgBVAAAAEEEAAAAAABBSAAAAAAAQRwAAAAAAEEIAAAAAAAFTY0EAAAAAAAAAAAABU2NSAAAAAAAAAAAAAVNjRwAAAAAAAAAAAAFTY0IAAAAAAAAAAAAAEEJvcmRlclRoZW1lQ29sb3IAAAAAAAFCb3JkZXJUaW50QW5kU2hhZGUAAAAAAAAAAAAISXNGaWxsZWQAAQJQYXR0ZXJuABAAAABtc29QYXR0ZXJuTWl4ZWQAAlNoYXBlVHlwZQAOAAAAbXNvU2hhcGVNaXhlZAADTGFiZWxPZmZzZXQAQgAAAAFYAAAAAAAAAAAAAVkAAAAAAAAAAAABTGVuZ3RoAAAAAAAAAAAAAUxlbmd0aFNxdWFyZWQAAAAAAAAAAAAACElzRm9udEJvbGQAAAhJc0ZvbnRJdGFsaWMAAAhJc0ZvbnRVbmRlcmxpbmVkAAAITGFiZWxIYXNCYWNrZ3JvdW5kAAACVGV4dEFsaWdubWVudAAFAAAATGVmdAAACEhhcnZleUJhbGxWaXNpYmxlAAEQSGFydmV5QmFsbFZhbHVlAAAAAAACQ2hlY2tCb3hTdGF0ZQAFAAAATm9uZQACVHJhZmZpY0xpZ2h0U3RhdGUABAAAAE9mZgAAA0xlZnROb3Rlc1JlbmRlckluZm8AYRQAAANMYWJlbAB0BgAABU1hbmFnZWRJZAAQAAAABPKolrLHxC5CswYW/FD7LXwISGFzQ2hhbmdlcwABCFVzZU5hbWVJbnN0ZWFkT2ZUYWdBc0lkAAAIU2hhcGVQcmV2aW91c2x5Q3JlYXRlZAAA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ACRmlsbFBhdHRlcm4AEAAAAG1zb1BhdHRlcm5NaXhlZAACVGV4dAABAAAA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CRGlzcGxheVRleHQAAQAAAAABSGVpZ2h0AAAAAAAAAPA/AVdpZHRoAAAAAAAAAPA/AVRvcAAAAAAAjJZxQAFMZWZ0AAAAAEBl9o1ACEZsaXBIb3Jpem9udGFsbHkAAAhGbGlwSG9yaXpvbnRhbGx5QXBwbGllZAAACEZsaXBWZXJ0aWNhbGx5AAAIRmxpcFZlcnRpY2FsbHlBcHBsaWVkAAABUm90YXRpb24AAAAAAAAAAAABWk9yZGVyAAAAAAAAAAA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TZXBhcmF0b3JMaW5lAOEGAAADU3RhcnQAGwAAAAFYAM3MzBYy841AAVkAAAAAAIk2cEAAA0VuZAAbAAAAAVgAMzMzfZj5jUABWQAAAAAAiTZwQAACU3RhcnRBcnJvd0hlYWQAEQAAAG1zb0Fycm93aGVhZE5vbmUAAkVuZEFycm93SGVhZAARAAAAbXNvQXJyb3doZWFkTm9uZQAFTWFuYWdlZElkABAAAAAEI0wn4xkPCk6sNkYQlkef1ghIYXNDaGFuZ2VzAAEIVXNlTmFtZUluc3RlYWRPZlRhZ0FzSWQAAAhTaGFwZVByZXZpb3VzbHlDcmVhdGVkAAA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AAAAAAAAVdpZHRoAAAAAKCZmek/AVRvcAAAAAAAiTZwQAFMZWZ0AAAAACAy841ACEZsaXBIb3Jpem9udGFsbHkAAAhGbGlwSG9yaXpvbnRhbGx5QXBwbGllZAAACEZsaXBWZXJ0aWNhbGx5AAAIRmxpcFZlcnRpY2FsbHlBcHBsaWVkAAABUm90YXRpb24AAAAAAAAAAAABWk9yZGVyAAAAAAAAgFVAA0JvcmRlckNvbG9yAFUAAAAQQQD/AAAAEFIA4wAAABBHAOMAAAAQQgDjAAAAAVNjQQAAAAAAAADwPwFTY1IAAAAAwLGU6D8BU2NHAAAAAMCxlOg/AVNjQgAAAADAsZToPwAQQm9yZGVyVGhlbWVDb2xvcgAAAAAAAUJvcmRlclRpbnRBbmRTaGFkZQAAAAAAAAAAABBCb3JkZXJTY2hlbWVDb2xvcgAAAAAAAUJvcmRlclRoaWNrbmVzcwAAAAAAAADw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SZWN0YW5nbGUAdAYAAAJBdXRvU2hhcGVUeXBlAAoAAABSZWN0YW5nbGUABU1hbmFnZWRJZAAQAAAABH8qzAAAAAXbAAAAywAAAOcPAAAAAAAAAAAAAAAAABBSAAAAAAAQRwAAAAAAEEIAAAAAAAFTY0EAAAAAAAAAAAABU2NSAAAAAAAAAAAAAVNjRwAAAAAAAAAAAAFTY0IAAAAAAAAAAAAAEFBhdHRlcm5UaGVtZUNvbG9yAAAAAAABUGF0dGVyblRpbnRBbmRTaGFkZQAAAAAAAAAAAANEYXRhU3R5bGVGb250Q29sb3JWYWx1ZQBVAAAAEEEA/wAAABBSABAAAAAQRwA4AAAAEEIATwAAAAFTY0EAAAAAAAAA8D8BU2NSAAAAAOA2OXU/AVNjRwAAAACAZz+kPwFTY0IAAAAAYBcEtD8ACERhdGFTdHlsZUZvbnRDb2xvckhhc1ZhbHVlAAEBSGVpZ2h0AAAAAAAAAAAAAkRhc2hTdHlsZQANAAAAbXNvTGluZVNvbGlkAAhIYXNXaXNoRmlsbENvbG9yAAEDRmlsbENvbG9yAFUAAAAQQQAAAAAAEFIA/wAAABBHAP8AAAAQQgD/AAAAAVNjQQAAAAAAAAAAAAFTY1IAAAAAAAAA8D8BU2NHAAAAAAAAAPA/AVNjQgAAAAAAAADwPwAQRmlsbFNjaGVtZUNvbG9yAAAAAAAQRmlsbFRoZW1lQ29sb3IAAAAAAAFGaWxsVGludEFuZFNoYWRlAAAAAAAAAAAAA0JvcmRlckNvbG9yAFUAAAAQQQD/AAAAEFIA4wAAABBHAOMAAAAQQgDjAAAAAVNjQQAAAAAAAADwPwFTY1IAAAAAwLGU6D8BU2NHAAAAAMCxlOg/AVNjQgAAAADAsZToPwAQQm9yZGVyVGhlbWVDb2xvcgAAAAAAAUJvcmRlclRpbnRBbmRTaGFkZQAAAAAAAAAAAAhJc0ZpbGxlZAABAlBhdHRlcm4AEAAAAG1zb1BhdHRlcm5NaXhlZAACU2hhcGVUeXBlAA4AAABtc29TaGFwZU1peGVkAANMYWJlbE9mZnNldABCAAAAAVgAAAAAAAAAAAABWQAAAAAAAAAAAAFMZW5ndGgAAAAAAAAAAAABTGVuZ3RoU3F1YXJlZAAAAAAAAAAAAAABQm9yZGVyVGhpY2tuZXNzAAAAAAAAAPA/CElzRm9udEJvbGQAAAhJc0ZvbnRJdGFsaWMAAAhJc0ZvbnRVbmRlcmxpbmVkAAAITGFiZWxIYXNCYWNrZ3JvdW5kAAACVGV4dEFsaWdubWVudAAFAAAATGVmdAAAA1N1bW1hcnlTdHlsZQB0BAAAAURlZmF1bHRGb250U2l6ZQAAAAAAAAAkQAFGb250U2l6ZQAAAAAAAAAkQANGb250Q29sb3IAVQAAABBBAP8AAAAQUgD/AAAAEEcA/wAAABBCAP8AAAABU2NBAAAAAAAAAPA/AVNjUgAAAAAAAADwPwFTY0cAAAAAAAAA8D8BU2NCAAAAAAAAAPA/ABBGb250VGhlbWVDb2xvcgAAAAAAEEZvbnRTY2hlbWVDb2xvcgAAAAAAAUZvbnRUaW50QW5kU2hhZGUAAAAAAAAAAAADUGF0dGVybkNvbG9yAFUAAAAQQQAAAAAAEFIAAAAAABBHAAAAAAAQQgAAAAAAAVNjQQAAAAAAAAAAAAFTY1IAAAAAAAAAAAABU2NHAAAAAAAAAAAAAVNjQgAAAAAAAAAAAAAQUGF0dGVyblRoZW1lQ29sb3IAAAAAAAFQYXR0ZXJuVGludEFuZFNoYWRlAAAAAAAAAAAAA0RhdGFTdHlsZUZvbnRDb2xvclZhbHVlAFUAAAAQQQAAAAAAEFIAAAAAABBHAAAAAAAQQgAAAAAAAVNjQQAAAAAAAAAAAAFTY1IAAAAAAAAAAAABU2NHAAAAAAAAAAAAAVNjQgAAAAAAAAAAAAAIRGF0YVN0eWxlRm9udENvbG9ySGFzVmFsdWUAAAFIZWlnaHQAAAAA4N0yKEACRGFzaFN0eWxlAA0AAABtc29MaW5lU29saWQACEhhc1dpc2hGaWxsQ29sb3IAAANGaWxsQ29sb3IAVQAAABBBAP8AAAAQUgBAAAAAEEcAYAAAABBCAHIAAAABU2NBAAAAAAAAAPA/AVNjUgAAAADA/T+qPwFTY0cAAAAAQMrxvT8BU2NCAAAAAADaicU/ABBGaWxsU2NoZW1lQ29sb3IAAAAAABBGaWxsVGhlbWVDb2xvcgAAAAAAAUZpbGxUaW50QW5kU2hhZGUAAAAAAAAAAAADQm9yZGVyQ29sb3IAVQAAABBBAP8AAAAQUgBAAAAAEEcAYAAAABBCAHIAAAABU2NBAAAAAAAAAPA/AVNjUgAAAADA/T+qPwFTY0cAAAAAQMrxvT8BU2NCAAAAAADaicU/ABBCb3JkZXJUaGVtZUNvbG9yAAAAAAABQm9yZGVyVGludEFuZFNoYWRlAAAAAAAAAAAACElzRmlsbGVkAAECUGF0dGVybgAQAAAAbXNvUGF0dGVybk1peGVkAAJTaGFwZVR5cGUADgAAAG1zb1NoYXBlTWl4ZWQAA0xhYmVsT2Zmc2V0AEIAAAABWAAAAAAAAAAAAAFZAAAAAAAAAAAAAUxlbmd0aAAAAAAAAAAAAAFMZW5ndGhTcXVhcmVkAAAAAAAAAAAAAAFCb3JkZXJUaGlja25lc3MAAAAAAAAA8D8ISXNGb250Qm9sZAAACElzRm9udEl0YWxpYwAACElzRm9udFVuZGVybGluZWQAAAhMYWJlbEhhc0JhY2tncm91bmQAAAJUZXh0QWxpZ25tZW50AAUAAABMZWZ0AAAIRGlzcGxheUxhYmVsAAEIRGlzcGxheVN1bW1hcnkAAQhJc0NvbGxhcHNlZAAAAVNlY3Rpb25Ub3AAbzUqcmxcbUABU2VjdGlvbkhlaWdodAASqJ/l4cNSQANMZWZ0Tm90ZXMAxwQAAANUZXh0U3R5bGUAWwQAAAFEZWZhdWx0Rm9udFNpemUAAAAAAAAAJEABRm9udFNpemUAAAAAAAAAJEADRm9udENvbG9yAFUAAAAQQQD/AAAAEFIAEAAAABBHADgAAAAQQgBPAAAAAVNjQQAAAAAAAADwPwFTY1IAAAAA4DY5dT8BU2NHAAAAAIBnP6Q/AVNjQgAAAABgFwS0PwAQRm9udFRoZW1lQ29sb3IAAAAAABBGb250U2NoZW1lQ29sb3IAAAAAAAFGb250VGludEFuZFNoYWRlAAAAAAAAAAAAA1BhdHRlcm5Db2xvcgBVAAAAEEEAAAAAABBSAAAAAAAQRwAAAAAAEEIAAAAAAAFTY0EAAAAAAAAAAAABU2NSAAAAAAAAAAAAAVNjRwAAAAAAAAAAAAFTY0IAAAAAAAAAAAAAEFBhdHRlcm5UaGVtZUNvbG9yAAAAAAABUGF0dGVyblRpbnRBbmRTaGFkZQAAAAAAAAAAAANEYXRhU3R5bGVGb250Q29sb3JWYWx1ZQBVAAAAEEEA/wAAABBSABAAAAAQRwA4AAAAEEIATwAAAAFTY0EAAAAAAAAA8D8BU2NSAAAAAOA2OXU/AVNjRwAAAACAZz+kPwFTY0IAAAAAYBcEtD8ACERhdGFTdHlsZUZvbnRDb2xvckhhc1ZhbHVlAAEBSGVpZ2h0AAAAAAAAAAAAAkRhc2hTdHlsZQANAAAAbXNvTGluZVNvbGlkAAhIYXNXaXNoRmlsbENvbG9yAAADRmlsbENvbG9yAFUAAAAQQQD/AAAAEFIAAAAAABBHAAAAAAAQQgAAAAAAAVNjQQAAAAAAAADwPwFTY1IAAAAAAAAAAAABU2NHAAAAAAAAAAAAAVNjQgAAAAAAAAAAAAAQRmlsbFNjaGVtZUNvbG9yAAAAAAAQRmlsbFRoZW1lQ29sb3IAAAAAAAFGaWxsVGludEFuZFNoYWRlAAAAAAAAAAAAA0JvcmRlckNvbG9yAFUAAAAQQQAAAAAAEFIAAAAAABBHAAAAAAAQQgAAAAAAAVNjQQAAAAAAAAAAAAFTY1IAAAAAAAAAAAABU2NHAAAAAAAAAAAAAVNjQgAAAAAAAAAAAAAQQm9yZGVyVGhlbWVDb2xvcgAAAAAAAUJvcmRlclRpbnRBbmRTaGFkZQAAAAAAAAAAAAhJc0ZpbGxlZAABAlBhdHRlcm4AEAAAAG1zb1BhdHRlcm5NaXhlZAACU2hhcGVUeXBlAA4AAABtc29TaGFwZU1peGVkAANMYWJlbE9mZnNldABCAAAAAVgAAAAAAAAAAAABWQAAAAAAAAAAAAFMZW5ndGgAAAAAAAAAAAABTGVuZ3RoU3F1YXJlZAAAAAAAAAAAAAAISXNGb250Qm9sZAAACElzRm9udEl0YWxpYwAACElzRm9udFVuZGVybGluZWQAAAhMYWJlbEhhc0JhY2tncm91bmQAAAJUZXh0QWxpZ25tZW50AAUAAABMZWZ0AAAISGFydmV5QmFsbFZpc2libGUAARBIYXJ2ZXlCYWxsVmFsdWUAAAAAAAJDaGVja0JveFN0YXRlAAUAAABOb25lAAJUcmFmZmljTGlnaHRTdGF0ZQAEAAAAT2ZmAAADUmlnaHROb3RlcwDHBAAAA1RleHRTdHlsZQBbBAAAAURlZmF1bHRGb250U2l6ZQAAAAAAAAAkQAFGb250U2l6ZQAAAAAAAAAkQANGb250Q29sb3IAVQAAABBBAP8AAAAQUgAQAAAAEEcAOAAAABBCAE8AAAABU2NBAAAAAAAAAPA/AVNjUgAAAADgNjl1PwFTY0cAAAAAgGc/pD8BU2NCAAAAAGAXBLQ/ABBGb250VGhlbWVDb2xvcgAAAAAAEEZvbnRTY2hlbWVDb2xvcgAAAAAAAUZvbnRUaW50QW5kU2hhZGUAAAAAAAAAAAADUGF0dGVybkNvbG9yAFUAAAAQQQAAAAAAEFIAAAAAABBHAAAAAAAQQgAAAAAAAVNjQQAAAAAAAAAAAAFTY1IAAAAAAAAAAAABU2NHAAAAAAAAAAAAAVNjQgAAAAAAAAAAAAAQUGF0dGVyblRoZW1lQ29sb3IAAAAAAAFQYXR0ZXJuVGludEFuZFNoYWRlAAAAAAAAAAAAA0RhdGFTdHlsZUZvbnRDb2xvclZhbHVlAFUAAAAQQQD/AAAAEFIAEAAAABBHADgAAAAQQgBPAAAAAVNjQQAAAAAAAADwPwFTY1IAAAAA4DY5dT8BU2NHAAAAAIBnP6Q/AVNjQgAAAABgFwS0PwAIRGF0YVN0eWxlRm9udENvbG9ySGFzVmFsdWUAAQFIZWlnaHQAAAAAAAAAAAACRGFzaFN0eWxlAA0AAABtc29MaW5lU29saWQACEhhc1dpc2hGaWxsQ29sb3IAAANGaWxsQ29sb3IAVQAAABBBAP8AAAAQUgAAAAAAEEcAAAAAABBCAAAAAAABU2NBAAAAAAAAAPA/AVNjUgAAAAAAAAAAAAFTY0cAAAAAAAAAAAABU2NCAAAAAAAAAAAAAM0AAAAFqgAAANIAAADnDwAAAAAAAAAAAAAAAVNjUgAAAAAAAADwPwFTY0cAAAAAAAAA8D8BU2NCAAAAAAAAAPA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AAkZpbGxQYXR0ZXJuABAAAABtc29QYXR0ZXJuTWl4ZWQAAlRleHQAAQAAA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kRpc3BsYXlUZXh0AAEAAAAAAUhlaWdodAAAAABALQU4QAFXaWR0aAAAAAAAAAAAAAFUb3AAAAAAAIlGcEABTGVmdAAAAABAZe6NQAhGbGlwSG9yaXpvbnRhbGx5AAAIRmxpcEhvcml6b250YWxseUFwcGxpZWQAAAhGbGlwVmVydGljYWxseQAACEZsaXBWZXJ0aWNhbGx5QXBwbGllZAAAAVJvdGF0aW9uAAAAAAAAAAAAAVpPcmRlcgAAAAAAAEBV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EVHJhZmZpY0xpZ2h0RGF0YQAFAAAAAARIYXJ2ZXlCYWxsRGF0YQAFAAAAAAJUcmFmZmljTGlnaHRTdGF0ZQAEAAAAT2ZmAARDaGVja0JveERhdGEABQAAAAACQ2hlY2tCb3hTdGF0ZQAFAAAATm9uZQAAA0xlZnRTaWRlUmVuZGVySW5mbwBbFAAAA0xhYmVsAKYGAAAFTWFuYWdlZElkABAAAAAE+eD/nwHCykShZsyUhKdnYAhIYXNDaGFuZ2VzAAAIVXNlTmFtZUluc3RlYWRPZlRhZ0FzSWQAAAhTaGFwZVByZXZpb3VzbHlDcmVhdGVkAAE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AAkAAABTcHJpbnQgMQACVGV4dEhvcml6b250YWxBbGlnbm1lbnQADgAAAG1zb0FuY2hvck5vbmUAAlBhcmFncmFwaEFsaWdubWVudAANAAAAbXNvQWxpZ25MZWZ0AAJUZXh0VmVydGljYWxBbGlnbm1lbnQAEAAAAG1zb0FuY2hvck1pZGRsZQADRm9udFN0eWxlAEABAAAQRm9udEJhY2tncm91bmQAAAAAAAhGb250Qm9sZAAAA0ZvbnRDb2xvcgBVAAAAEEEA/wAAABBSABAAAAAQRwA4AAAAEEIATwAAAAFTY0EAAAAAAAAA8D8BU2NSAAAAAOA2OXU/AVNjRwAAAACAZz+kPwFTY0IAAAAAYBcEtD8AEEZvbnRUaGVtZUNvbG9yAAAAAAABRm9udFRpbnRBbmRTaGFkZQAAAAAAAAAAABBGb250U2NoZW1lQ29sb3IAAAAAAAhGb250SXRhbGljAAACRm9udE5hbWUABgAAAEFyaWFsAAFGb250U2l6ZQAAAAAAAAAkQAhGb250U3RyaWtldGhyb3VnaAAACEZvbnRTdWJzY3JpcHQAAAhGb250U3VwZXJzY3JpcHQAAAhGb250VW5kZXJsaW5lAAAACFNpemVUb1RleHRXaWR0aAAACFNpemVUb1RleHRIZWlnaHQAAANUZXh0TWFyZ2luAD8AAAABTGVmdAAAAAAAAAAAAAFUb3AAAAAAAAAAAAABUmlnaHQAAAAAAAAAAAABQm90dG9tAAAAAAAAAAAAAAJEaXNwbGF5VGV4dAAJAAAAU3ByaW50IDEAAUhlaWdodAAAAABg3wsnQAFXaWR0aAAAAAAAdHpDQAFUb3AAAAAAAIOqcEABTGVmdAAAAABASVw3QAhGbGlwSG9yaXpvbnRhbGx5AAAIRmxpcEhvcml6b250YWxseUFwcGxpZWQAAAhGbGlwVmVydGljYWxseQAACEZsaXBWZXJ0aWNhbGx5QXBwbGllZAAAAVJvdGF0aW9uAAAAAAAAAAAAAVpPcmRlcgAAAAAAAAA+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mVjdGFuZ2xlAJEGAAACQXV0b1NoYXBlVHlwZQAKAAAAUmVjdGFuZ2xlAAVNYW5hZ2VkSWQAEAAAAATY8gua2P1JSrAd6oyd0dZ7CEhhc0NoYW5nZXMAAAhVc2VOYW1lSW5zdGVhZE9mVGFnQXNJZAAACFNoYXBlUHJldmlvdXNseUNyZWF0ZWQAAANGaWxsQ29sb3IAVQAAABBBAAAAAAAQUgD/AAAAEEcA/wAAABBCAP8AAAABU2NBAAAAAAAAAAAAAVNjUgAAAAAAAADwPwFTY0cAAAAAAAAA8D8BU2NCAAAAAAAAAPA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AAkZpbGxQYXR0ZXJuABAAAABtc29QYXR0ZXJuTWl4ZWQAAlRleHQAAQAAAAACVGV4dEhvcml6b250YWxBbGlnbm1lbnQADgAAAG1zb0FuY2hvck5vbmUAAlBhcmFncmFwaEFsaWdubWVudAACAAAAMAACVGV4dFZlcnRpY2FsQWxpZ25tZW50AA0AAABtc29BbmNob3JUb3AAA0ZvbnRTdHlsZQAsAQAAEEZvbnRCYWNrZ3JvdW5kAAAAAAAIRm9udEJvbGQAAANGb250Q29sb3IAVQAAABBBAAAAAAAQUgAAAAAAEEcAAAAAABBCAAAAAAABU2NBAADOAAAABcMAAADWAAAA5w8AAAAAAAAAAAAAdFNpemUAAAAAAAAAAAAIRm9udFN0cmlrZXRocm91Z2gAAAhGb250U3Vic2NyaXB0AAAIRm9udFN1cGVyc2NyaXB0AAAIRm9udFVuZGVybGluZQAAAAhTaXplVG9UZXh0V2lkdGgAAAhTaXplVG9UZXh0SGVpZ2h0AAADVGV4dE1hcmdpbgA/AAAAAUxlZnQAAAAAAAAAAAABVG9wAAAAAAAAAAAAAVJpZ2h0AAAAAAAAAAAAAUJvdHRvbQAAAAAAAAAAAAABSGVpZ2h0AAAAAMDdMihAAVdpZHRoAAAAAMDdMihAAVRvcAAAAADgOTZyQAFMZWZ0AAAAACBZdodACEZsaXBIb3Jpem9udGFsbHkAAAhGbGlwSG9yaXpvbnRhbGx5QXBwbGllZAAACEZsaXBWZXJ0aWNhbGx5AAAIRmxpcFZlcnRpY2FsbHlBcHBsaWVkAAABUm90YXRpb24AAAAAAAAAAAABWk9yZGVyAAAAAAAAgFRAA0JvcmRlckNvbG9yAFUAAAAQQQD/AAAAEFIA/wAAABBHAP8AAAAQQgD/AAAAAVNjQQAAAAAAAADwPwFTY1IAAAAAAAAA8D8BU2NHAAAAAAAAAPA/AVNjQgAAAAAAAADwPwAQQm9yZGVyVGhlbWVDb2xvcgAAAAAAAUJvcmRlclRpbnRBbmRTaGFkZQAAAAAAAAAAABBCb3JkZXJTY2hlbWVDb2xvcgAAAAAAAUJvcmRlclRoaWNrbmVzcwAAAAAAAADw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MYWJlbADDBgAABU1hbmFnZWRJZAAQAAAABIYTYBB5OE5GnSql9g9rg7IISGFzQ2hhbmdlcwAACFVzZU5hbWVJbnN0ZWFkT2ZUYWdBc0lkAAAIU2hhcGVQcmV2aW91c2x5Q3JlYXRlZAABA0ZpbGxDb2xvcgBVAAAAEEEA/wAAABBSAAAAAAAQRwCRAAAAEEIA3wAAAAFTY0EAAAAAAAAA8D8BU2NSAAAAAAAAAAAAAVNjRwAAAAAAHB/SPwFTY0IAAAAAYPac5z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AAdAAAAOOKAiy8xOC8yMDLigIs0IERhc2hib2FyZCB2MQACVGV4dEhvcml6b250YWxBbGlnbm1lbnQADgAAAG1zb0FuY2hvck5vbmUAAlBhcmFncmFwaEFsaWdubWVudAACAAAAMAACVGV4dFZlcnRpY2FsQWxpZ25tZW50ABAAAABtc29BbmNob3JNaWRkbGUAA0ZvbnRTdHlsZQBAAQAAEEZvbnRCYWNrZ3JvdW5kAAAAAAAIRm9udEJvbGQAAANGb250Q29sb3IAVQAAABBBAP8AAAAQUgAQAAAAEEcAOAAAABBCAE8AAAABU2NBAAAAAAAAAPA/AVNjUgAAAADgNjl1PwFTY0cAAAAAgGc/pD8BU2NCAAAAAGAXBLQ/ABBGb250VGhlbWVDb2xvcgAAAAAAAUZvbnRUaW50QW5kU2hhZGUAAAAAAAAAAAAQRm9udFNjaGVtZUNvbG9yAAAAAAAIRm9udEl0YWxpYwAAAkZvbnROYW1lAAYAAABBcmlhbAABRm9udFNpemUAAAAAAAAAIEAIRm9udFN0cmlrZXRocm91Z2gAAAhGb250U3Vic2NyaXB0AAAIRm9udFN1cGVyc2NyaXB0AAAIRm9udFVuZGVybGluZQAAAAhTaXplVG9UZXh0V2lkdGgAAAhTaXplVG9UZXh0SGVpZ2h0AAADVGV4dE1hcmdpbgA/AAAAAUxlZnQAAAAAAAAAAAABVG9wAAAAAAAAAAAAAVJpZ2h0AAAAAAAAAAAAAUJvdHRvbQAAAAAAAAAAAAACRGlzcGxheVRleHQAHQAAADjigIsvMTgvMjAy4oCLNCBEYXNoYm9hcmQgdjEAAUhlaWdodAAAAADgsUslQAFXaWR0aAAAAAAAYxlYQAFUb3AAAAAAQNxbcUABTGVmdAAAAADgvqaHQAhGbGlwSG9yaXpvbnRhbGx5AAAIRmxpcEhvcml6b250YWxseUFwcGxpZWQAAAhGbGlwVmVydGljYWxseQAACEZsaXBWZXJ0aWNhbGx5QXBwbGllZAAAAVJvdGF0aW9uAAAAAAAAAAAAAVpPcmRlcgAAAAAAAMBU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Q29ubmVjdG9yTGluZQDhBgAAA1N0YXJ0ABsAAAABWAAAAAAgWXaHQAFZAAAAAOA5NnJAAANFbmQAGwAAAAFYAAAAACBZdodAAVkAAAAA4Dk2ckAAAlN0YXJ0QXJyb3dIZWFkABEAAABtc29BcnJvd2hlYWROb25lAAJFbmRBcnJvd0hlYWQAEQAAAG1zb0Fycm93aGVhZE5vbmUABU1hbmFnZWRJZAAQAAAABA0ErrCYkMVCsR0yfqhoou0ISGFzQ2hhbmdlcwAACFVzZU5hbWVJbnN0ZWFkT2ZUYWdBc0lkAAAIU2hhcGVQcmV2aW91c2x5Q3JlYXRlZAAA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A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AAAAAAAAFUb3AAAAAA4Dk2ckABTGVmdAAAAAAgWXaHQAhGbGlwSG9yaXpvbnRhbGx5AAAIRmxpcEhvcml6b250YWxseUFwcGxpZWQAAAhGbGlwVmVydGljYWxseQAACEZsaXBWZXJ0aWNhbGx5QXBwbGllZAAAAVJvdGF0aW9uAAAAAAAAAAAAAVpPcmRlcgAAAAAAAEBUQANCb3JkZXJDb2xvcgBVAAAAEEEA/wAAABBSAAAAAAAQRwCRAAAAEEIA3wAAAAFTY0EAAAAAAAAA8D8BU2NSAAAAAAAAAAAAAVNjRwAAAAAAHB/SPwFTY0IAAAAAYPac5z8AEEJvcmRlclRoZW1lQ29sb3IAAAAAAAFCb3JkZXJUaW50QW5kU2hhZGUAAAAAAAAAAAAQQm9yZGVyU2NoZW1lQ29sb3IAAAAAAAFCb3JkZXJUaGljzwAAAAW9AAAA1QAAAOcPAAAAAAAAAAAAAAAAAAAAAUJvcmRlclRoaWNrbmVzcwAAAAAAAADg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ACTWlsZXN0b25lTGFiZWxQb3NpdGlvbgAJAAAAVG9wUmlnaHQAEEluZGV4AAIAAAACRGVzY3JpcHRpb24AHQAAADjigIsvMTgvMjAy4oCLNCBEYXNoYm9hcmQgdjEAAk5hbWUACgAAAE1pbGVzdG9uZQAISXNMZWFkZXJMaW5lSW5BdXRvTW9kZQABCVN0YXJ0VGltZQAAMxJkkQEAAAAAAk5hbWUACQAAAFNwcmludCAyAAhJc0hpZ2hsaWdodGVkAAAISXNTZXBhcmF0b3JMaW5lVmlzaWJsZQABA1N0eWxlAHQEAAABRGVmYXVsdEZvbnRTaXplAAAAAAAAACRAAUZvbnRTaXplAAAAAAAAACRAA0ZvbnRDb2xvcgBVAAAAEEEA/wAAABBSABAAAAAQRwA4AAAAEEIATwAAAAFTY0EAAAAAAAAA8D8BU2NSAAAAAOA2OXU/AVNjRwAAAACAZz+kPwFTY0IAAAAAYBcEtD8AEEZvbnRUaGVtZUNvbG9yAAAAAAAQRm9udFNjaGVtZUNvbG9yAAAAAAABRm9udFRpbnRBbmRTaGFkZQAAAAAAAAAAAANQYXR0ZXJuQ29sb3IAVQAAABBBAAAAAAAQUgAAAAAAEEcAAAAAABBCAAAAAAABU2NBAAAAAAAAAAAAAVNjUgAAAAAAAAAAAAFTY0cAAAAAAAAAAAABU2NCAAAAAAAAAAAAABBQYXR0ZXJuVGhlbWVDb2xvcgAAAAAAAVBhdHRlcm5UaW50QW5kU2hhZGUAAAAAAAAAAAADRGF0YVN0eWxlRm9udENvbG9yVmFsdWUAVQAAABBBAP8AAAAQUgAQAAAAEEcAOAAAABBCAE8AAAABU2NBAAAAAAAAAPA/AVNjUgAAAADgNjl1PwFTY0cAAAAAgGc/pD8BU2NCAAAAAGAXBLQ/AAhEYXRhU3R5bGVGb250Q29sb3JIYXNWYWx1ZQABAUhlaWdodAAAAAAAAAAAAAJEYXNoU3R5bGUADQAAAG1zb0xpbmVTb2xpZAAISGFzV2lzaEZpbGxDb2xvcgABA0ZpbGxDb2xvcgBVAAAAEEEAAAAAABBSAP8AAAAQRwD/AAAAEEIA/wAAAAFTY0EAAAAAAAAAAAABU2NSAAAAAAAAAPA/AVNjRwAAAAAAAADwPwFTY0IAAAAAAAAA8D8AEEZpbGxTY2hlbWVDb2xvcgAAAAAAEEZpbGxUaGVtZUNvbG9yAAAAAAABRmlsbFRpbnRBbmRTaGFkZQAAAAAAAAAAAANCb3JkZXJDb2xvcgBVAAAAEEEA/wAAABBSAOMAAAAQRwDjAAAAEEIA4wAAAAFTY0EAAAAAAAAA8D8BU2NSAAAAAMCxlOg/AVNjRwAAAADAsZToPwFTY0IAAAAAwLGU6D8AEEJvcmRlclRoZW1lQ29sb3IAAAAAAAFCb3JkZXJUaW50QW5kU2hhZGUAAAAAAAAAAAAISXNGaWxsZWQAAQJQYXR0ZXJuABAAAABtc29QYXR0ZXJuTWl4ZWQAAlNoYXBlVHlwZQAOAAAAbXNvU2hhcGVNaXhlZAADTGFiZWxPZmZzZXQAQgAAAAFYAAAAAAAAAAAAAVkAAAAAAAAAAAABTGVuZ3RoAAAAAAAAAAAAAUxlbmd0aFNxdWFyZWQAAAAAAAAAAAAAAUJvcmRlclRoaWNrbmVzcwAAAAAAAADwPwhJc0ZvbnRCb2xkAAAISXNGb250SXRhbGljAAAISXNGb250VW5kZXJsaW5lZAAACExhYmVsSGFzQmFja2dyb3VuZAAAAlRleHRBbGlnbm1lbnQABQAAAExlZnQAAAFSb3dUb3AAZWFa39vOcUABUm93SGVpZ2h0AG41KjItBTlAA0xlZnROb3RlcwDHBAAAA1RleHRTdHlsZQBbBAAAAURlZmF1bHRGb250U2l6ZQAAAAAAAAAkQAFGb250U2l6ZQAAAAAAAAAkQANGb250Q29sb3IAVQAAABBBAP8AAAAQUgAQAAAAEEcAOAAAABBCAE8AAAABU2NBAAAAAAAAAPA/AVNjUgAAAADgNjl1PwFTY0cAAAAAgGc/pD8BU2NCAAAAAGAXBLQ/ABBGb250VGhlbWVDb2xvcgAAAAAAEEZvbnRTY2hlbWVDb2xvcgAAAAAAAUZvbnRUaW50QW5kU2hhZGUAAAAAAAAAAAADUGF0dGVybkNvbG9yAFUAAAAQQQAAAAAAEFIAAAAAABBHAAAAAAAQQgAAAAAAAVNjQQAAAAAAAAAAAAFTY1IAAAAAAAAAAAABU2NHAAAAAAAAAAAAAVNjQgAAAAAAAAAAAAAQUGF0dGVyblRoZW1lQ29sb3IAAAAAAAFQYXR0ZXJuVGludEFuZFNoYWRlAAAAAAAAAAAAA0RhdGFTdHlsZUZvbnRDb2xvclZhbHVlAFUAAAAQQQD/AAAAEFIAEAAAABBHADgAAAAQQgBPAAAAAVNjQQAAAAAAAADwPwFTY1IAAAAA4DY5dT8BU2NHAAAAAIBnP6Q/AVNjQgAAAABgFwS0PwAIRGF0YVN0eWxlRm9udENvbG9ySGFzVmFsdWUAAQFIZWlnaHQAAAAAAAAAAAACRGFzaFN0eWxlAA0AAABtc29MaW5lU29saWQACEhhc1dpc2hGaWxsQ29sb3IAAANGaWxsQ29sb3IAVQAAABBBAP8AAAAQUgAAAAAAEEcAAAAAABBCAAAAAAABU2NBAAAAAAAAAPA/AVNjUgAAAAAAAAAAAAFTY0cAAAAAAAAAAAABU2NCAAAAAAAAAAAAABBGaWxsU2NoZW1lQ29sb3IAAAAAABBGaWxsVGhlbWVDb2xvcgAAAAAAAUZpbGxUaW50QW5kU2hhZGUAAAAAAAAAAAADQm9yZGVyQ29sb3IAVQAAABBBAAAAAAAQUgAAAAAAEEcAAAAAABBCAAAAAAABU2NBAAAAAAAAAAAAAVNjUgAAAAAAAAAAAAFTY0cAAAAAAAAAAAABU2NCAAAAAAAAAAAAABBCb3JkZXJUaGVtZUNvbG9yAAAAAAABQm9yZGVyVGludEFuZFNoYWRlAAAAAAAAAAAACElzRmlsbGVkAAECUGF0dGVybgAQAAAAbXNvUGF0dGVybk1peGVkAAJTaGFwZVR5cGUADgAAAG1zb1NoYXBlTWl4ZWQAA0xhYmVsT2Zmc2V0AEIAAAABWAAAAAAAAAAAAAFZAAAAAAAAAAAAAUxlbmd0aAAAAAAAAAAAAAFMZW5ndGhTcXVhcmVkAAAAAAAAAAAAAAhJc0ZvbnRCb2xkAAAISXNGb250SXRhbGljAAAISXNGb250VW5kZXJsaW5lZAAACExhYmVsSGFzQmFja2dyb3VuZAAAAlRleHRBbGlnbm1lbnQABQAAAExlZnQAAAhIYXJ2ZXlCYWxsVmlzaWJsZQABEEhhcnZleUJhbGxWYWx1ZQAAAAAAAkNoZWNrQm94U3RhdGUABQAAAE5vbmUAAlRyYWZmaWNMaWdodFN0YXRlAAQAAABPZmYAAANSaWdodE5vdGVzAMcEAAADVGV4dFN0eWxlAFsEAAABRGVmYXVsdEZvbnRTaXplAAAAAAAAACRAAUZvbnRTaXplAAAAAAAAACRAA0ZvbnRDb2xvcgBVAAAAEEEA/wAAABBSABAAAAAQRwA4AAAAEEIATwAAAAFTY0EAAAAAAAAA8D8BU2NSAAAAAOA2OXU/AVNjRwAAAACAZz+kPwFTY0IAAAAAYBcEtD8AEEZvbnRUaGVtZUNvbG9yAAAAAAAQRm9udFNjaGVtZUNvbG9yAAAAAAABRm9udFRpbnRBbmRTaGFkZQAAAAAAAAAAAANQYXR0ZXJuQ29sb3IAVQAAABBBAAAAAAAQUgAAAAAAEEcAAAAAABBCAAAAAAABU2NBAAAAAAAAAAAAAVNjUgAAAAAAAAAAAAFTY0cAAAAAAAAAAAABU2NCAAAAAAAAAAAAABBQYXR0ZXJuVGhlbWVDb2xvcgAAAAAAAVBhdHRlcm5UaW50QW5kU2hhZGUAAAAAAAAAAAADRGF0YVN0eWxlRm9udENvbG9yVmFsdWUAVQAAABBBAP8AAAAQUgAQAAAAEEcAOAAAABBCAE8AAAABU2NBAAAAAAAAAPA/AVNjUgAAAADgNjl1PwFTY0cAAAAAgGc/pD8BU2NCAAAAAGAXBLQ/AAhEYXRhU3R5bGVGb250Q29sb3JIYXNWYWx1ZQABAUhlaWdodAAAAAAAAAAAAAJEYXNoU3R5bGUADQAAAG1zb0xpbmVTb2xpZAAISGFzV2lzaEZpbGxDb2xvcgAAA0ZpbGxDb2xvcgBVAAAAEEEA/wAAABBSAAAAAAAQRwAAAAAAEEIAAAAAAAFTY0EAAAAAAAAA8D8BU2NSAAAAAAAAAAAAAVNjRwAAAAAAAAAAAAFTY0IAAAAAAAAAAAAAEEZpbGxTY2hlbWVDb2xvcgAAAAAAEEZpbGxUaGVtZUNvbG9yAAAAAAABRmlsbFRpbnRBbmRTaGFkZQAAAAAAAAAAAANCb3JkZXJDb2xvcgBVAAAAEEEAAAAAABBSAAAAAAAQRwAAAAAAEEIAAAAAAAFTY0EAAAAAAAAAAAABU2NSAAAAAAAAAAAAAVNjRwAAAAAAAAAAAAFTY0IAAAAAAAAAAAAAEEJvcmRlclRoZW1lQ29sb3IAAAAAAAFCb3JkZXJUaW50QW5kU2hhZGUAAAAAAAAAAAAISXNGaWxsZWQAAQJQYXR0ZXJuABAAAABtc29QYXR0ZXJuTWl4ZWQAAlNoYXBlVHlwZQAOAAAAbXNvU2hhcGVNaXhlZAADTGFiZWxPZmZzZXQAQgAAAAFYAAAAAAAAAAAAAVkAAAAAAAAAAAABTGVuZ3RoAAAAAAAAAAAAAUxlbmd0aFNxdWFyZWQAAAAAAAAAAAAACElzRm9udEJvbGQAAAhJc0ZvbnRJdGFsaWMAAAhJc0ZvbnRVbmRlcmxpbmVkAAAITGFiZWxIYXNCYWNrZ3JvdW5kAAACVGV4dEFsaWdubWVudAAFAAAATGVmdAAACEhhcnZleUJhbGxWaXNpYtAAAAAFxwAAANEAAADnDwAAAAAAAAAAAABIZWlnaHQAAANUZXh0TWFyZ2luAD8AAAABTGVmdAAAAAAAAAAAAAFUb3AAAAAAAAAAAAABUmlnaHQAAAAAAAAAAAABQm90dG9tAAAAAAAAAAAAAAJEaXNwbGF5VGV4dAABAAAAAAFIZWlnaHQAAAAAAAAAAAABV2lkdGgAAAAAoJmZ6T8BVG9wAAAAAMAuV3NAAUxlZnQAAAAAIDLzjUAIRmxpcEhvcml6b250YWxseQAACEZsaXBIb3Jpem9udGFsbHlBcHBsaWVkAAAIRmxpcFZlcnRpY2FsbHkAAAhGbGlwVmVydGljYWxseUFwcGxpZWQAAAFSb3RhdGlvbgAAAAAAAAAAAAFaT3JkZXIAAAAAAACAVUADQm9yZGVyQ29sb3IAVQAAABBBAP8AAAAQUgDjAAAAEEcA4wAAABBCAOMAAAABU2NBAAAAAAAAAPA/AVNjUgAAAADAsZToPwFTY0cAAAAAwLGU6D8BU2NCAAAAAMCxlOg/ABBCb3JkZXJUaGVtZUNvbG9yAAAAAAABQm9yZGVyVGludEFuZFNoYWRlAAAAAAAAAAAAEEJvcmRlclNjaGVtZUNvbG9yAAAAAAABQm9yZGVyVGhpY2tuZXNzAAAAAAAAAPA/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JlY3RhbmdsZQCRBgAAAkF1dG9TaGFwZVR5cGUACgAAAFJlY3RhbmdsZQAFTWFuYWdlZElkABAAAAAE7IffUSiuO0qweS+F86LZrghIYXNDaGFuZ2VzAAEIVXNlTmFtZUluc3RlYWRPZlRhZ0FzSWQAAAhTaGFwZVByZXZpb3VzbHlDcmVhdGVkAAADRmlsbENvbG9yAFUAAAAQQQAAAAAAEFIA/wAAABBHAP8AAAAQQgD/AAAAAVNjQQAAAAAAAAAAAAFTY1IAAAAAAAAA8D8BU2NHAAAAAAAAAPA/AVNjQgAAAAAAAADwP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AJGaWxsUGF0dGVybgAQAAAAbXNvUGF0dGVybk1peGVkAAJUZXh0AAEAAAA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JEaXNwbGF5VGV4dAABAAAAAAFIZWlnaHQAAAAAQC0FOEABV2lkdGgAAAAAAAAAAAABVG9wAAAAAODb1nFAAUxlZnQAAAAAQGXujUAIRmxpcEhvcml6b250YWxseQAACEZsaXBIb3Jpem9udGFsbHlBcHBsaWVkAAAIRmxpcFZlcnRpY2FsbHkAAAhGbGlwVmVydGljYWxseUFwcGxpZWQAAAFSb3RhdGlvbgAAAAAAAAAAAAFaT3JkZXIAAAAAAABAVU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BFRyYWZmaWNMaWdodERhdGEABQAAAAAESGFydmV5QmFsbERhdGEABQAAAAACVHJhZmZpY0xpZ2h0U3RhdGUABAAAAE9mZgAEQ2hlY2tCb3hEYXRhAAUAAAAAAkNoZWNrQm94U3RhdGUABQAAAE5vbmUAAANMZWZ0U2lkZVJlbmRlckluZm8AWxQAAANMYWJlbACmBgAABU1hbmFnZWRJZAAQAAAABJtfDfrghRRDqpA8CL1HuJUISGFzQ2hhbmdlcwAACFVzZU5hbWVJbnN0ZWFkT2ZUYWdBc0lkAAAIU2hhcGVQcmV2aW91c2x5Q3JlYXRlZAAB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AAJAAAAU3ByaW50IDIAAlRleHRIb3Jpem9udGFsQWxpZ25tZW50AA4AAABtc29BbmNob3JOb25lAAJQYXJhZ3JhcGhBbGlnbm1lbnQADQAAAG1zb0FsaWduTGVmdAACVGV4dFZlcnRpY2FsQWxpZ25tZW50ABAAAABtc29BbmNob3JNaWRkbGUAA0ZvbnRTdHlsZQBAAQAAEEZvbnRCYWNrZ3JvdW5kAAAAAAAIRm9udEJvbGQAAANGb250Q29sb3IAVQAAABBBAP8AAAAQUgAQAAAAEEcAOAAAABBCAE8AAAABU2NBAAAAAAAAAPA/AVNjUgAAAADgNjl1PwFTY0cAAAAAgGc/pD8BU2NCAAAAAGAXBLQ/ABBGb250VGhlbWVDb2xvcgAAAAAAAUZvbnRUaW50QW5kU2hhZGUAAAAAAAAAAAAQRm9udFNjaGVtZUNvbG9yAAAAAAAIRm9udEl0YWxpYwAAAkZvbnROYW1lAAYAAABBcmlhbAABRm9udFNpemUAAAAAAAAAJEAIRm9udFN0cmlrZXRocm91Z2gAAAhGb250U3Vic2NyaXB0AAAIRm9udFN1cGVyc2NyaXB0AAAIRm9udFVuZGVybGluZQAAAAhTaXplVG9UZXh0V2lkdGgAAAhTaXplVG9UZXh0SGVpZ2h0AAADVGV4dE1hcmdpbgA/AAAAAUxlZnQAAAAAAAAAAAABVG9wAAAAAAAAAAAAAVJpZ2h0AAAAAAAAAAAAAUJvdHRvbQAAAAAAAAAAAAACRGlzcGxheVRleHQACQAAAFNwcmludCAyAAFIZWlnaHQAAAAAYN8LJ0ABV2lkdGgAAAAAAHR6Q0ABVG9wAAAAAMDVOnJAAUxlZnQAAAAAQElcN0AIRmxpcEhvcml6b250YWxseQAACEZsaXBIb3Jpem9udGFsbHlBcHBsaWVkAAAIRmxpcFZlcnRpY2FsbHkAAAhGbGlwVmVydGljYWxseUFwcGxpZWQAAAFSb3RhdGlvbgAAAAAAAAAAAAFaT3JkZXIAAAAAAAAAPk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jRAAAABdAAAADXAAAA5w8AAAAAAAAAAAAAYW5naW5nUHVuY3R1YXRpb24AABBJbmRlbnRMZXZlbAAAAAAAAUxlZnRJbmRlbnQAAAAAAAAAAAAITGluZVJ1bGVBZnRlcgAACExpbmVSdWxlQmVmb3JlAAAITGluZVJ1bGVXaXRoaW4AAAFSaWdodEluZGVudAAAAAAAAAAAAAFTcGFjZUFmdGVyAAAAAAAAAAAAAVNwYWNlQmVmb3JlAAAAAAAAAAAAAVNwYWNlV2l0aGluAAAAAAAAAAAAAANSZWN0YW5nbGUAkQYAAAJBdXRvU2hhcGVUeXBlAAoAAABSZWN0YW5nbGUABU1hbmFnZWRJZAAQAAAABN8TrDtWnLJHiBDr9beg6qUISGFzQ2hhbmdlcwAACFVzZU5hbWVJbnN0ZWFkT2ZUYWdBc0lkAAAIU2hhcGVQcmV2aW91c2x5Q3JlYXRlZAAAA0ZpbGxDb2xvcgBVAAAAEEEAAAAAABBSAP8AAAAQRwD/AAAAEEIA/wAAAAFTY0EAAAAAAAAAAAABU2NSAAAAAAAAAPA/AVNjRwAAAAAAAADwPwFTY0IAAAAAAAAA8D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ACRmlsbFBhdHRlcm4AEAAAAG1zb1BhdHRlcm5NaXhlZAACVGV4dAABAAAA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CRGlzcGxheVRleHQAAQAAAAABSGVpZ2h0AAAAAEAtBThAAVdpZHRoAAAAAACD241AAVRvcAAAAADg29ZxQAFMZWZ0AAAAAABK4gpACEZsaXBIb3Jpem9udGFsbHkAAAhGbGlwSG9yaXpvbnRhbGx5QXBwbGllZAAACEZsaXBWZXJ0aWNhbGx5AAAIRmxpcFZlcnRpY2FsbHlBcHBsaWVkAAABUm90YXRpb24AAAAAAAAAAAABWk9yZGVyAAAAAAAAACZ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TZXBhcmF0b3JMaW5lAP4GAAADU3RhcnQAGwAAAAFYAM3MzMwWrwdAAVkAvAR9si5Xc0AAA0VuZAAbAAAAAVgAMzMzfZj5jUABWQC8BH2yLldzQAACU3RhcnRBcnJvd0hlYWQAEQAAAG1zb0Fycm93aGVhZE5vbmUAAkVuZEFycm93SGVhZAARAAAAbXNvQXJyb3doZWFkTm9uZQAFTWFuYWdlZElkABAAAAAEVOLl3NoApkyM1hQfQYURFAhIYXNDaGFuZ2VzAAAIVXNlTmFtZUluc3RlYWRPZlRhZ0FzSWQAAAhTaGFwZVByZXZpb3VzbHlDcmVhdGVkAAA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AAEAAAA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JEaXNwbGF5VGV4dAABAAAAAAFIZWlnaHQAAAAAAAAAAAABV2lkdGgAAAAAYOnhjUABVG9wAAAAAMAuV3NAAUxlZnQAAAAAwBavB0AIRmxpcEhvcml6b250YWxseQAACEZsaXBIb3Jpem9udGFsbHlBcHBsaWVkAAAIRmxpcFZlcnRpY2FsbHkAAAhGbGlwVmVydGljYWxseUFwcGxpZWQAAAFSb3RhdGlvbgAAAAAAAAAAAAFaT3JkZXIAAAAAAAAAKEADQm9yZGVyQ29sb3IAVQAAABBBAP8AAAAQUgDjAAAAEEcA4wAAABBCAOMAAAABU2NBAAAAAAAAAPA/AVNjUgAAAADAsZToPwFTY0cAAAAAwLGU6D8BU2NCAAAAAMCxlOg/ABBCb3JkZXJUaGVtZUNvbG9yAAAAAAABQm9yZGVyVGludEFuZFNoYWRlAAAAAAAAAAAAEEJvcmRlclNjaGVtZUNvbG9yAAAAAAABQm9yZGVyVGhpY2tuZXNzAAAAAAAAAPA/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AAAAk5hbWUABwAAAE9FRSBEQQACU3VtbWFyeUxhYmVsABwAAAA34oCLLzEzLzIwMjQgLSA4LzE4LzIwMuKAizQACElzTGFiZWxJbnNpZGVCb3VuZHMAAQJMYWJlbFBvc2l0aW9uAAUAAABMZWZ0AAhJc0hpZ2hsaWdodGVkAAAISXNTZXBhcmF0b3JMaW5lVmlzaWJsZQABA0xlZnRTaWRlU3R5bGUAdAQAAAFEZWZhdWx0Rm9udFNpemUAAAAAAAAAJEABRm9udFNpemUAAAAAAAAAKEADRm9udENvbG9yAFUAAAAQQQD/AAAAEFIAEAAAABBHADgAAAAQQgBPAAAAAVNjQQAAAAAAAADwPwFTY1IAAAAA4DY5dT8BU2NHAAAAAIBnP6Q/AVNjQgAAAABgFwS0PwAQRm9udFRoZW1lQ29sb3IAAAAAABBGb250U2NoZW1lQ29sb3IAAAAAAAFGb250VGludEFuZFNoYWRlAAAAAAAAAAAAA1BhdHRl0gAAAAXNAAAA0wAAAOcPAAAAAAAAAAA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CRGlzcGxheVRleHQAAQAAAAABSGVpZ2h0AAAAAEAtBThAAVdpZHRoAAAAAACD241AAVRvcAAAAAAAiUZwQAFMZWZ0AAAAAABK4gpACEZsaXBIb3Jpem9udGFsbHkAAAhGbGlwSG9yaXpvbnRhbGx5QXBwbGllZAAACEZsaXBWZXJ0aWNhbGx5AAAIRmxpcFZlcnRpY2FsbHlBcHBsaWVkAAABUm90YXRpb24AAAAAAAAAAAABWk9yZGVyAAAAAAAAACZ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TZXBhcmF0b3JMaW5lAP4GAAADU3RhcnQAGwAAAAFYAM3MzMwWrwdAAVkAZWFa39vGcUAAA0VuZAAbAAAAAVgAMzMzfZj5jUABWQBlYVrf28ZxQAACU3RhcnRBcnJvd0hlYWQAEQAAAG1zb0Fycm93aGVhZE5vbmUAAkVuZEFycm93SGVhZAARAAAAbXNvQXJyb3doZWFkTm9uZQAFTWFuYWdlZElkABAAAAAEgu/EVpkR/0W+rvJ5l567HAhIYXNDaGFuZ2VzAAAIVXNlTmFtZUluc3RlYWRPZlRhZ0FzSWQAAAhTaGFwZVByZXZpb3VzbHlDcmVhdGVkAAA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AAEAAAA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JEaXNwbGF5VGV4dAABAAAAAAFIZWlnaHQAAAAAAAAAAAABV2lkdGgAAAAAYOnhjUABVG9wAAAAAODbxnFAAUxlZnQAAAAAwBavB0AIRmxpcEhvcml6b250YWxseQAACEZsaXBIb3Jpem9udGFsbHlBcHBsaWVkAAAIRmxpcFZlcnRpY2FsbHkAAAhGbGlwVmVydGljYWxseUFwcGxpZWQAAAFSb3RhdGlvbgAAAAAAAAAAAAFaT3JkZXIAAAAAAAAAKEADQm9yZGVyQ29sb3IAVQAAABBBAP8AAAAQUgDjAAAAEEcA4wAAABBCAOMAAAABU2NBAAAAAAAAAPA/AVNjUgAAAADAsZToPwFTY0cAAAAAwLGU6D8BU2NCAAAAAMCxlOg/ABBCb3JkZXJUaGVtZUNvbG9yAAAAAAABQm9yZGVyVGludEFuZFNoYWRlAAAAAAAAAAAAEEJvcmRlclNjaGVtZUNvbG9yAAAAAAABQm9yZGVyVGhpY2tuZXNzAAAAAAAAAPA/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AADMQDJggAAEF9pZAASAAAABEl0ZW1zAGU2AAADMAB5HAAAAl90eXBlAEsAAABlbXBvd2VyLkNoYXJ0cy5EYXRhLkdhbnR0LkNocm9ub2xvZ3kuRGF0YS5CYXJUYXNrRGF0YSwgZW1wb3dlci5DaGFydHMuRGF0YQACTGFiZWxQb3NpdGlvbgAHAAAAQ2VudGVyAAhJc0xhYmVsSW5zaWRlQm91bmRzAAEDU3R5bGUAWwQAAAFEZWZhdWx0Rm9udFNpemUAAAAAAAAAJEABRm9udFNpemUAAAAAAAAAIEADRm9udENvbG9yAFUAAAAQQQD/AAAAEFIAEAAAABBHADgAAAAQQgBPAAAAAVNjQQAAAAAAAADwPwFTY1IAAAAA4DY5dT8BU2NHAAAAAIBnP6Q/AVNjQgAAAABgFwS0PwAQRm9udFRoZW1lQ29sb3IAAAAAABBGb250U2NoZW1lQ29sb3IAAAAAAAFGb250VGludEFuZFNoYWRlAAAAAAAAAAAAA1BhdHRlcm5Db2xvcgBVAAAAEEEAAAAAABBSAAAAAAAQRwAAAAAAEEIAAAAAAAFTY0EAAAAAAAAAAAABU2NSAAAAAAAAAAAAAVNjRwAAAAAAAAAAAAFTY0IAAAAAAAAAAAAAEFBhdHRlcm5UaGVtZUNvbG9yAAAAAAABUGF0dGVyblRpbnRBbmRTaGFkZQAAAAAAAAAAAANEYXRhU3R5bGVGb250Q29sb3JWYWx1ZQBVAAAAEEEAAAAAABBSAAAAAAAQRwAAAAAAEEIAAAAAAAFTY0EAAAAAAAAAAAABU2NSAAAAAAAAAAAAAVNjRwAAAAAAAAAAAAFTY0IAAAAAAAAAAAAACERhdGFTdHlsZUZvbnRDb2xvckhhc1ZhbHVlAAABSGVpZ2h0AAAAAODdMihAAkRhc2hTdHlsZQANAAAAbXNvTGluZVNvbGlkAAhIYXNXaXNoRmlsbENvbG9yAAADRmlsbENvbG9yAFUAAAAQQQD/AAAAEFIAmQAAABBHANMAAAAQQgDyAAAAAVNjQQAAAAAAAADwPwFTY1IAAAAAIBJj1D8BU2NHAAAAAKBQ2OQ/AVNjQgAAAADA3WnsPwAQRmlsbFNjaGVtZUNvbG9yAAAAAAAQRmlsbFRoZW1lQ29sb3IAAAAAAAFGaWxsVGludEFuZFNoYWRlAAAAAAAAAAAAA0JvcmRlckNvbG9yAFUAAAAQQQAAAAAAEFIAAAAAABBHAAAAAAAQQgAAAAAAAVNjQQAAAAAAAAAAAAFTY1IAAAAAAAAAAAABU2NHAAAAAAAAAAAAAVNjQgAAAAAAAAAAAAAQQm9yZGVyVGhlbWVDb2xvcgAAAAAAAUJvcmRlclRpbnRBbmRTaGFkZQAAAAAAAAAAAAhJc0ZpbGxlZAABAlBhdHRlcm4AEAAAAG1zb1BhdHRlcm5NaXhlZAACU2hhcGVUeXBlAA4AAABtc29TaGFwZU1peGVkAANMYWJlbE9mZnNldABCAAAAAVgAAAAAAAAAAAABWQAAAAAAAAAAAAFMZW5ndGgAAAAAAAAAAAABTGVuZ3RoU3F1YXJlZAAAAAAAAAAAAAAISXNGb250Qm9sZAAACElzRm9udEl0YWxpYwAACElzRm9udFVuZGVybGluZWQAAAhMYWJlbEhhc0JhY2tncm91bmQAAAJUZXh0QWxpZ25tZW50AAUAAABMZWZ0AAAIRGlzcGxhedMAAAAF0gAAANQAAADnDwAAAAAAAAAAAABMYWJlbAABA1JlbmRlckluZm8A+RYAAANSZWN0YW5nbGVGcmVlZm9ybQD8CAAABFZlcnRpY2VzAJsCAAADMAAsAAAAEEluZGV4MAAAAAAAEEluZGV4MQAAAAAAAVZhbHVlAAAAAGB8IIVAAAMxACwAAAAQSW5kZXgwAAAAAAAQSW5kZXgxAAEAAAABVmFsdWUAAAAA4Dk2ckAAAzIALAAAABBJbmRleDAAAQAAABBJbmRleDEAAAAAAAFWYWx1ZQAAAABgfCCFQAADMwAsAAAAEEluZGV4MAABAAAAEEluZGV4MQABAAAAAVZhbHVlAAAAAGAFl3JAAAM0ACwAAAAQSW5kZXgwAAIAAAAQSW5kZXgxAAAAAAABVmFsdWUAAAAAYHwghUAAAzUALAAAABBJbmRleDAAAgAAABBJbmRleDEAAQAAAAFWYWx1ZQAAAADA0PdyQAADNgAsAAAAEEluZGV4MAADAAAAEEluZGV4MQAAAAAAAVZhbHVlAAAAAOC+podAAAM3ACwAAAAQSW5kZXgwAAMAAAAQSW5kZXgxAAEAAAABVmFsdWUAAAAAwND3ckAAAzgALAAAABBJbmRleDAABAAAABBJbmRleDEAAAAAAAFWYWx1ZQAAAADgvqaHQAADOQAsAAAAEEluZGV4MAAEAAAAEEluZGV4MQABAAAAAVZhbHVlAAAAAGAFl3JAAAMxMAAsAAAAEEluZGV4MAAFAAAAEEluZGV4MQAAAAAAAVZhbHVlAAAAAOC+podAAAMxMQAsAAAAEEluZGV4MAAFAAAAEEluZGV4MQABAAAAAVZhbHVlAAAAAOA5NnJAAAMxMgAsAAAAEEluZGV4MAAGAAAAEEluZGV4MQAAAAAAAVZhbHVlAAAAAGB8IIVAAAMxMwAsAAAAEEluZGV4MAAGAAAAEEluZGV4MQABAAAAAVZhbHVlAAAAAOA5NnJAAAAFTWFuYWdlZElkABAAAAAEWShTbbRuP0G3W+MQzu9ajghIYXNDaGFuZ2VzAAAIVXNlTmFtZUluc3RlYWRPZlRhZ0FzSWQAAAhTaGFwZVByZXZpb3VzbHlDcmVhdGVkAAADRmlsbENvbG9yAFUAAAAQQQD/AAAAEFIAmQAAABBHANMAAAAQQgDyAAAAAVNjQQAAAAAAAADwPwFTY1IAAAAAIBJj1D8BU2NHAAAAAKBQ2OQ/AVNjQgAAAADA3WnsP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MDdMihAAVdpZHRoAAAAAEAUMlRAAVRvcAAAAADgOTZyQAFMZWZ0AAAAAGB8IIVACEZsaXBIb3Jpem9udGFsbHkAAAhGbGlwSG9yaXpvbnRhbGx5QXBwbGllZAAACEZsaXBWZXJ0aWNhbGx5AAAIRmxpcFZlcnRpY2FsbHlBcHBsaWVkAAABUm90YXRpb24AAAAAAAAAAAABWk9yZGVyAAAAAAAAgFFAA0JvcmRlckNvbG9yAFUAAAAQQQD/AAAAEFIA/wAAABBHAP8AAAAQQgD/AAAAAVNjQQAAAAAAAADwPwFTY1IAAAAAAAAA8D8BU2NHAAAAAAAAAPA/AVNjQgAAAAAAAADwPwAQQm9yZGVyVGhlbWVDb2xvcgAAAAAAAUJvcmRlclRpbnRBbmRTaGFkZQAAAAAAAAAAABBCb3JkZXJTY2hlbWVDb2xvcgAAAAAAAUJvcmRlclRoaWNrbmVzcwAAAAAAAADw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CYXJTdHlsZURhdGEAJgAAAAJCYXJTdHlsZVNoYXBlVHlwZQAKAAAAUmVjdGFuZ2xlAAADTGFiZWwAtgYAAAVNYW5hZ2VkSWQAEAAAAAQuMhXhAXbkQq4GwESJFR+eCEhhc0NoYW5nZXMAAAhVc2VOYW1lSW5zdGVhZE9mVGFnQXNJZAAACFNoYXBlUHJldmlvdXNseUNyZWF0ZWQAAQNGaWxsQ29sb3IAVQAAABBBAP8AAAAQUgCZAAAAEEcA0wAAABBCAPIAAAABU2NBAAAAAAAAAPA/AVNjUgAAAAAgEmPUPwFTY0cAAAAAoFDY5D8BU2NCAAAAAMDdaew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QAEAAAAERhdGEgQW5hbmx5dGljcwACVGV4dEhvcml6b250YWxBbGlnbm1lbnQADgAAAG1zb0FuY2hvck5vbmUAAlBhcmFncmFwaEFsaWdubWVudAAPAAAAbXNvQWxpZ25DZW50ZXIAAlRleHRWZXJ0aWNhbEFsaWdubWVudAAQAAAAbXNvQW5jaG9yTWlkZGxlAANGb250U3R5bGUAQAEAABBGb250QmFja2dyb3VuZAAAAAAACEZvbnRCb2xkAAADRm9udENvbG9yAFUAAAAQQQD/AAAAEFIAEAAAABBHADgAAAAQQgBPAAAAAVNjQQAAAAAAAADwPwFTY1IAAAAA4DY5dT8BU2NHAAAAAIBnP6Q/AVNjQgAAAABgFwS0PwAQRm9udFRoZW1lQ29sb3IAAAAAAAFGb250VGludEFuZFNoYWRlAAAAAAAAAAAAEEZvbnRTY2hlbWVDb2xvcgAAAAAACEZvbnRJdGFsaWMAAAJGb250TmFtZQAGAAAAQXJpYWwAAUZvbnRTaXplAAAAAAAAACBACEZvbnRTdHJpa2V0aHJvdWdoAAAIRm9udFN1YnNjcmlwdAAACEZvbnRTdXBlcnNjcmlwdAAACEZvbnRVbmRlcmxpbmUAAAAIU2l6ZVRvVGV4dFdpZHRoAAAIU2l6ZVRvVGV4dEhlaWdodAAAA1RleHRNYXJnaW4APwAAAAFMZWZ0AAAAAAAAAAAAAVRvcAAAAAAAAAAAAAFSaWdodAAAAAAAAAAAAAFCb3R0b20AAAAAAAAAAAAAAkRpc3BsYXlUZXh0ABAAAABEYXRhIEFuYW5seXRpY3MAAUhlaWdodAAAAAAAFlwjQAFXaWR0aAAAAADAWNJLQAFUb3AAAAAAAJVJckABTGVmdAAAAADgCoWFQAhGbGlwSG9yaXpvbnRhbGx5AAAIRmxpcEhvcml6b250YWxseUFwcGxpZWQAAAhGbGlwVmVydGljYWxseQAACEZsaXBWZXJ0aWNhbGx5QXBwbGllZAAAAVJvdGF0aW9uAAAAAAAAAAAAAVpPcmRlcgAAAAAAAABS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DUAAAABdMAAAC9AAAA5w8AAAAAAAAAAAAAAAAAAAABU3BhY2VCZWZvcmUAAAAAAAAAAAABU3BhY2VXaXRoaW4AAAAAAAAAAAAAA0Nvbm5lY3RvckxpbmVEYXRhAOEGAAADU3RhcnQAGwAAAAFYAAAAAGB8IIVAAVkAAAAA4Dk2ckAAA0VuZAAbAAAAAVgAAAAAYHwghUABWQAAAADgOTZyQAACU3RhcnRBcnJvd0hlYWQAEQAAAG1zb0Fycm93aGVhZE5vbmUAAkVuZEFycm93SGVhZAARAAAAbXNvQXJyb3doZWFkTm9uZQAFTWFuYWdlZElkABAAAAAEPdt2IQj3YEi37MjFZNER8ghIYXNDaGFuZ2VzAAAIVXNlTmFtZUluc3RlYWRPZlRhZ0FzSWQAAAhTaGFwZVByZXZpb3VzbHlDcmVhdGVkAAA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A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AAAAAAAAVdpZHRoAAAAAAAAAAAAAVRvcAAAAADgOTZyQAFMZWZ0AAAAAGB8IIVACEZsaXBIb3Jpem9udGFsbHkAAAhGbGlwSG9yaXpvbnRhbGx5QXBwbGllZAAACEZsaXBWZXJ0aWNhbGx5AAAIRmxpcFZlcnRpY2FsbHlBcHBsaWVkAAABUm90YXRpb24AAAAAAAAAAAABWk9yZGVyAAAAAAAAwFFAA0JvcmRlckNvbG9yAFUAAAAQQQD/AAAAEFIAmQAAABBHANMAAAAQQgDyAAAAAVNjQQAAAAAAAADwPwFTY1IAAAAAIBJj1D8BU2NHAAAAAKBQ2OQ/AVNjQgAAAADA3WnsPw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AJRW5kVGltZQAAMxJkkQEAABBJbmRleAABAAAAAkRlc2NyaXB0aW9uABAAAABEYXRhIEFuYW5seXRpY3MAAk5hbWUABQAAAFRhc2sACElzTGVhZGVyTGluZUluQXV0b01vZGUAAQlTdGFydFRpbWUAAM/SFpEBAAAAAzEA4RkAAAJfdHlwZQBNAAAAZW1wb3dlci5DaGFydHMuRGF0YS5HYW50dC5DaHJvbm9sb2d5LkRhdGEuTWlsZXN0b25lRGF0YSwgZW1wb3dlci5DaGFydHMuRGF0YQADU3R5bGUAdgQAAAFEZWZhdWx0Rm9udFNpemUAAAAAAAAAJEABRm9udFNpemUAAAAAAAAAIEADRm9udENvbG9yAFUAAAAQQQD/AAAAEFIAEAAAABBHADgAAAAQQgBPAAAAAVNjQQAAAAAAAADwPwFTY1IAAAAA4DY5dT8BU2NHAAAAAIBnP6Q/AVNjQgAAAABgFwS0PwAQRm9udFRoZW1lQ29sb3IAAAAAABBGb250U2NoZW1lQ29sb3IAAAAAAAFGb250VGludEFuZFNoYWRlAAAAAAAAAAAAA1BhdHRlcm5Db2xvcgBVAAAAEEEAAAAAABBSAAAAAAAQRwAAAAAAEEIAAAAAAAFTY0EAAAAAAAAAAAABU2NSAAAAAAAAAAAAAVNjRwAAAAAAAAAAAAFTY0IAAAAAAAAAAAAAEFBhdHRlcm5UaGVtZUNvbG9yAAAAAAABUGF0dGVyblRpbnRBbmRTaGFkZQAAAAAAAAAAAANEYXRhU3R5bGVGb250Q29sb3JWYWx1ZQBVAAAAEEEAAAAAABBSAAAAAAAQRwAAAAAAEEIAAAAAAAFTY0EAAAAAAAAAAAABU2NSAAAAAAAAAAAAAVNjRwAAAAAAAAAAAAFTY0IAAAAAAAAAAAAACERhdGFTdHlsZUZvbnRDb2xvckhhc1ZhbHVlAAABSGVpZ2h0AAAAAODdMihAAkRhc2hTdHlsZQANAAAAbXNvTGluZVNvbGlkAAhIYXNXaXNoRmlsbENvbG9yAAADRmlsbENvbG9yAFUAAAAQQQD/AAAAEFIAAAAAABBHAJEAAAAQQgDfAAAAAVNjQQAAAAAAAADwPwFTY1IAAAAAAAAAAAABU2NHAAAAAAAcH9I/AVNjQgAAAABg9pznPwAQRmlsbFNjaGVtZUNvbG9yAAAAAAAQRmlsbFRoZW1lQ29sb3IAAAAAAAFGaWxsVGludEFuZFNoYWRlAAAAAAAAAAAAA0JvcmRlckNvbG9yAFUAAAAQQQD/AAAAEFIA/wAAABBHAP8AAAAQQgD/AAAAAVNjQQAAAAAAAADwPwFTY1IAAAAAAAAA8D8BU2NHAAAAAAAAAPA/AVNjQgAAAAAAAADwPwAQQm9yZGVyVGhlbWVDb2xvcgAAAAAAAUJvcmRlclRpbnRBbmRTaGFkZQAAAAAAAAAAAAhJc0ZpbGxlZAABAlBhdHRlcm4AEAAAAG1zb1BhdHRlcm5NaXhlZAACU2hhcGVUeXBlABAAAABtc29TaGFwZURpYW1vbmQAA0xhYmVsT2Zmc2V0AEIAAAABWAAAAAAAAAAAAAFZABDEtmOQsjPAAUxlbmd0aAAQxLZjkLIzQAFMZW5ndGhTcXVhcmVkAHi5k77fP3hAAAFCb3JkZXJUaGlja25lc3MAAAAAAAAA8D8ISXNGb250Qm9sZAAACElzRm9udEl0YWxpYwAACElzRm9udFVuZGVybGluZWQAAAhMYWJlbEhhc0JhY2tncm91bmQAAAJUZXh0QWxpZ25tZW50AAUAAABMZWZ0AAAIRGlzcGxheUxhYmVsAAEITGFiZWxIYXNCYWNrZ3JvdW5kAAADUmVuZGVySW5mbwA5FAAAA1N5bWJvbAByBgAAAkF1dG9TaGFwZVR5cGUACAAAAERpYW1vbmQABU1hbmFnZWRJZAAQAAAABG5pK4kxyNtGn3gzSSuQJRIISGFzQ2hhbmdlcwAACFVzZU5hbWVJbnN0ZWFkT2ZUYWdBc0lkAAAIU2hhcGVQcmV2aW91c2x5Q3JlYXRlZAAAA0ZpbGxDb2xvcgBVAAAAEEEA/wAAABBSAAAAAAAQRwCRAAAAEEIA3wAAAAFTY0EAAAAAAAAA8D8BU2NSAAAAAAAAAAAAAVNjRwAAAAAAHB/SPwFTY0IAAAAAYPac5z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1QAAAAXPAAAAxwAAAOcPAAAAAAAAAAAAAGxlAAEQSGFydmV5QmFsbFZhbHVlAAAAAAACQ2hlY2tCb3hTdGF0ZQAFAAAATm9uZQACVHJhZmZpY0xpZ2h0U3RhdGUABAAAAE9mZgAAA0xlZnROb3Rlc1JlbmRlckluZm8AmxQAAANMYWJlbAB0BgAABU1hbmFnZWRJZAAQAAAABO0QJ8BYQEFPhwTBZMslWMcISGFzQ2hhbmdlcwABCFVzZU5hbWVJbnN0ZWFkT2ZUYWdBc0lkAAAIU2hhcGVQcmV2aW91c2x5Q3JlYXRlZAAA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ACRmlsbFBhdHRlcm4AEAAAAG1zb1BhdHRlcm5NaXhlZAACVGV4dAABAAAA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CRGlzcGxheVRleHQAAQAAAAABSGVpZ2h0AAAAAAAAAPA/AVdpZHRoAAAAAAAAAPA/AVRvcAAAAAAAjJZxQAFMZWZ0AAAAAEBl9o1ACEZsaXBIb3Jpem9udGFsbHkAAAhGbGlwSG9yaXpvbnRhbGx5QXBwbGllZAAACEZsaXBWZXJ0aWNhbGx5AAAIRmxpcFZlcnRpY2FsbHlBcHBsaWVkAAABUm90YXRpb24AAAAAAAAAAAABWk9yZGVyAAAAAAAAAAA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TZXBhcmF0b3JMaW5lAP4GAAADU3RhcnQAGwAAAAFYAM3MzBYy841AAVkAAAAAwC5Xc0AAA0VuZAAbAAAAAVgAMzMzfZj5jUABWQAAAADALldzQAACU3RhcnRBcnJvd0hlYWQAEQAAAG1zb0Fycm93aGVhZE5vbmUAAkVuZEFycm93SGVhZAARAAAAbXNvQXJyb3doZWFkTm9uZQAFTWFuYWdlZElkABAAAAAEKk8TVya8802qgSaKj+gaZghIYXNDaGFuZ2VzAAEIVXNlTmFtZUluc3RlYWRPZlRhZ0FzSWQAAAhTaGFwZVByZXZpb3VzbHlDcmVhdGVkAAA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AAEAAAA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JEaXNwbGF5VGV4dAABAAAAAAFIZWlnaHQAAAAAAAAAAAABV2lkdGgAAAAAoJmZ6T8BVG9wAAAAAMAuV3NAAUxlZnQAAAAAIDLzjUAIRmxpcEhvcml6b250YWxseQAACEZsaXBIb3Jpem9udGFsbHlBcHBsaWVkAAAIRmxpcFZlcnRpY2FsbHkAAAhGbGlwVmVydGljYWxseUFwcGxpZWQAAAFSb3RhdGlvbgAAAAAAAAAAAAFaT3JkZXIAAAAAAACAVUADQm9yZGVyQ29sb3IAVQAAABBBAP8AAAAQUgDjAAAAEEcA4wAAABBCAOMAAAABU2NBAAAAAAAAAPA/AVNjUgAAAADAsZToPwFTY0cAAAAAwLGU6D8BU2NCAAAAAMCxlOg/ABBCb3JkZXJUaGVtZUNvbG9yAAAAAAABQm9yZGVyVGludEFuZFNoYWRlAAAAAAAAAAAAEEJvcmRlclNjaGVtZUNvbG9yAAAAAAABQm9yZGVyVGhpY2tuZXNzAAAAAAAAAPA/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JlY3RhbmdsZQCRBgAAAkF1dG9TaGFwZVR5cGUACgAAAFJlY3RhbmdsZQAFTWFuYWdlZElkABAAAAAEmNKz2KSWekKcqFMD2lasfQhIYXNDaGFuZ2VzAAEIVXNlTmFtZUluc3RlYWRPZlRhZ0FzSWQAAAhTaGFwZVByZXZpb3VzbHlDcmVhdGVkAAADRmlsbENvbG9yAFUAAAAQQQAAAAAAEFIA/wAAABBHAP8AAAAQQgD/AAAAAVNjQQAAAAAAAAAAAAFTY1IAAAAAAAAA8D8BU2NHAAAAAAAAAPA/AVNjQgAAAAAAAADwP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AJGaWxsUGF0dGVybgAQAAAAbXNvUGF0dGVybtYAAAAFzgAAAMgAAADnDwAAAAAAAAAAAABrbmVzcwAAAAAAAADg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ACTWlsZXN0b25lTGFiZWxQb3NpdGlvbgAJAAAAVG9wUmlnaHQAEEluZGV4AAIAAAACRGVzY3JpcHRpb24AHQAAADjigIsvMTgvMjAy4oCLNCBEYXNoYm9hcmQgdjEAAk5hbWUACgAAAE1pbGVzdG9uZQAISXNMZWFkZXJMaW5lSW5BdXRvTW9kZQABCVN0YXJ0VGltZQAAMxJkkQEAAAAAAk5hbWUACQAAAFNwcmludCAyAAhJc0hpZ2hsaWdodGVkAAAISXNTZXBhcmF0b3JMaW5lVmlzaWJsZQABA1N0eWxlAHQEAAABRGVmYXVsdEZvbnRTaXplAAAAAAAAACRAAUZvbnRTaXplAAAAAAAAACRAA0ZvbnRDb2xvcgBVAAAAEEEA/wAAABBSABAAAAAQRwA4AAAAEEIATwAAAAFTY0EAAAAAAAAA8D8BU2NSAAAAAOA2OXU/AVNjRwAAAACAZz+kPwFTY0IAAAAAYBcEtD8AEEZvbnRUaGVtZUNvbG9yAAAAAAAQRm9udFNjaGVtZUNvbG9yAAAAAAABRm9udFRpbnRBbmRTaGFkZQAAAAAAAAAAAANQYXR0ZXJuQ29sb3IAVQAAABBBAAAAAAAQUgAAAAAAEEcAAAAAABBCAAAAAAABU2NBAAAAAAAAAAAAAVNjUgAAAAAAAAAAAAFTY0cAAAAAAAAAAAABU2NCAAAAAAAAAAAAABBQYXR0ZXJuVGhlbWVDb2xvcgAAAAAAAVBhdHRlcm5UaW50QW5kU2hhZGUAAAAAAAAAAAADRGF0YVN0eWxlRm9udENvbG9yVmFsdWUAVQAAABBBAP8AAAAQUgAQAAAAEEcAOAAAABBCAE8AAAABU2NBAAAAAAAAAPA/AVNjUgAAAADgNjl1PwFTY0cAAAAAgGc/pD8BU2NCAAAAAGAXBLQ/AAhEYXRhU3R5bGVGb250Q29sb3JIYXNWYWx1ZQABAUhlaWdodAAAAAAAAAAAAAJEYXNoU3R5bGUADQAAAG1zb0xpbmVTb2xpZAAISGFzV2lzaEZpbGxDb2xvcgABA0ZpbGxDb2xvcgBVAAAAEEEAAAAAABBSAP8AAAAQRwD/AAAAEEIA/wAAAAFTY0EAAAAAAAAAAAABU2NSAAAAAAAAAPA/AVNjRwAAAAAAAADwPwFTY0IAAAAAAAAA8D8AEEZpbGxTY2hlbWVDb2xvcgAAAAAAEEZpbGxUaGVtZUNvbG9yAAAAAAABRmlsbFRpbnRBbmRTaGFkZQAAAAAAAAAAAANCb3JkZXJDb2xvcgBVAAAAEEEA/wAAABBSAOMAAAAQRwDjAAAAEEIA4wAAAAFTY0EAAAAAAAAA8D8BU2NSAAAAAMCxlOg/AVNjRwAAAADAsZToPwFTY0IAAAAAwLGU6D8AEEJvcmRlclRoZW1lQ29sb3IAAAAAAAFCb3JkZXJUaW50QW5kU2hhZGUAAAAAAAAAAAAISXNGaWxsZWQAAQJQYXR0ZXJuABAAAABtc29QYXR0ZXJuTWl4ZWQAAlNoYXBlVHlwZQAOAAAAbXNvU2hhcGVNaXhlZAADTGFiZWxPZmZzZXQAQgAAAAFYAAAAAAAAAAAAAVkAAAAAAAAAAAABTGVuZ3RoAAAAAAAAAAAAAUxlbmd0aFNxdWFyZWQAAAAAAAAAAAAAAUJvcmRlclRoaWNrbmVzcwAAAAAAAADwPwhJc0ZvbnRCb2xkAAAISXNGb250SXRhbGljAAAISXNGb250VW5kZXJsaW5lZAAACExhYmVsSGFzQmFja2dyb3VuZAAAAlRleHRBbGlnbm1lbnQABQAAAExlZnQAAAFSb3dUb3AAZWFa39vOcUABUm93SGVpZ2h0AG41KjItBTlAA0xlZnROb3RlcwDHBAAAA1RleHRTdHlsZQBbBAAAAURlZmF1bHRGb250U2l6ZQAAAAAAAAAkQAFGb250U2l6ZQAAAAAAAAAkQANGb250Q29sb3IAVQAAABBBAP8AAAAQUgAQAAAAEEcAOAAAABBCAE8AAAABU2NBAAAAAAAAAPA/AVNjUgAAAADgNjl1PwFTY0cAAAAAgGc/pD8BU2NCAAAAAGAXBLQ/ABBGb250VGhlbWVDb2xvcgAAAAAAEEZvbnRTY2hlbWVDb2xvcgAAAAAAAUZvbnRUaW50QW5kU2hhZGUAAAAAAAAAAAADUGF0dGVybkNvbG9yAFUAAAAQQQAAAAAAEFIAAAAAABBHAAAAAAAQQgAAAAAAAVNjQQAAAAAAAAAAAAFTY1IAAAAAAAAAAAABU2NHAAAAAAAAAAAAAVNjQgAAAAAAAAAAAAAQUGF0dGVyblRoZW1lQ29sb3IAAAAAAAFQYXR0ZXJuVGludEFuZFNoYWRlAAAAAAAAAAAAA0RhdGFTdHlsZUZvbnRDb2xvclZhbHVlAFUAAAAQQQD/AAAAEFIAEAAAABBHADgAAAAQQgBPAAAAAVNjQQAAAAAAAADwPwFTY1IAAAAA4DY5dT8BU2NHAAAAAIBnP6Q/AVNjQgAAAABgFwS0PwAIRGF0YVN0eWxlRm9udENvbG9ySGFzVmFsdWUAAQFIZWlnaHQAAAAAAAAAAAACRGFzaFN0eWxlAA0AAABtc29MaW5lU29saWQACEhhc1dpc2hGaWxsQ29sb3IAAANGaWxsQ29sb3IAVQAAABBBAP8AAAAQUgAAAAAAEEcAAAAAABBCAAAAAAABU2NBAAAAAAAAAPA/AVNjUgAAAAAAAAAAAAFTY0cAAAAAAAAAAAABU2NCAAAAAAAAAAAAABBGaWxsU2NoZW1lQ29sb3IAAAAAABBGaWxsVGhlbWVDb2xvcgAAAAAAAUZpbGxUaW50QW5kU2hhZGUAAAAAAAAAAAADQm9yZGVyQ29sb3IAVQAAABBBAAAAAAAQUgAAAAAAEEcAAAAAABBCAAAAAAABU2NBAAAAAAAAAAAAAVNjUgAAAAAAAAAAAAFTY0cAAAAAAAAAAAABU2NCAAAAAAAAAAAAABBCb3JkZXJUaGVtZUNvbG9yAAAAAAABQm9yZGVyVGludEFuZFNoYWRlAAAAAAAAAAAACElzRmlsbGVkAAECUGF0dGVybgAQAAAAbXNvUGF0dGVybk1peGVkAAJTaGFwZVR5cGUADgAAAG1zb1NoYXBlTWl4ZWQAA0xhYmVsT2Zmc2V0AEIAAAABWAAAAAAAAAAAAAFZAAAAAAAAAAAAAUxlbmd0aAAAAAAAAAAAAAFMZW5ndGhTcXVhcmVkAAAAAAAAAAAAAAhJc0ZvbnRCb2xkAAAISXNGb250SXRhbGljAAAISXNGb250VW5kZXJsaW5lZAAACExhYmVsSGFzQmFja2dyb3VuZAAAAlRleHRBbGlnbm1lbnQABQAAAExlZnQAAAhIYXJ2ZXlCYWxsVmlzaWJsZQABEEhhcnZleUJhbGxWYWx1ZQAAAAAAAkNoZWNrQm94U3RhdGUABQAAAE5vbmUAAlRyYWZmaWNMaWdodFN0YXRlAAQAAABPZmYAAANSaWdodE5vdGVzAMcEAAADVGV4dFN0eWxlAFsEAAABRGVmYXVsdEZvbnRTaXplAAAAAAAAACRAAUZvbnRTaXplAAAAAAAAACRAA0ZvbnRDb2xvcgBVAAAAEEEA/wAAABBSABAAAAAQRwA4AAAAEEIATwAAAAFTY0EAAAAAAAAA8D8BU2NSAAAAAOA2OXU/AVNjRwAAAACAZz+kPwFTY0IAAAAAYBcEtD8AEEZvbnRUaGVtZUNvbG9yAAAAAAAQRm9udFNjaGVtZUNvbG9yAAAAAAABRm9udFRpbnRBbmRTaGFkZQAAAAAAAAAAAANQYXR0ZXJuQ29sb3IAVQAAABBBAAAAAAAQUgAAAAAAEEcAAAAAABBCAAAAAAABU2NBAAAAAAAAAAAAAVNjUgAAAAAAAAAAAAFTY0cAAAAAAAAAAAABU2NCAAAAAAAAAAAAABBQYXR0ZXJuVGhlbWVDb2xvcgAAAAAAAVBhdHRlcm5UaW50QW5kU2hhZGUAAAAAAAAAAAADRGF0YVN0eWxlRm9udENvbG9yVmFsdWUAVQAAABBBAP8AAAAQUgAQAAAAEEcAOAAAABBCAE8AAAABU2NBAAAAAAAAAPA/AVNjUgAAAADgNjl1PwFTY0cAAAAAgGc/pD8BU2NCAAAAAGAXBLQ/AAhEYXRhU3R5bGVGb250Q29sb3JIYXNWYWx1ZQABAUhlaWdodAAAAAAAAAAAAAJEYXNoU3R5bGUADQAAAG1zb0xpbmVTb2xpZAAISGFzV2lzaEZpbGxDb2xvcgAAA0ZpbGxDb2xvcgBVAAAAEEEA/wAAABBSAAAAAAAQRwAAAAAAEEIAAAAAAAFTY0EAAAAAAAAA8D8BU2NSAAAAAAAAAAAAAVNjRwAAAAAAAAAAAAFTY0IAAAAAAAAAAAAAEEZpbGxTY2hlbWVDb2xvcgAAAAAAEEZpbGxUaGVtZUNvbG9yAAAAAAABRmlsbFRpbnRBbmRTaGFkZQAAAAAAAAAAAANCb3JkZXJDb2xvcgBVAAAAEEEAAAAAABBSAAAAAAAQRwAAAAAAEEIAAAAAAAFTY0EAAAAAAAAAAAABU2NSAAAAAAAAAAAAAVNjRwAAAAAAAAAAAAFTY0IAAAAAAAAAAAAAEEJvcmRlclRoZW1lQ29sb3IAAAAAAAFCb3JkZXJUaW50QW5kU2hhZGUAAAAAAAAAAAAISXNGaWxsZWQAAQJQYXR0ZXJuABAAAABtc29QYXR0ZXJuTWl4ZWQAAlNoYXBlVHlwZQAOAAAAbXNvU2hhcGVNaXhlZAADTGFiZWxPZmZzZXQAQgAAAAFYAAAAAAAAAAAAAVkAAAAAAAAAAAABTGVuZ3RoAAAAAAAAAAAAAUxlbmd0aFNxdWFyZWQAAAAAAAAAAAAACElzRm9udEJvbGQAAAhJc0ZvbnRJdGFsaWMAAAhJc0ZvbnRVbmRlcmxpbmVkAAAITGFiZWxIYXNCYWNrZ3JvdW5kAAACVGV4dEFsaWdubWVudAAFAAAATGVmdAAACEhhcnZleUJhbGxWaXNpYmxlAAEQSGFydmV5QmFsbFbXAAAABdEAAADYAAAA5w8AAAAAAAAAAAAAcm5Db2xvcgBVAAAAEEEAAAAAABBSAAAAAAAQRwAAAAAAEEIAAAAAAAFTY0EAAAAAAAAAAAABU2NSAAAAAAAAAAAAAVNjRwAAAAAAAAAAAAFTY0IAAAAAAAAAAAAAEFBhdHRlcm5UaGVtZUNvbG9yAAAAAAABUGF0dGVyblRpbnRBbmRTaGFkZQAAAAAAAAAAAANEYXRhU3R5bGVGb250Q29sb3JWYWx1ZQBVAAAAEEEA/wAAABBSABAAAAAQRwA4AAAAEEIATwAAAAFTY0EAAAAAAAAA8D8BU2NSAAAAAOA2OXU/AVNjRwAAAACAZz+kPwFTY0IAAAAAYBcEtD8ACERhdGFTdHlsZUZvbnRDb2xvckhhc1ZhbHVlAAEBSGVpZ2h0AAAAAAAAAAAAAkRhc2hTdHlsZQANAAAAbXNvTGluZVNvbGlkAAhIYXNXaXNoRmlsbENvbG9yAAEDRmlsbENvbG9yAFUAAAAQQQAAAAAAEFIA/wAAABBHAP8AAAAQQgD/AAAAAVNjQQAAAAAAAAAAAAFTY1IAAAAAAAAA8D8BU2NHAAAAAAAAAPA/AVNjQgAAAAAAAADwPwAQRmlsbFNjaGVtZUNvbG9yAAAAAAAQRmlsbFRoZW1lQ29sb3IAAAAAAAFGaWxsVGludEFuZFNoYWRlAAAAAAAAAAAAA0JvcmRlckNvbG9yAFUAAAAQQQD/AAAAEFIA4wAAABBHAOMAAAAQQgDjAAAAAVNjQQAAAAAAAADwPwFTY1IAAAAAwLGU6D8BU2NHAAAAAMCxlOg/AVNjQgAAAADAsZToPwAQQm9yZGVyVGhlbWVDb2xvcgAAAAAAAUJvcmRlclRpbnRBbmRTaGFkZQAAAAAAAAAAAAhJc0ZpbGxlZAABAlBhdHRlcm4AEAAAAG1zb1BhdHRlcm5NaXhlZAACU2hhcGVUeXBlAA4AAABtc29TaGFwZU1peGVkAANMYWJlbE9mZnNldABCAAAAAVgAAAAAAAAAAAABWQAAAAAAAAAAAAFMZW5ndGgAAAAAAAAAAAABTGVuZ3RoU3F1YXJlZAAAAAAAAAAAAAABQm9yZGVyVGhpY2tuZXNzAAAAAAAAAPA/CElzRm9udEJvbGQAAAhJc0ZvbnRJdGFsaWMAAAhJc0ZvbnRVbmRlcmxpbmVkAAAITGFiZWxIYXNCYWNrZ3JvdW5kAAACVGV4dEFsaWdubWVudAAFAAAATGVmdAAAA1N1bW1hcnlTdHlsZQB0BAAAAURlZmF1bHRGb250U2l6ZQAAAAAAAAAkQAFGb250U2l6ZQAAAAAAAAAkQANGb250Q29sb3IAVQAAABBBAP8AAAAQUgD/AAAAEEcA/wAAABBCAP8AAAABU2NBAAAAAAAAAPA/AVNjUgAAAAAAAADwPwFTY0cAAAAAAAAA8D8BU2NCAAAAAAAAAPA/ABBGb250VGhlbWVDb2xvcgAAAAAAEEZvbnRTY2hlbWVDb2xvcgAAAAAAAUZvbnRUaW50QW5kU2hhZGUAAAAAAAAAAAADUGF0dGVybkNvbG9yAFUAAAAQQQAAAAAAEFIAAAAAABBHAAAAAAAQQgAAAAAAAVNjQQAAAAAAAAAAAAFTY1IAAAAAAAAAAAABU2NHAAAAAAAAAAAAAVNjQgAAAAAAAAAAAAAQUGF0dGVyblRoZW1lQ29sb3IAAAAAAAFQYXR0ZXJuVGludEFuZFNoYWRlAAAAAAAAAAAAA0RhdGFTdHlsZUZvbnRDb2xvclZhbHVlAFUAAAAQQQAAAAAAEFIAAAAAABBHAAAAAAAQQgAAAAAAAVNjQQAAAAAAAAAAAAFTY1IAAAAAAAAAAAABU2NHAAAAAAAAAAAAAVNjQgAAAAAAAAAAAAAIRGF0YVN0eWxlRm9udENvbG9ySGFzVmFsdWUAAAFIZWlnaHQAAAAA4N0yKEACRGFzaFN0eWxlAA0AAABtc29MaW5lU29saWQACEhhc1dpc2hGaWxsQ29sb3IAAANGaWxsQ29sb3IAVQAAABBBAP8AAAAQUgBAAAAAEEcAYAAAABBCAHIAAAABU2NBAAAAAAAAAPA/AVNjUgAAAADA/T+qPwFTY0cAAAAAQMrxvT8BU2NCAAAAAADaicU/ABBGaWxsU2NoZW1lQ29sb3IAAAAAABBGaWxsVGhlbWVDb2xvcgAAAAAAAUZpbGxUaW50QW5kU2hhZGUAAAAAAAAAAAADQm9yZGVyQ29sb3IAVQAAABBBAP8AAAAQUgBAAAAAEEcAYAAAABBCAHIAAAABU2NBAAAAAAAAAPA/AVNjUgAAAADA/T+qPwFTY0cAAAAAQMrxvT8BU2NCAAAAAADaicU/ABBCb3JkZXJUaGVtZUNvbG9yAAAAAAABQm9yZGVyVGludEFuZFNoYWRlAAAAAAAAAAAACElzRmlsbGVkAAECUGF0dGVybgAQAAAAbXNvUGF0dGVybk1peGVkAAJTaGFwZVR5cGUADgAAAG1zb1NoYXBlTWl4ZWQAA0xhYmVsT2Zmc2V0AEIAAAABWAAAAAAAAAAAAAFZAAAAAAAAAAAAAUxlbmd0aAAAAAAAAAAAAAFMZW5ndGhTcXVhcmVkAAAAAAAAAAAAAAFCb3JkZXJUaGlja25lc3MAAAAAAAAA8D8ISXNGb250Qm9sZAAACElzRm9udEl0YWxpYwAACElzRm9udFVuZGVybGluZWQAAAhMYWJlbEhhc0JhY2tncm91bmQAAAJUZXh0QWxpZ25tZW50AAUAAABMZWZ0AAAIRGlzcGxheUxhYmVsAAEISXNDb2xsYXBzZWQAAAhJc0xlYWRlckxpbmVJbkF1dG9Nb2RlAAEBU2VjdGlvblRvcABvNSpybFxtQAFTZWN0aW9uSGVpZ2h0ABKon+Xhw1JAA0xlZnROb3RlcwDHBAAAA1RleHRTdHlsZQBbBAAAAURlZmF1bHRGb250U2l6ZQAAAAAAAAAkQAFGb250U2l6ZQAAAAAAAAAkQANGb250Q29sb3IAVQAAABBBAP8AAAAQUgAQAAAAEEcAOAAAABBCAE8AAAABU2NBAAAAAAAAAPA/AVNjUgAAAADgNjl1PwFTY0cAAAAAgGc/pD8BU2NCAAAAAGAXBLQ/ABBGb250VGhlbWVDb2xvcgAAAAAAEEZvbnRTY2hlbWVDb2xvcgAAAAAAAUZvbnRUaW50QW5kU2hhZGUAAAAAAAAAAAADUGF0dGVybkNvbG9yAFUAAAAQQQAAAAAAEFIAAAAAABBHAAAAAAAQQgAAAAAAAVNjQQAAAAAAAAAAAAFTY1IAAAAAAAAAAAABU2NHAAAAAAAAAAAAAVNjQgAAAAAAAAAAAAAQUGF0dGVyblRoZW1lQ29sb3IAAAAAAAFQYXR0ZXJuVGludEFuZFNoYWRlAAAAAAAAAAAAA0RhdGFTdHlsZUZvbnRDb2xvclZhbHVlAFUAAAAQQQD/AAAAEFIAEAAAABBHADgAAAAQQgBPAAAAAVNjQQAAAAAAAADwPwFTY1IAAAAA4DY5dT8BU2NHAAAAAIBnP6Q/AVNjQgAAAABgFwS0PwAIRGF0YVN0eWxlRm9udENvbG9ySGFzVmFsdWUAAQFIZWlnaHQAAAAAAAAAAAACRGFzaFN0eWxlAA0AAABtc29MaW5lU29saWQACEhhc1dpc2hGaWxsQ29sb3IAAANGaWxsQ29sb3IAVQAAABBBAP8AAAAQUgAAAAAAEEcAAAAAABBCAAAAAAABU2NBAAAAAAAAAPA/AVNjUgAAAAAAAAAAAAFTY0cAAAAAAAAAAAABU2NCAAAAAAAAAAAAABBGaWxsU2NoZW1lQ29sb3IAAAAAABBGaWxsVGhlbWVDb2xvcgAAAAAAAUZpbGxUaW50QW5kU2hhZGUAAAAAAAAAAAADQm9yZGVyQ29sb3IAVQAAABBBAAAAAAAQUgAAAAAAEEcAAAAAABBCAAAAAAABU2NBAAAAAAAAAAAAAVNjUgAAAAAAAAAAAAFTY0cAAAAAAAAAAAABU2NCAAAAAAAAAAAAABBCb3JkZXJUaGVtZUNvbG9yAAAAAAABQm9yZGVyVGludEFuZFNoYWRlAAAAAAAAAAAACElzRmlsbGVkAAECUGF0dGVybgAQAAAAbXNvUGF0dGVybk1peGVkAAJTaGFwZVR5cGUADgAAAG1zb1NoYXBlTWl4ZWQAA0xhYmVsT2Zmc2V0AEIAAAABWAAAAAAAAAAAAAFZAAAAAAAAAAAAAUxlbmd0aAAAAAAAAAAAAAFMZW5ndGhTcXVhcmVkAAAAAAAAAAAAAAhJc0ZvbnRCb2xkAAAISXNGb250SXRhbGljAAAISXNGb250VW5kZXJsaW5lZAAACExhYmVsSGFzQmFja2dyb3VuZAAAAlRleHRBbGlnbm1lbnQABQAAAExlZnQAAAhIYXJ2ZXlCYWxsVmlzaWJsZQABEEhhcnZleUJhbGxWYWx1ZQAAAAAAAkNoZWNrQm94U3RhdGUABQAAAE5vbmUAAlRyYWZmaWNMaWdodFN0YXRlAAQAAABPZmYAAANSaWdodE5vdGVzAMcEAAADVGV4dFN0eWxlAFsEAAABRGVmYXVsdEZvbnRTaXplAAAAAAAAACRAAUZvbnRTaXplAAAAAAAAACRAA0ZvbnRDb2xvcgBVAAAAEEEA/wAAABBSABAAAAAQRwA4AAAAEEIATwAAAAFTY0EAAAAAAAAA8D8BU2NSAAAAAOA2OXU/AVNjRwAAAACAZz+kPwFTY0IAAAAAYBcEtD8AEEZvbnRUaGVtZUNvbG9yAAAAAAAQRm9udFNjaGVtZUNvbG9yAAAAAAABRm9udFRpbnRBbmRTaGFkZQAAAAAAAAAAAANQYXR0ZXJuQ29sb3IAVQAAABBBAAAAAAAQUgAAAAAAEEcAAAAAABBCAAAAAAABU2NBAAAAAAAAAAAAAVNjUgAAAAAAAAAAAAFTY0cAAAAAAAAAAAABU2NCAAAAAAAAAAAAABBQYXR0ZXJuVGhlbWVDb2xvcgAAAAAAAVBhdHRlcm5UaW50QW5kU2hhZGUAAAAAAAAAAAADRGF0YVN0eWxlRm9udENvbG9yVmFsdWUAVQAAABBBAP8AAAAQUgAQAAAAEEcAOAAAABBCAE8AAAABU2NBAAAAAAAAAPA/AVNjUgAAAADgNjl1PwFTY0cAAAAAgGc/pD8BU2NCAAAAAGAXBLQ/AAhEYXRhU3R5bGVGb250Q29sb3JIYXNWYWx1ZQABAUhlaWdodAAAAAAAAAAAAAJEYXNoU3R5bGUADQAAAG1zb0xpbmVTb2xpZAAISGFzV2lzaEZpbGxDb2xvcgAAA0ZpbGxDb2xvcgBVAAAAEEEA/wAAABBSAAAAAAAQRwAAAAAAEEIAAAAAAAFTY0EAAAAAAAAA8D8BU2NSAAAAAAAAAAAAAVNj2AAAAAXXAAAAxAAAAOcPAAAAAAAAAAAAAEcAAAAAAAAAAAABU2NCAAAAAAAAAAAAABBGaWxsU2NoZW1lQ29sb3IAAAAAABBGaWxsVGhlbWVDb2xvcgAAAAAAAUZpbGxUaW50QW5kU2hhZGUAAAAAAAAAAAADQm9yZGVyQ29sb3IAVQAAABBBAAAAAAAQUgAAAAAAEEcAAAAAABBCAAAAAAABU2NBAAAAAAAAAAAAAVNjUgAAAAAAAAAAAAFTY0cAAAAAAAAAAAABU2NCAAAAAAAAAAAAABBCb3JkZXJUaGVtZUNvbG9yAAAAAAABQm9yZGVyVGludEFuZFNoYWRlAAAAAAAAAAAACElzRmlsbGVkAAECUGF0dGVybgAQAAAAbXNvUGF0dGVybk1peGVkAAJTaGFwZVR5cGUADgAAAG1zb1NoYXBlTWl4ZWQAA0xhYmVsT2Zmc2V0AEIAAAABWAAAAAAAAAAAAAFZAAAAAAAAAAAAAUxlbmd0aAAAAAAAAAAAAAFMZW5ndGhTcXVhcmVkAAAAAAAAAAAAAAhJc0ZvbnRCb2xkAAAISXNGb250SXRhbGljAAAISXNGb250VW5kZXJsaW5lZAAACExhYmVsSGFzQmFja2dyb3VuZAAAAlRleHRBbGlnbm1lbnQABQAAAExlZnQAAAhIYXJ2ZXlCYWxsVmlzaWJsZQABEEhhcnZleUJhbGxWYWx1ZQAAAAAAAkNoZWNrQm94U3RhdGUABQAAAE5vbmUAAlRyYWZmaWNMaWdodFN0YXRlAAQAAABPZmYAAANMZWZ0Tm90ZXNSZW5kZXJJbmZvAGEUAAADTGFiZWwAdAYAAAVNYW5hZ2VkSWQAEAAAAATyqJayx8QuQrMGFvxQ+y18CEhhc0NoYW5nZXMAAQhVc2VOYW1lSW5zdGVhZE9mVGFnQXNJZAAACFNoYXBlUHJldmlvdXNseUNyZWF0ZWQAAA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AAkZpbGxQYXR0ZXJuABAAAABtc29QYXR0ZXJuTWl4ZWQAAlRleHQAAQAAA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kRpc3BsYXlUZXh0AAEAAAAAAUhlaWdodAAAAAAAAADwPwFXaWR0aAAAAAAAAADwPwFUb3AAAAAAAIyWcUABTGVmdAAAAABAZfaNQAhGbGlwSG9yaXpvbnRhbGx5AAAIRmxpcEhvcml6b250YWxseUFwcGxpZWQAAAhGbGlwVmVydGljYWxseQAACEZsaXBWZXJ0aWNhbGx5QXBwbGllZAAAAVJvdGF0aW9uAAAAAAAAAAAAAVpPcmRlcgAAAAAAAAAAA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2VwYXJhdG9yTGluZQDhBgAAA1N0YXJ0ABsAAAABWADNzMwWMvONQAFZAAAAAACJNnBAAANFbmQAGwAAAAFYADMzM32Y+Y1AAVkAAAAAAIk2cEAAAlN0YXJ0QXJyb3dIZWFkABEAAABtc29BcnJvd2hlYWROb25lAAJFbmRBcnJvd0hlYWQAEQAAAG1zb0Fycm93aGVhZE5vbmUABU1hbmFnZWRJZAAQAAAABCNMJ+MZDwpOrDZGEJZHn9YISGFzQ2hhbmdlcwABCFVzZU5hbWVJbnN0ZWFkT2ZUYWdBc0lkAAAIU2hhcGVQcmV2aW91c2x5Q3JlYXRlZAAA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CgmZnpPwFUb3AAAAAAAIk2cEABTGVmdAAAAAAgMvONQAhGbGlwSG9yaXpvbnRhbGx5AAAIRmxpcEhvcml6b250YWxseUFwcGxpZWQAAAhGbGlwVmVydGljYWxseQAACEZsaXBWZXJ0aWNhbGx5QXBwbGllZAAAAVJvdGF0aW9uAAAAAAAAAAAAAVpPcmRlcgAAAAAAAIBVQANCb3JkZXJDb2xvcgBVAAAAEEEA/wAAABBSAOMAAAAQRwDjAAAAEEIA4wAAAAFTY0EAAAAAAAAA8D8BU2NSAAAAAMCxlOg/AVNjRwAAAADAsZToPwFTY0IAAAAAwLGU6D8AEEJvcmRlclRoZW1lQ29sb3IAAAAAAAFCb3JkZXJUaW50QW5kU2hhZGUAAAAAAAAAAAAQQm9yZGVyU2NoZW1lQ29sb3IAAAAAAAFCb3JkZXJUaGlja25lc3MAAAAAAAAA8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mVjdGFuZ2xlAHQGAAACQXV0b1NoYXBlVHlwZQAKAAAAUmVjdNkAAAAFyAAAANoAAADnDwAAAAAAAAAAAAA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JEaXNwbGF5VGV4dAABAAAAAAFIZWlnaHQAAAAAQC0FOEABV2lkdGgAAAAAAAAAAAABVG9wAAAAAODb1nFAAUxlZnQAAAAAQGXujUAIRmxpcEhvcml6b250YWxseQAACEZsaXBIb3Jpem9udGFsbHlBcHBsaWVkAAAIRmxpcFZlcnRpY2FsbHkAAAhGbGlwVmVydGljYWxseUFwcGxpZWQAAAFSb3RhdGlvbgAAAAAAAAAAAAFaT3JkZXIAAAAAAABAVU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BFRyYWZmaWNMaWdodERhdGEABQAAAAAESGFydmV5QmFsbERhdGEABQAAAAACVHJhZmZpY0xpZ2h0U3RhdGUABAAAAE9mZgAEQ2hlY2tCb3hEYXRhAAUAAAAAAkNoZWNrQm94U3RhdGUABQAAAE5vbmUAAANSaWdodE5vdGVzUmVuZGVySW5mbwCbFAAAA0xhYmVsAHQGAAAFTWFuYWdlZElkABAAAAAEFTdUL6v0u0WzYv1QETLdcghIYXNDaGFuZ2VzAAEIVXNlTmFtZUluc3RlYWRPZlRhZ0FzSWQAAAhTaGFwZVByZXZpb3VzbHlDcmVhdGVkAAA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AJGaWxsUGF0dGVybgAQAAAAbXNvUGF0dGVybk1peGVkAAJUZXh0AAEAAAA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JEaXNwbGF5VGV4dAABAAAAAAFIZWlnaHQAAAAAAAAA8D8BV2lkdGgAAAAAAAAA8D8BVG9wAAAAAACMlnFAAUxlZnQAAAAAQGX2jU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NlcGFyYXRvckxpbmUA/gYAAANTdGFydAAbAAAAAVgAzczMFjLzjUABWQAAAADALldzQAADRW5kABsAAAABWAAzMzN9mPmNQAFZAAAAAMAuV3NAAAJTdGFydEFycm93SGVhZAARAAAAbXNvQXJyb3doZWFkTm9uZQACRW5kQXJyb3dIZWFkABEAAABtc29BcnJvd2hlYWROb25lAAVNYW5hZ2VkSWQAEAAAAASlxiE60TscS7fBPxwl6BCYCEhhc0NoYW5nZXMAAQhVc2VOYW1lSW5zdGVhZE9mVGFnQXNJZAAACFNoYXBlUHJldmlvdXNseUNyZWF0ZWQAAA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QAAQAAA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LaAAAABdkAAADbAAAA5w8AAAAAAAAAAAAAZ2luAD8AAAABTGVmdAAAAAAAAAAAAAFUb3AAAAAAAAAAAAABUmlnaHQAAAAAAAAAAAABQm90dG9tAAAAAAAAAAAAAAJEaXNwbGF5VGV4dAABAAAAAAFIZWlnaHQAAAAAAAAAAAABV2lkdGgAAAAAoJmZ6T8BVG9wAAAAAMAuV3NAAUxlZnQAAAAAIDLzjUAIRmxpcEhvcml6b250YWxseQAACEZsaXBIb3Jpem9udGFsbHlBcHBsaWVkAAAIRmxpcFZlcnRpY2FsbHkAAAhGbGlwVmVydGljYWxseUFwcGxpZWQAAAFSb3RhdGlvbgAAAAAAAAAAAAFaT3JkZXIAAAAAAACAVUADQm9yZGVyQ29sb3IAVQAAABBBAP8AAAAQUgDjAAAAEEcA4wAAABBCAOMAAAABU2NBAAAAAAAAAPA/AVNjUgAAAADAsZToPwFTY0cAAAAAwLGU6D8BU2NCAAAAAMCxlOg/ABBCb3JkZXJUaGVtZUNvbG9yAAAAAAABQm9yZGVyVGludEFuZFNoYWRlAAAAAAAAAAAAEEJvcmRlclNjaGVtZUNvbG9yAAAAAAABQm9yZGVyVGhpY2tuZXNzAAAAAAAAAPA/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JlY3RhbmdsZQCRBgAAAkF1dG9TaGFwZVR5cGUACgAAAFJlY3RhbmdsZQAFTWFuYWdlZElkABAAAAAE7IffUSiuO0qweS+F86LZrghIYXNDaGFuZ2VzAAEIVXNlTmFtZUluc3RlYWRPZlRhZ0FzSWQAAAhTaGFwZVByZXZpb3VzbHlDcmVhdGVkAAADRmlsbENvbG9yAFUAAAAQQQAAAAAAEFIA/wAAABBHAP8AAAAQQgD/AAAAAVNjQQAAAAAAAAAAAAFTY1IAAAAAAAAA8D8BU2NHAAAAAAAAAPA/AVNjQgAAAAAAAADwP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AJGaWxsUGF0dGVybgAQAAAAbXNvUGF0dGVybk1peGVkAAJUZXh0AAEAAAA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JEaXNwbGF5VGV4dAABAAAAAAFIZWlnaHQAAAAAQC0FOEABV2lkdGgAAAAAAAAAAAABVG9wAAAAAODb1nFAAUxlZnQAAAAAQGXujUAIRmxpcEhvcml6b250YWxseQAACEZsaXBIb3Jpem9udGFsbHlBcHBsaWVkAAAIRmxpcFZlcnRpY2FsbHkAAAhGbGlwVmVydGljYWxseUFwcGxpZWQAAAFSb3RhdGlvbgAAAAAAAAAAAAFaT3JkZXIAAAAAAABAVU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BFRyYWZmaWNMaWdodERhdGEABQAAAAAESGFydmV5QmFsbERhdGEABQAAAAACVHJhZmZpY0xpZ2h0U3RhdGUABAAAAE9mZgAEQ2hlY2tCb3hEYXRhAAUAAAAAAkNoZWNrQm94U3RhdGUABQAAAE5vbmUAAANMZWZ0U2lkZVJlbmRlckluZm8AWxQAAANMYWJlbACmBgAABU1hbmFnZWRJZAAQAAAABJtfDfrghRRDqpA8CL1HuJUISGFzQ2hhbmdlcwAACFVzZU5hbWVJbnN0ZWFkT2ZUYWdBc0lkAAAIU2hhcGVQcmV2aW91c2x5Q3JlYXRlZAAB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AAJAAAAU3ByaW50IDIAAlRleHRIb3Jpem9udGFsQWxpZ25tZW50AA4AAABtc29BbmNob3JOb25lAAJQYXJhZ3JhcGhBbGlnbm1lbnQADQAAAG1zb0FsaWduTGVmdAACVGV4dFZlcnRpY2FsQWxpZ25tZW50ABAAAABtc29BbmNob3JNaWRkbGUAA0ZvbnRTdHlsZQBAAQAAEEZvbnRCYWNrZ3JvdW5kAAAAAAAIRm9udEJvbGQAAANGb250Q29sb3IAVQAAABBBAP8AAAAQUgAQAAAAEEcAOAAAABBCAE8AAAABU2NBAAAAAAAAAPA/AVNjUgAAAADgNjl1PwFTY0cAAAAAgGc/pD8BU2NCAAAAAGAXBLQ/ABBGb250VGhlbWVDb2xvcgAAAAAAAUZvbnRUaW50QW5kU2hhZGUAAAAAAAAAAAAQRm9udFNjaGVtZUNvbG9yAAAAAAAIRm9udEl0YWxpYwAAAkZvbnROYW1lAAYAAABBcmlhbAABRm9udFNpemUAAAAAAAAAJEAIRm9udFN0cmlrZXRocm91Z2gAAAhGb250U3Vic2NyaXB0AAAIRm9udFN1cGVyc2NyaXB0AAAIRm9udFVuZGVybGluZQAAAAhTaXplVG9UZXh0V2lkdGgAAAhTaXplVG9UZXh0SGVpZ2h0AAADVGV4dE1hcmdpbgA/AAAAAUxlZnQAAAAAAAAAAAABVG9wAAAAAAAAAAAAAVJpZ2h0AAAAAAAAAAAAAUJvdHRvbQAAAAAAAAAAAAACRGlzcGxheVRleHQACQAAAFNwcmludCAyAAFIZWlnaHQAAAAAYN8LJ0ABV2lkdGgAAAAAAHR6Q0ABVG9wAAAAAMDVOnJAAUxlZnQAAAAAQElcN0AIRmxpcEhvcml6b250YWxseQAACEZsaXBIb3Jpem9udGFsbHlBcHBsaWVkAAAIRmxpcFZlcnRpY2FsbHkAAAhGbGlwVmVydGljYWxseUFwcGxpZWQAAAFSb3RhdGlvbgAAAAAAAAAAAAFaT3JkZXIAAAAAAAAAPk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2wAAAAXaAAAAzAAAAOcPAAAAAAAAAAAAAG4AABBJbmRlbnRMZXZlbAAAAAAAAUxlZnRJbmRlbnQAAAAAAAAAAAAITGluZVJ1bGVBZnRlcgAACExpbmVSdWxlQmVmb3JlAAAITGluZVJ1bGVXaXRoaW4AAAFSaWdodEluZGVudAAAAAAAAAAAAAFTcGFjZUFmdGVyAAAAAAAAAAAAAVNwYWNlQmVmb3JlAAAAAAAAAAAAAVNwYWNlV2l0aGluAAAAAAAAAAAAAANSZWN0YW5nbGUAkQYAAAJBdXRvU2hhcGVUeXBlAAoAAABSZWN0YW5nbGUABU1hbmFnZWRJZAAQAAAABN8TrDtWnLJHiBDr9beg6qUISGFzQ2hhbmdlcwAACFVzZU5hbWVJbnN0ZWFkT2ZUYWdBc0lkAAAIU2hhcGVQcmV2aW91c2x5Q3JlYXRlZAAAA0ZpbGxDb2xvcgBVAAAAEEEAAAAAABBSAP8AAAAQRwD/AAAAEEIA/wAAAAFTY0EAAAAAAAAAAAABU2NSAAAAAAAAAPA/AVNjRwAAAAAAAADwPwFTY0IAAAAAAAAA8D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ACRmlsbFBhdHRlcm4AEAAAAG1zb1BhdHRlcm5NaXhlZAACVGV4dAABAAAA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CRGlzcGxheVRleHQAAQAAAAABSGVpZ2h0AAAAAEAtBThAAVdpZHRoAAAAAACD241AAVRvcAAAAADg29ZxQAFMZWZ0AAAAAABK4gpACEZsaXBIb3Jpem9udGFsbHkAAAhGbGlwSG9yaXpvbnRhbGx5QXBwbGllZAAACEZsaXBWZXJ0aWNhbGx5AAAIRmxpcFZlcnRpY2FsbHlBcHBsaWVkAAABUm90YXRpb24AAAAAAAAAAAABWk9yZGVyAAAAAAAAACZ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TZXBhcmF0b3JMaW5lAP4GAAADU3RhcnQAGwAAAAFYAM3MzMwWrwdAAVkAvAR9si5Xc0AAA0VuZAAbAAAAAVgAMzMzfZj5jUABWQC8BH2yLldzQAACU3RhcnRBcnJvd0hlYWQAEQAAAG1zb0Fycm93aGVhZE5vbmUAAkVuZEFycm93SGVhZAARAAAAbXNvQXJyb3doZWFkTm9uZQAFTWFuYWdlZElkABAAAAAEVOLl3NoApkyM1hQfQYURFAhIYXNDaGFuZ2VzAAAIVXNlTmFtZUluc3RlYWRPZlRhZ0FzSWQAAAhTaGFwZVByZXZpb3VzbHlDcmVhdGVkAAA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AAEAAAA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JEaXNwbGF5VGV4dAABAAAAAAFIZWlnaHQAAAAAAAAAAAABV2lkdGgAAAAAYOnhjUABVG9wAAAAAMAuV3NAAUxlZnQAAAAAwBavB0AIRmxpcEhvcml6b250YWxseQAACEZsaXBIb3Jpem9udGFsbHlBcHBsaWVkAAAIRmxpcFZlcnRpY2FsbHkAAAhGbGlwVmVydGljYWxseUFwcGxpZWQAAAFSb3RhdGlvbgAAAAAAAAAAAAFaT3JkZXIAAAAAAAAAKEADQm9yZGVyQ29sb3IAVQAAABBBAP8AAAAQUgDjAAAAEEcA4wAAABBCAOMAAAABU2NBAAAAAAAAAPA/AVNjUgAAAADAsZToPwFTY0cAAAAAwLGU6D8BU2NCAAAAAMCxlOg/ABBCb3JkZXJUaGVtZUNvbG9yAAAAAAABQm9yZGVyVGludEFuZFNoYWRlAAAAAAAAAAAAEEJvcmRlclNjaGVtZUNvbG9yAAAAAAABQm9yZGVyVGhpY2tuZXNzAAAAAAAAAPA/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AAAAk5hbWUABwAAAE9FRSBEQQACU3VtbWFyeUxhYmVsABwAAAA34oCLLzEzLzIwMjQgLSA4LzE4LzIwMuKAizQACElzTGFiZWxJbnNpZGVCb3VuZHMAAQJMYWJlbFBvc2l0aW9uAAUAAABMZWZ0AAhJc0hpZ2hsaWdodGVkAAAISXNTZXBhcmF0b3JMaW5lVmlzaWJsZQABA0xlZnRTaWRlU3R5bGUAdAQAAAFEZWZhdWx0Rm9udFNpemUAAAAAAAAAJEABRm9udFNpemUAAAAAAAAAKEADRm9udENvbG9yAFUAAAAQQQD/AAAAEFIAEAAAABBHADgAAAAQQgBPAAAAAVNjQQAAAAAAAADwPwFTY1IAAAAA4DY5dT8BU2NHAAAAAIBnP6Q/AVNjQgAAAABgFwS0PwAQRm9udFRoZW1lQ29sb3IAAAAAABBGb250U2NoZW1lQ29sb3IAAAAAAAFGb250VGludEFuZFNoYWRlAAAAAAAAAAAAA1BhdHRlcm5Db2xvcgBVAAAAEEEAANwAAAAFtwAAAN0AAADnDwAAAAAAAAAAAABwSG9yaXpvbnRhbGx5QXBwbGllZAAACEZsaXBWZXJ0aWNhbGx5AAAIRmxpcFZlcnRpY2FsbHlBcHBsaWVkAAABUm90YXRpb24AAAAAAAAAAAABWk9yZGVyAAAAAAAAAD5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SZWN0YW5nbGUAdAYAAAJBdXRvU2hhcGVUeXBlAAoAAABSZWN0YW5nbGUABU1hbmFnZWRJZAAQAAAABAykcV8YaqZGuEbyZVFkA7cISGFzQ2hhbmdlcwAACFVzZU5hbWVJbnN0ZWFkT2ZUYWdBc0lkAAAIU2hhcGVQcmV2aW91c2x5Q3JlYXRlZAAAA0ZpbGxDb2xvcgBVAAAAEEEAAAAAABBSAP8AAAAQRwD/AAAAEEIA/wAAAAFTY0EAAAAAAAAAAAABU2NSAAAAAAAAAPA/AVNjRwAAAAAAAADwPwFTY0IAAAAAAAAA8D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A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BALQU4QAFXaWR0aAAAAAAAg9uNQAFUb3AAAAAAgGxsbUABTGVmdAAAAAAASuIKQAhGbGlwSG9yaXpvbnRhbGx5AAAIRmxpcEhvcml6b250YWxseUFwcGxpZWQAAAhGbGlwVmVydGljYWxseQAACEZsaXBWZXJ0aWNhbGx5QXBwbGllZAAAAVJvdGF0aW9uAAAAAAAAAAAAAVpPcmRlcgAAAAAAAAAm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2VwYXJhdG9yTGluZQDhBgAAA1N0YXJ0ABsAAAABWADNzMzMFq8HQAFZAA6+NwyJNnBAAANFbmQAGwAAAAFYADMzM32Y+Y1AAVkADr43DIk2cEAAAlN0YXJ0QXJyb3dIZWFkABEAAABtc29BcnJvd2hlYWROb25lAAJFbmRBcnJvd0hlYWQAEQAAAG1zb0Fycm93aGVhZE5vbmUABU1hbmFnZWRJZAAQAAAABARoUFh0ietLsMdkUAF3bf0ISGFzQ2hhbmdlcwAACFVzZU5hbWVJbnN0ZWFkT2ZUYWdBc0lkAAAIU2hhcGVQcmV2aW91c2x5Q3JlYXRlZAAA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Bg6eGNQAFUb3AAAAAAAIk2cEABTGVmdAAAAADAFq8HQAhGbGlwSG9yaXpvbnRhbGx5AAAIRmxpcEhvcml6b250YWxseUFwcGxpZWQAAAhGbGlwVmVydGljYWxseQAACEZsaXBWZXJ0aWNhbGx5QXBwbGllZAAAAVJvdGF0aW9uAAAAAAAAAAAAAVpPcmRlcgAAAAAAAAAoQANCb3JkZXJDb2xvcgBVAAAAEEEA/wAAABBSAOMAAAAQRwDjAAAAEEIA4wAAAAFTY0EAAAAAAAAA8D8BU2NSAAAAAMCxlOg/AVNjRwAAAADAsZToPwFTY0IAAAAAwLGU6D8AEEJvcmRlclRoZW1lQ29sb3IAAAAAAAFCb3JkZXJUaW50QW5kU2hhZGUAAAAAAAAAAAAQQm9yZGVyU2NoZW1lQ29sb3IAAAAAAAFCb3JkZXJUaGlja25lc3MAAAAAAAAA8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AA1N1bW1hcnlSZW5kZXJJbmZvAAkXAAADRnJlZWZvcm1SZWN0YW5nbGUA/AgAAARWZXJ0aWNlcwCbAgAAAzAALAAAABBJbmRleDAAAAAAABBJbmRleDEAAAAAAAHdAAAABdwAAADeAAAA5w8AAAAAAAAAAAAAVmFsdWUAAAAAAEWogUAAAzEALAAAABBJbmRleDAAAAAAABBJbmRleDEAAQAAAAFWYWx1ZQAAAABgKCtuQAADMgAsAAAAEEluZGV4MAABAAAAEEluZGV4MQAAAAAAAVZhbHVlAAAAAABF0IFAAAMzACwAAAAQSW5kZXgwAAEAAAAQSW5kZXgxAAEAAAABVmFsdWUAAAAAQL/sbkAAAzQALAAAABBJbmRleDAAAgAAABBJbmRleDEAAAAAAAFWYWx1ZQAAAAAARaiBQAADNQAsAAAAEEluZGV4MAACAAAAEEluZGV4MQABAAAAAVZhbHVlAAAAAEBWrm9AAAM2ACwAAAAQSW5kZXgwAAMAAAAQSW5kZXgxAAAAAAABVmFsdWUAAAAA4L5+h0AAAzcALAAAABBJbmRleDAAAwAAABBJbmRleDEAAQAAAAFWYWx1ZQAAAABAVq5vQAADOAAsAAAAEEluZGV4MAAEAAAAEEluZGV4MQAAAAAAAVZhbHVlAAAAAOC+podAAAM5ACwAAAAQSW5kZXgwAAQAAAAQSW5kZXgxAAEAAAABVmFsdWUAAAAAQL/sbkAAAzEwACwAAAAQSW5kZXgwAAUAAAAQSW5kZXgxAAAAAAABVmFsdWUAAAAA4L5+h0AAAzExACwAAAAQSW5kZXgwAAUAAAAQSW5kZXgxAAEAAAABVmFsdWUAAAAAYCgrbkAAAzEyACwAAAAQSW5kZXgwAAYAAAAQSW5kZXgxAAAAAAABVmFsdWUAAAAAAEWogUAAAzEzACwAAAAQSW5kZXgwAAYAAAAQSW5kZXgxAAEAAAABVmFsdWUAAAAAYCgrbkAAAAVNYW5hZ2VkSWQAEAAAAARi0KANGo6CTZ9SG7bTYr7zCEhhc0NoYW5nZXMAAAhVc2VOYW1lSW5zdGVhZE9mVGFnQXNJZAAACFNoYXBlUHJldmlvdXNseUNyZWF0ZWQAAANGaWxsQ29sb3IAVQAAABBBAP8AAAAQUgBAAAAAEEcAYAAAABBCAHIAAAABU2NBAAAAAAAAAPA/AVNjUgAAAADA/T+qPwFTY0cAAAAAQMrxvT8BU2NCAAAAAADaicU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wN0yKEABV2lkdGgAAAAAgOf5Z0ABVG9wAAAAAGAoK25AAUxlZnQAAAAAAEWogUAIRmxpcEhvcml6b250YWxseQAACEZsaXBIb3Jpem9udGFsbHlBcHBsaWVkAAAIRmxpcFZlcnRpY2FsbHkAAAhGbGlwVmVydGljYWxseUFwcGxpZWQAAAFSb3RhdGlvbgAAAAAAAAAAAAFaT3JkZXIAAAAAAAAATkADQm9yZGVyQ29sb3IAVQAAABBBAP8AAAAQUgBAAAAAEEcAYAAAABBCAHIAAAABU2NBAAAAAAAAAPA/AVNjUgAAAADA/T+qPwFTY0cAAAAAQMrxvT8BU2NCAAAAAADaicU/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JhclN0eWxlRGF0YQAkAAAAAkJhclN0eWxlU2hhcGVUeXBlAAgAAABDaGV2cm9uAAADTGFiZWwAzAYAAAVNYW5hZ2VkSWQAEAAAAARDVwwvtgzRQpHn6Zeo1gNMCEhhc0NoYW5nZXMAAAhVc2VOYW1lSW5zdGVhZE9mVGFnQXNJZAAACFNoYXBlUHJldmlvdXNseUNyZWF0ZWQAAQNGaWxsQ29sb3IAVQAAABBBAP8AAAAQUgBAAAAAEEcAYAAAABBCAHIAAAABU2NBAAAAAAAAAPA/AVNjUgAAAADA/T+qPwFTY0cAAAAAQMrxvT8BU2NCAAAAAADaicU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QAHAAAADfigIsvMTMvMjAyNCAtIDgvMTgvMjAy4oCLNAACVGV4dEhvcml6b250YWxBbGlnbm1lbnQADgAAAG1zb0FuY2hvck5vbmUAAlBhcmFncmFwaEFsaWdubWVudAANAAAAbXNvQWxpZ25MZWZ0AAJUZXh0VmVydGljYWxBbGlnbm1lbnQAEAAAAG1zb0FuY2hvck1pZGRsZQADRm9udFN0eWxlAEABAAAQRm9udEJhY2tncm91bmQAAAAAAAhGb250Qm9sZAAAA0ZvbnRDb2xvcgBVAAAAEEEA/wAAABBSAP8AAAAQRwD/AAAAEEIA/wAAAAFTY0EAAAAAAAAA8D8BU2NSAAAAAAAAAPA/AVNjRwAAAAAAAADwPwFTY0IAAAAAAAAA8D8AEEZvbnRUaGVtZUNvbG9yAAAAAAABRm9udFRpbnRBbmRTaGFkZQAAAAAAAAAAABBGb250U2NoZW1lQ29sb3IAAAAAAAhGb250SXRhbGljAAACRm9udE5hbWUABgAAAEFyaWFsAAFGb250U2l6ZQAAAAAAAAAkQAhGb250U3RyaWtldGhyb3VnaAAACEZvbnRTdWJzY3JpcHQAAAhGb250U3VwZXJzY3JpcHQAAAhGb250VW5kZXJsaW5lAAAACFNpemVUb1RleHRXaWR0aAAACFNpemVUb1RleHRIZWlnaHQAAANUZXh0TWFyZ2luAD8AAAABTGVmdAAAAAAAAAAAAAFUb3AAAAAAAAAAAAABUmlnaHQAAAAAAAAAAAABQm90dG9tAAAAAAAAAAAAAAJEaXNwbGF5VGV4dAAcAAAAN+KAiy8xMy8yMDI0IC0gOC8xOC8yMDLigIs0AAFIZWlnaHQAAAAAYN8LJ0ABV2lkdGgAAAAAwB51WEABVG9wAAAAAOB6NG5AAUxlZnQAAAAAwKr4gUAIRmxpcEhvcml6b250YWxseQAACEZsaXBIb3Jpem9udGFsbHlBcHBsaWVkAAAIRmxpcFZlcnRpY2FsbHkAAAhGbGlwVmVydGljYWxseUFwcGxpZWQAAAFSb3RhdGlvbgAAAAAAAAAAAAFaT3JkZXIAAAAAAACATk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Nvbm5lY3RvckxpbmUA4QYAAANTdGFy3gAAAAXdAAAA3wAAAOcPAAAAAAAAAAAAAHQAGwAAAAFYAAAAAABFqIFAAVkAAAAAYCgrbkAAA0VuZAAbAAAAAVgAAAAAAEWogUABWQAAAABgKCtuQAACU3RhcnRBcnJvd0hlYWQAEQAAAG1zb0Fycm93aGVhZE5vbmUAAkVuZEFycm93SGVhZAARAAAAbXNvQXJyb3doZWFkTm9uZQAFTWFuYWdlZElkABAAAAAEaMY1/W16L0CX6t7PylyY0AhIYXNDaGFuZ2VzAAAIVXNlTmFtZUluc3RlYWRPZlRhZ0FzSWQAAAhTaGFwZVByZXZpb3VzbHlDcmVhdGVkAAA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A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AAAAAAAAVdpZHRoAAAAAAAAAAAAAVRvcAAAAABgKCtuQAFMZWZ0AAAAAABFqIFACEZsaXBIb3Jpem9udGFsbHkAAAhGbGlwSG9yaXpvbnRhbGx5QXBwbGllZAAACEZsaXBWZXJ0aWNhbGx5AAAIRmxpcFZlcnRpY2FsbHlBcHBsaWVkAAABUm90YXRpb24AAAAAAAAAAAABWk9yZGVyAAAAAAAAgE5AA0JvcmRlckNvbG9yAFUAAAAQQQD/AAAAEFIAQAAAABBHAGAAAAAQQgByAAAAAVNjQQAAAAAAAADwPwFTY1IAAAAAwP0/qj8BU2NHAAAAAEDK8b0/AVNjQgAAAAAA2onFPw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ACVGV4dEhvcml6b250YWxBbGlnbm1lbnQAAgAAADAAAAMzAKJkBAAQX2lkAAsAAAAEUm93cwBi/AMAAzAAnZ4AABBfaWQACQAAAARJdGVtcwDnUgAAAzAAbRwAAAJfdHlwZQBLAAAAZW1wb3dlci5DaGFydHMuRGF0YS5HYW50dC5DaHJvbm9sb2d5LkRhdGEuQmFyVGFza0RhdGEsIGVtcG93ZXIuQ2hhcnRzLkRhdGEAAkxhYmVsUG9zaXRpb24ABwAAAENlbnRlcgAISXNMYWJlbEluc2lkZUJvdW5kcwABA1N0eWxlAFsEAAABRGVmYXVsdEZvbnRTaXplAAAAAAAAACRAAUZvbnRTaXplAAAAAAAAACBAA0ZvbnRDb2xvcgBVAAAAEEEA/wAAABBSABAAAAAQRwA4AAAAEEIATwAAAAFTY0EAAAAAAAAA8D8BU2NSAAAAAOA2OXU/AVNjRwAAAACAZz+kPwFTY0IAAAAAYBcEtD8AEEZvbnRUaGVtZUNvbG9yAAAAAAAQRm9udFNjaGVtZUNvbG9yAAAAAAABRm9udFRpbnRBbmRTaGFkZQAAAAAAAAAAAANQYXR0ZXJuQ29sb3IAVQAAABBBAAAAAAAQUgAAAAAAEEcAAAAAABBCAAAAAAABU2NBAAAAAAAAAAAAAVNjUgAAAAAAAAAAAAFTY0cAAAAAAAAAAAABU2NCAAAAAAAAAAAAABBQYXR0ZXJuVGhlbWVDb2xvcgAAAAAAAVBhdHRlcm5UaW50QW5kU2hhZGUAAAAAAAAAAAADRGF0YVN0eWxlRm9udENvbG9yVmFsdWUAVQAAABBBAAAAAAAQUgAAAAAAEEcAAAAAABBCAAAAAAABU2NBAAAAAAAAAAAAAVNjUgAAAAAAAAAAAAFTY0cAAAAAAAAAAAABU2NCAAAAAAAAAAAAAAhEYXRhU3R5bGVGb250Q29sb3JIYXNWYWx1ZQAAAUhlaWdodAAAAADg3TIoQAJEYXNoU3R5bGUADQAAAG1zb0xpbmVTb2xpZAAISGFzV2lzaEZpbGxDb2xvcgAAA0ZpbGxDb2xvcgBVAAAAEEEA/wAAABBSAJkAAAAQRwDTAAAAEEIA8gAAAAFTY0EAAAAAAAAA8D8BU2NSAAAAACASY9Q/AVNjRwAAAACgUNjkPwFTY0IAAAAAwN1p7D8AEEZpbGxTY2hlbWVDb2xvcgAAAAAAEEZpbGxUaGVtZUNvbG9yAAAAAAABRmlsbFRpbnRBbmRTaGFkZQAAAAAAAAAAAANCb3JkZXJDb2xvcgBVAAAAEEEAAAAAABBSAAAAAAAQRwAAAAAAEEIAAAAAAAFTY0EAAAAAAAAAAAABU2NSAAAAAAAAAAAAAVNjRwAAAAAAAAAAAAFTY0IAAAAAAAAAAAAAEEJvcmRlclRoZW1lQ29sb3IAAAAAAAFCb3JkZXJUaW50QW5kU2hhZGUAAAAAAAAAAAAISXNGaWxsZWQAAQJQYXR0ZXJuABAAAABtc29QYXR0ZXJuTWl4ZWQAAlNoYXBlVHlwZQAOAAAAbXNvU2hhcGVNaXhlZAADTGFiZWxPZmZzZXQAQgAAAAFYAAAAAAAAAAAAAVkAAAAAAAAAAAABTGVuZ3RoAAAAAAAAAAAAAUxlbmd0aFNxdWFyZWQAAAAAAAAAAAAACElzRm9udEJvbGQAAAhJc0ZvbnRJdGFsaWMAAAhJc0ZvbnRVbmRlcmxpbmVkAAAITGFiZWxIYXNCYWNrZ3JvdW5kAAACVGV4dEFsaWdubWVudAAFAAAATGVmdAAACERpc3BsYXlMYWJlbAABA1JlbmRlckluZm8A8RYAAANSZWN0YW5nbGVGcmVlZm9ybQD8CAAABFZlcnRpY2VzAJsCAAADMAAsAAAAEEluZGV4MAAAAAAAEEluZGV4MQAAAAAAAVZhbHVlAAAAAECoVmxAAAMxACwAAAAQSW5kZXgwAAAAAAAQSW5kZXgxAAEAAAABVmFsdWUAAAAAIB28dUAAAzIALAAAABBJbmRleDAAAQAAABBJbmRleDEAAAAAAAFWYWx1ZQAAAABAqFZsQAADMwAsAAAAEEluZGV4MAABAAAAEEluZGV4MQABAAAAAVZhbHVlAAAAAKDoHHZAAAM0ACwAAAAQSW5kZXgwAAIAAAAQSW5kZXgxAAAAAAABVmFsdWUAAAAAQKhWbEAAAzUALAAAABBJbmRleDAAAgAAABBJbmRleDEAAQAAAAFWYWx1ZQAAAAAAtH12QAADNgAsAAAAEEluZGV4MAADAAAAEEluZGV4MQAAAAAAAVZhbHVlAAAAAEDOYHBAAAM3ACwAAAAQSW5kZXgwAAMAAAAQSW5kZXgxAAEAAAABVmFsdWUAAAAAALR9dkAAAzgALAAAABBJbmRleDAABAAAABBJbmRleDEAAAAAAAFWYWx1ZQAAAABAzmBwQAADOQAsAAAAEEluZGV4MAAEAAAAEEluZGV4MQABAAAAAVZhbHVlAAAAAKDoHHZAAAMxMAAsAAAAEEluZGV4MAAFAAAAEEluZGV4MQAAAAAAAVZhbHVlAAAAAEDOYHBAAAMxMQAsAAAAEEluZGV4MAAFAAAAEEluZGV4MQABAAAAAVZhbHVlAAAAACAdvHVAAAMxMgAsAAAAEEluZGV4MAAGAAAAEEluZGV4MQAAAAAAAVZhbHVlAAAAAECoVmxAAAMxMwAsAAAAEEluZGV4MAAGAAAAEEluZGV4MQABAAAAAVZhbHVlAAAAACAdvHVAAAAFTWFuYWdlZElkABAAAAAELsy67jMJfEajtL54kR3Q6AhIYXNDaGFuZ2VzAAAIVXNlTmFtZUluc3RlYWRPZlRhZ0FzSWQAAAhTaGFwZVByZXZpb3VzbHlDcmVhdGVkAAADRmlsbENvbG9yAFUAAAAQQQD/AAAAEFIAmQAAABBHANMAAAAQQgDyAAAAAVNjQQAAAAAAAADwPwFTY1IAAAAAIBJj1D8BU2NHAAAAAKBQ2OQ/AVNjQgAAAADA3WnsPwAQRmlsbFRoZW1lQ29sb3IAAAAAAAFGaWxsVGludEFuZFNoYWRlAAAAAAAAAAAAEN8AAAAF3gAAAOIAAADnDwAAAAAAAAAAAABGaWxsU2NoZW1lQ29sb3IAAAAAAANQYXR0ZXJuQ29sb3IAVQAAABBBAAAAAAAQUgAAAAAAEEcAAAAAABBCAAAAAAABU2NBAAAAAAAAAAAAAVNjUgAAAAAAAAAAAAFTY0cAAAAAAAAAAAABU2NCAAAAAAAAAAAAABBQYXR0ZXJuVGhlbWVDb2xvcgAAAAAAAVBhdHRlcm5UaW50QW5kU2hhZGUAAAAAAAAAAAAIRmlsbFZpc2libGUAAQ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DA3TIoQAFXaWR0aAAAAACA0atBQAFUb3AAAAAAIB28dUABTGVmdAAAAABAqFZsQAhGbGlwSG9yaXpvbnRhbGx5AAAIRmxpcEhvcml6b250YWxseUFwcGxpZWQAAAhGbGlwVmVydGljYWxseQAACEZsaXBWZXJ0aWNhbGx5QXBwbGllZAAAAVJvdGF0aW9uAAAAAAAAAAAAAVpPcmRlcgAAAAAAAIBRQANCb3JkZXJDb2xvcgBVAAAAEEEA/wAAABBSAP8AAAAQRwD/AAAAEEIA/wAAAAFTY0EAAAAAAAAA8D8BU2NSAAAAAAAAAPA/AVNjRwAAAAAAAADwPwFTY0IAAAAAAAAA8D8AEEJvcmRlclRoZW1lQ29sb3IAAAAAAAFCb3JkZXJUaW50QW5kU2hhZGUAAAAAAAAAAAAQQm9yZGVyU2NoZW1lQ29sb3IAAAAAAAFCb3JkZXJUaGlja25lc3MAAAAAAAAA8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QmFyU3R5bGVEYXRhACYAAAACQmFyU3R5bGVTaGFwZVR5cGUACgAAAFJlY3RhbmdsZQAAA0xhYmVsAK4GAAAFTWFuYWdlZElkABAAAAAEoPvV4f7eGESPFZu3KQRJJQhIYXNDaGFuZ2VzAAAIVXNlTmFtZUluc3RlYWRPZlRhZ0FzSWQAAAhTaGFwZVByZXZpb3VzbHlDcmVhdGVkAAEDRmlsbENvbG9yAFUAAAAQQQD/AAAAEFIAmQAAABBHANMAAAAQQgDyAAAAAVNjQQAAAAAAAADwPwFTY1IAAAAAIBJj1D8BU2NHAAAAAKBQ2OQ/AVNjQgAAAADA3WnsP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AAwAAABEZWZpbmljacOzbgACVGV4dEhvcml6b250YWxBbGlnbm1lbnQADgAAAG1zb0FuY2hvck5vbmUAAlBhcmFncmFwaEFsaWdubWVudAAPAAAAbXNvQWxpZ25DZW50ZXIAAlRleHRWZXJ0aWNhbEFsaWdubWVudAAQAAAAbXNvQW5jaG9yTWlkZGxlAANGb250U3R5bGUAQAEAABBGb250QmFja2dyb3VuZAAAAAAACEZvbnRCb2xkAAADRm9udENvbG9yAFUAAAAQQQD/AAAAEFIAEAAAABBHADgAAAAQQgBPAAAAAVNjQQAAAAAAAADwPwFTY1IAAAAA4DY5dT8BU2NHAAAAAIBnP6Q/AVNjQgAAAABgFwS0PwAQRm9udFRoZW1lQ29sb3IAAAAAAAFGb250VGludEFuZFNoYWRlAAAAAAAAAAAAEEZvbnRTY2hlbWVDb2xvcgAAAAAACEZvbnRJdGFsaWMAAAJGb250TmFtZQAGAAAAQXJpYWwAAUZvbnRTaXplAAAAAAAAACBACEZvbnRTdHJpa2V0aHJvdWdoAAAIRm9udFN1YnNjcmlwdAAACEZvbnRTdXBlcnNjcmlwdAAACEZvbnRVbmRlcmxpbmUAAAAIU2l6ZVRvVGV4dFdpZHRoAAAIU2l6ZVRvVGV4dEhlaWdodAAAA1RleHRNYXJnaW4APwAAAAFMZWZ0AAAAAAAAAAAAAVRvcAAAAAAAAAAAAAFSaWdodAAAAAAAAAAAAAFCb3R0b20AAAAAAAAAAAAAAkRpc3BsYXlUZXh0AAwAAABEZWZpbmljacOzbgABSGVpZ2h0AAAAAAAWXCNAAVdpZHRoAAAAAOCj0EFAAVRvcAAAAABAeM91QAFMZWZ0AAAAAAAOUmxACEZsaXBIb3Jpem9udGFsbHkAAAhGbGlwSG9yaXpvbnRhbGx5QXBwbGllZAAACEZsaXBWZXJ0aWNhbGx5AAAIRmxpcFZlcnRpY2FsbHlBcHBsaWVkAAABUm90YXRpb24AAAAAAAAAAAABWk9yZGVyAAAAAAAAAFJ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Db25uZWN0b3JMaW5lRGF0YQDhBgAAA1N0YXJ0ABsAAAABWAAAAABAqFZsQAFZAAAAACAdvHVAAANFbmQAGwAAAAFYAAAAAECoVmxAAVkAAAAAIB28dUAAAlN0YXJ0QXJyb3dIZWFkABEAAABtc29BcnJvd2hlYWROb25lAAJFbmRBcnJvd0hlYWQAEQAAAG1zb0Fycm93aGVhZE5vbmUABU1hbmFnZWRJZAAQAAAABDRe4m2P//9EsBb8KRuCyyYISGFzQ2hhbmdlcwAACFVzZU5hbWVJbnN0ZWFkT2ZUYWdBc0lkAAAIU2hhcGVQcmV2aW91c2x5Q3JlYXRlZAAA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A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DgAAAABcUAAADhAAAA5w8AAAAAAAA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AAAAAAABVG9wAAAAACAdvHVAAUxlZnQAAAAAQKhWbEAIRmxpcEhvcml6b250YWxseQAACEZsaXBIb3Jpem9udGFsbHlBcHBsaWVkAAAIRmxpcFZlcnRpY2FsbHkAAAhGbGlwVmVydGljYWxseUFwcGxpZWQAAAFSb3RhdGlvbgAAAAAAAAAAAAFaT3JkZXIAAAAAAADAUUADQm9yZGVyQ29sb3IAVQAAABBBAP8AAAAQUgCZAAAAEEcA0wAAABBCAPIAAAABU2NBAAAAAAAAAPA/AVNjUgAAAAAgEmPUPwFTY0cAAAAAoFDY5D8BU2NCAAAAAMDdaew/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AlFbmRUaW1lAAD7YmuPAQAAEEluZGV4AAEAAAACRGVzY3JpcHRpb24ADAAAAERlZmluaWNpw7NuAAJOYW1lAAUAAABUYXNrAAhJc0xlYWRlckxpbmVJbkF1dG9Nb2RlAAEJU3RhcnRUaW1lAADTfEyPAQAAAAMxAPkZAAACX3R5cGUATQAAAGVtcG93ZXIuQ2hhcnRzLkRhdGEuR2FudHQuQ2hyb25vbG9neS5EYXRhLk1pbGVzdG9uZURhdGEsIGVtcG93ZXIuQ2hhcnRzLkRhdGEAA1N0eWxlAHYEAAABRGVmYXVsdEZvbnRTaXplAAAAAAAAACRAAUZvbnRTaXplAAAAAAAAACBAA0ZvbnRDb2xvcgBVAAAAEEEA/wAAABBSABAAAAAQRwA4AAAAEEIATwAAAAFTY0EAAAAAAAAA8D8BU2NSAAAAAOA2OXU/AVNjRwAAAACAZz+kPwFTY0IAAAAAYBcEtD8AEEZvbnRUaGVtZUNvbG9yAAAAAAAQRm9udFNjaGVtZUNvbG9yAAAAAAABRm9udFRpbnRBbmRTaGFkZQAAAAAAAAAAAANQYXR0ZXJuQ29sb3IAVQAAABBBAAAAAAAQUgAAAAAAEEcAAAAAABBCAAAAAAABU2NBAAAAAAAAAAAAAVNjUgAAAAAAAAAAAAFTY0cAAAAAAAAAAAABU2NCAAAAAAAAAAAAABBQYXR0ZXJuVGhlbWVDb2xvcgAAAAAAAVBhdHRlcm5UaW50QW5kU2hhZGUAAAAAAAAAAAADRGF0YVN0eWxlRm9udENvbG9yVmFsdWUAVQAAABBBAAAAAAAQUgAAAAAAEEcAAAAAABBCAAAAAAABU2NBAAAAAAAAAAAAAVNjUgAAAAAAAAAAAAFTY0cAAAAAAAAAAAABU2NCAAAAAAAAAAAAAAhEYXRhU3R5bGVGb250Q29sb3JIYXNWYWx1ZQAAAUhlaWdodAAAAADg3TIoQAJEYXNoU3R5bGUADQAAAG1zb0xpbmVTb2xpZAAISGFzV2lzaEZpbGxDb2xvcgAAA0ZpbGxDb2xvcgBVAAAAEEEA/wAAABBSAAAAAAAQRwCRAAAAEEIA3wAAAAFTY0EAAAAAAAAA8D8BU2NSAAAAAAAAAAAAAVNjRwAAAAAAHB/SPwFTY0IAAAAAYPac5z8AEEZpbGxTY2hlbWVDb2xvcgAAAAAAEEZpbGxUaGVtZUNvbG9yAAAAAAABRmlsbFRpbnRBbmRTaGFkZQAAAAAAAAAAAANCb3JkZXJDb2xvcgBVAAAAEEEA/wAAABBSAP8AAAAQRwD/AAAAEEIA/wAAAAFTY0EAAAAAAAAA8D8BU2NSAAAAAAAAAPA/AVNjRwAAAAAAAADwPwFTY0IAAAAAAAAA8D8AEEJvcmRlclRoZW1lQ29sb3IAAAAAAAFCb3JkZXJUaW50QW5kU2hhZGUAAAAAAAAAAAAISXNGaWxsZWQAAQJQYXR0ZXJuABAAAABtc29QYXR0ZXJuTWl4ZWQAAlNoYXBlVHlwZQAQAAAAbXNvU2hhcGVEaWFtb25kAANMYWJlbE9mZnNldABCAAAAAVgAAAAAAAAAAAABWQAQxLZjkLIzwAFMZW5ndGgAEMS2Y5CyM0ABTGVuZ3RoU3F1YXJlZAB4uZO+3z94QAABQm9yZGVyVGhpY2tuZXNzAAAAAAAAAPA/CElzRm9udEJvbGQAAAhJc0ZvbnRJdGFsaWMAAAhJc0ZvbnRVbmRlcmxpbmVkAAAITGFiZWxIYXNCYWNrZ3JvdW5kAAACVGV4dEFsaWdubWVudAAFAAAATGVmdAAACERpc3BsYXlMYWJlbAABCExhYmVsSGFzQmFja2dyb3VuZAAAA1JlbmRlckluZm8ASRQAAANTeW1ib2wAcgYAAAJBdXRvU2hhcGVUeXBlAAgAAABEaWFtb25kAAVNYW5hZ2VkSWQAEAAAAARQHwcIKdwlQYpk8vfUd8q/CEhhc0NoYW5nZXMAAAhVc2VOYW1lSW5zdGVhZE9mVGFnQXNJZAAACFNoYXBlUHJldmlvdXNseUNyZWF0ZWQAAANGaWxsQ29sb3IAVQAAABBBAP8AAAAQUgAAAAAAEEcAkQAAABBCAN8AAAABU2NBAAAAAAAAAPA/AVNjUgAAAAAAAAAAAAFTY0cAAAAAABwf0j8BU2NCAAAAAGD2nO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wN0yKEABV2lkdGgAAAAAwN0yKEABVG9wAAAAACAdvHVAAUxlZnQAAAAA4AIAcEAIRmxpcEhvcml6b250YWxseQAACEZsaXBIb3Jpem9udGFsbHlBcHBsaWVkAAAIRmxpcFZlcnRpY2FsbHkAAAhGbGlwVmVydGljYWxseUFwcGxpZWQAAAFSb3RhdGlvbgAAAAAAAAAAAAFaT3JkZXIAAAAAAACAVEADQm9yZGVyQ29sb3IAVQAAABBBAP8AAAAQUgD/AAAAEEcA/wAAABBCAP8AAAABU2NBAAAAAAAAAPA/AVNjUgAAAAAAAADwPwFTY0cAAAAAAAAA8D8BU2NCAAAAAAAAAPA/ABBCb3JkZXJUaGVtZUNvbG9yAAAAAAABQm9yZGVyVGludEFuZFNoYWRlAAAAAAAAAAAAEEJvcmRlclNjaGVtZUNvbG9yAAAAAAABQm9yZGVyVGhpY2tuZXNzAAAAAAAAAPA/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xhYmVsANMGAAAFTWFuYWdlZElkABAAAAAEgHc50Qa7WE2a7nzePWgcaAhIYXNDaGFuZ2VzAAAIVXNlTmFtZUluc3RlYWRPZlRhZ0FzSWQAAAhTaGFwZVByZXZpb3VzbHlDcmVhdGVkAAEDRmlsbENvbG9y4QAAAAXgAAAA5AAAAOcPAAAAAAAAAAAAAABVAAAAEEEA/wAAABBSAAAAAAAQRwCRAAAAEEIA3wAAAAFTY0EAAAAAAAAA8D8BU2NSAAAAAAAAAAAAAVNjRwAAAAAAHB/SPwFTY0IAAAAAYPac5z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AAlAAAANeKAiy8xMi8yMDLigIs0IENhc28gZGUgVXNvIGRlZmluaWRvAAJUZXh0SG9yaXpvbnRhbEFsaWdubWVudAAOAAAAbXNvQW5jaG9yTm9uZQACUGFyYWdyYXBoQWxpZ25tZW50AAIAAAAwAAJUZXh0VmVydGljYWxBbGlnbm1lbnQAEAAAAG1zb0FuY2hvck1pZGRsZQADRm9udFN0eWxlAEABAAAQRm9udEJhY2tncm91bmQAAAAAAAhGb250Qm9sZAAAA0ZvbnRDb2xvcgBVAAAAEEEA/wAAABBSABAAAAAQRwA4AAAAEEIATwAAAAFTY0EAAAAAAAAA8D8BU2NSAAAAAOA2OXU/AVNjRwAAAACAZz+kPwFTY0IAAAAAYBcEtD8AEEZvbnRUaGVtZUNvbG9yAAAAAAABRm9udFRpbnRBbmRTaGFkZQAAAAAAAAAAABBGb250U2NoZW1lQ29sb3IAAAAAAAhGb250SXRhbGljAAACRm9udE5hbWUABgAAAEFyaWFsAAFGb250U2l6ZQAAAAAAAAAgQAhGb250U3RyaWtldGhyb3VnaAAACEZvbnRTdWJzY3JpcHQAAAhGb250U3VwZXJzY3JpcHQAAAhGb250VW5kZXJsaW5lAAAACFNpemVUb1RleHRXaWR0aAAACFNpemVUb1RleHRIZWlnaHQAAANUZXh0TWFyZ2luAD8AAAABTGVmdAAAAAAAAAAAAAFUb3AAAAAAAAAAAAABUmlnaHQAAAAAAAAAAAABQm90dG9tAAAAAAAAAAAAAAJEaXNwbGF5VGV4dAAlAAAANeKAiy8xMi8yMDLigIs0IENhc28gZGUgVXNvIGRlZmluaWRvAAFIZWlnaHQAAAAA4LFLJUABV2lkdGgAAAAAwCBwX0ABVG9wAAAAAIC/4XRAAUxlZnQAAAAAYM5gcEAIRmxpcEhvcml6b250YWxseQAACEZsaXBIb3Jpem9udGFsbHlBcHBsaWVkAAAIRmxpcFZlcnRpY2FsbHkAAAhGbGlwVmVydGljYWxseUFwcGxpZWQAAAFSb3RhdGlvbgAAAAAAAAAAAAFaT3JkZXIAAAAAAADAVE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Nvbm5lY3RvckxpbmUA4QYAAANTdGFydAAbAAAAAVgAAAAA4AIAcEABWQAAAAAgHbx1QAADRW5kABsAAAABWAAAAADgAgBwQAFZAAAAACAdvHVAAAJTdGFydEFycm93SGVhZAARAAAAbXNvQXJyb3doZWFkTm9uZQACRW5kQXJyb3dIZWFkABEAAABtc29BcnJvd2hlYWROb25lAAVNYW5hZ2VkSWQAEAAAAATjVwcr3V8MSbE0FNv91qCsCEhhc0NoYW5nZXMAAAhVc2VOYW1lSW5zdGVhZE9mVGFnQXNJZAAACFNoYXBlUHJldmlvdXNseUNyZWF0ZWQAAA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A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AAAAAAABVG9wAAAAACAdvHVAAUxlZnQAAAAA4AIAcEAIRmxpcEhvcml6b250YWxseQAACEZsaXBIb3Jpem9udGFsbHlBcHBsaWVkAAAIRmxpcFZlcnRpY2FsbHkAAAhGbGlwVmVydGljYWxseUFwcGxpZWQAAAFSb3RhdGlvbgAAAAAAAAAAAAFaT3JkZXIAAAAAAABAVEADQm9yZGVyQ29sb3IAVQAAABBBAP8AAAAQUgAAAAAAEEcAkQAAABBCAN8AAAABU2NBAAAAAAAAAPA/AVNjUgAAAAAAAAAAAAFTY0cAAAAAABwf0j8BU2NCAAAAAGD2nOc/ABBCb3JkZXJUaGVtZUNvbG9yAAAAAAABQm9yZGVyVGludEFuZFNoYWRlAAAAAAAAAAAAEEJvcmRlclNjaGVtZUNvbG9yAAAAAAABQm9yZGVyVGhpY2tuZXNzAAAAAAAAAOA/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AJNaWxlc3RvbmVMYWJlbFBvc2l0aW9uAAkAAABUb3BSaWdodAAQSW5kZXgAAgAAAAJEZXNjcmlwdGlvbgAlAAAANeKAiy8xMi8yMDLigIs0IENhc28gZGUgVXNvIGRlZmluaWRvAAJOYW1lAAoAAABNaWxlc3RvbmUACElzTGVhZGVyTGluZUluQXV0b01vZGUAAQlTdGFydFRpbWUAAPtia48BAAAAAzIAcxwAAAJfdHlwZQBLAAAAZW1wb3dlci5DaGFydHMuRGF0YS5HYW50dC5DaHJvbm9sb2d5LkRhdGEuQmFyVGFza0RhdGEsIGVtcG93ZXIuQ2hhcnRzLkRhdGEAAkxhYmVsUG9zaXRpb24ABwAAAENlbnRlcgAISXNMYWJlbEluc2lkZUJvdW5kcwABA1N0eWxlAFsEAAABRGVmYXVsdEZvbnRTaXplAAAAAAAAACRAAUZvbnRTaXplAAAAAAAAACBAA0ZvbnRDb2xvcgBVAAAAEEEA/wAAABBSABAAAAAQRwA4AAAAEEIATwAAAAFTY0EAAAAAAAAA8D8BU2NSAAAAAOA2OXU/AVNjRwAAAACAZz+kPwFTY0IAAAAAYBcEtD8AEEZvbnRUaGVtZUNvbG9yAAAAAAAQRm9udFNjaGVtZUNvbG9yAAAAAAABRm9udFRpbnRBbmRTaGFkZQAAAAAAAAAAAANQYXR0ZXJuQ29sb3IAVQAAABBBAAAAAAAQUgAAAAAAEEcAAAAAABBCAAAAAAABU2NBAAAAAAAAAAAAAVNjUgAAAAAAAAAAAAFTY0cAAAAAAAAAAAABU2NCAAAAAAAAAAAAABBQYXR0ZXJuVGhlbWVDb2xvcgAAAAAAAVBhdHRlcm5UaeIAAAAF3wAAAOMAAADnDwAAAAA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AAAAAAAAFUb3AAAAAAIB28dUABTGVmdAAAAABAqFZsQAhGbGlwSG9yaXpvbnRhbGx5AAAIRmxpcEhvcml6b250YWxseUFwcGxpZWQAAAhGbGlwVmVydGljYWxseQAACEZsaXBWZXJ0aWNhbGx5QXBwbGllZAAAAVJvdGF0aW9uAAAAAAAAAAAAAVpPcmRlcgAAAAAAAMBRQANCb3JkZXJDb2xvcgBVAAAAEEEA/wAAABBSAJkAAAAQRwDTAAAAEEIA8gAAAAFTY0EAAAAAAAAA8D8BU2NSAAAAACASY9Q/AVNjRwAAAACgUNjkPwFTY0IAAAAAwN1p7D8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ACUVuZFRpbWUAAPtia48BAAAQSW5kZXgAAQAAAAJEZXNjcmlwdGlvbgAMAAAARGVmaW5pY2nDs24AAk5hbWUABQAAAFRhc2sACElzTGVhZGVyTGluZUluQXV0b01vZGUAAQlTdGFydFRpbWUAANN8TI8BAAAAAzEA+RkAAAJfdHlwZQBNAAAAZW1wb3dlci5DaGFydHMuRGF0YS5HYW50dC5DaHJvbm9sb2d5LkRhdGEuTWlsZXN0b25lRGF0YSwgZW1wb3dlci5DaGFydHMuRGF0YQADU3R5bGUAdgQAAAFEZWZhdWx0Rm9udFNpemUAAAAAAAAAJEABRm9udFNpemUAAAAAAAAAIEADRm9udENvbG9yAFUAAAAQQQD/AAAAEFIAEAAAABBHADgAAAAQQgBPAAAAAVNjQQAAAAAAAADwPwFTY1IAAAAA4DY5dT8BU2NHAAAAAIBnP6Q/AVNjQgAAAABgFwS0PwAQRm9udFRoZW1lQ29sb3IAAAAAABBGb250U2NoZW1lQ29sb3IAAAAAAAFGb250VGludEFuZFNoYWRlAAAAAAAAAAAAA1BhdHRlcm5Db2xvcgBVAAAAEEEAAAAAABBSAAAAAAAQRwAAAAAAEEIAAAAAAAFTY0EAAAAAAAAAAAABU2NSAAAAAAAAAAAAAVNjRwAAAAAAAAAAAAFTY0IAAAAAAAAAAAAAEFBhdHRlcm5UaGVtZUNvbG9yAAAAAAABUGF0dGVyblRpbnRBbmRTaGFkZQAAAAAAAAAAAANEYXRhU3R5bGVGb250Q29sb3JWYWx1ZQBVAAAAEEEAAAAAABBSAAAAAAAQRwAAAAAAEEIAAAAAAAFTY0EAAAAAAAAAAAABU2NSAAAAAAAAAAAAAVNjRwAAAAAAAAAAAAFTY0IAAAAAAAAAAAAACERhdGFTdHlsZUZvbnRDb2xvckhhc1ZhbHVlAAABSGVpZ2h0AAAAAODdMihAAkRhc2hTdHlsZQANAAAAbXNvTGluZVNvbGlkAAhIYXNXaXNoRmlsbENvbG9yAAADRmlsbENvbG9yAFUAAAAQQQD/AAAAEFIAAAAAABBHAJEAAAAQQgDfAAAAAVNjQQAAAAAAAADwPwFTY1IAAAAAAAAAAAABU2NHAAAAAAAcH9I/AVNjQgAAAABg9pznPwAQRmlsbFNjaGVtZUNvbG9yAAAAAAAQRmlsbFRoZW1lQ29sb3IAAAAAAAFGaWxsVGludEFuZFNoYWRlAAAAAAAAAAAAA0JvcmRlckNvbG9yAFUAAAAQQQD/AAAAEFIA/wAAABBHAP8AAAAQQgD/AAAAAVNjQQAAAAAAAADwPwFTY1IAAAAAAAAA8D8BU2NHAAAAAAAAAPA/AVNjQgAAAAAAAADwPwAQQm9yZGVyVGhlbWVDb2xvcgAAAAAAAUJvcmRlclRpbnRBbmRTaGFkZQAAAAAAAAAAAAhJc0ZpbGxlZAABAlBhdHRlcm4AEAAAAG1zb1BhdHRlcm5NaXhlZAACU2hhcGVUeXBlABAAAABtc29TaGFwZURpYW1vbmQAA0xhYmVsT2Zmc2V0AEIAAAABWAAAAAAAAAAAAAFZABDEtmOQsjPAAUxlbmd0aAAQxLZjkLIzQAFMZW5ndGhTcXVhcmVkAHi5k77fP3hAAAFCb3JkZXJUaGlja25lc3MAAAAAAAAA8D8ISXNGb250Qm9sZAAACElzRm9udEl0YWxpYwAACElzRm9udFVuZGVybGluZWQAAAhMYWJlbEhhc0JhY2tncm91bmQAAAJUZXh0QWxpZ25tZW50AAUAAABMZWZ0AAAIRGlzcGxheUxhYmVsAAEITGFiZWxIYXNCYWNrZ3JvdW5kAAADUmVuZGVySW5mbwBJFAAAA1N5bWJvbAByBgAAAkF1dG9TaGFwZVR5cGUACAAAAERpYW1vbmQABU1hbmFnZWRJZAAQAAAABFAfBwgp3CVBimTy99R3yr8ISGFzQ2hhbmdlcwAACFVzZU5hbWVJbnN0ZWFkT2ZUYWdBc0lkAAAIU2hhcGVQcmV2aW91c2x5Q3JlYXRlZAAAA0ZpbGxDb2xvcgBVAAAAEEEA/wAAABBSAAAAAAAQRwCRAAAAEEIA3wAAAAFTY0EAAAAAAAAA8D8BU2NSAAAAAAAAAAAAAVNjRwAAAAAAHB/SPwFTY0IAAAAAYPac5z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DA3TIoQAFXaWR0aAAAAADA3TIoQAFUb3AAAAAAIB28dUABTGVmdAAAAADgAgBwQAhGbGlwSG9yaXpvbnRhbGx5AAAIRmxpcEhvcml6b250YWxseUFwcGxpZWQAAAhGbGlwVmVydGljYWxseQAACEZsaXBWZXJ0aWNhbGx5QXBwbGllZAAAAVJvdGF0aW9uAAAAAAAAAAAAAVpPcmRlcgAAAAAAAIBUQANCb3JkZXJDb2xvcgBVAAAAEEEA/wAAABBSAP8AAAAQRwD/AAAAEEIA/wAAAAFTY0EAAAAAAAAA8D8BU2NSAAAAAAAAAPA/AVNjRwAAAAAAAADwPwFTY0IAAAAAAAAA8D8AEEJvcmRlclRoZW1lQ29sb3IAAAAAAAFCb3JkZXJUaW50QW5kU2hhZGUAAAAAAAAAAAAQQm9yZGVyU2NoZW1lQ29sb3IAAAAAAAFCb3JkZXJUaGlja25lc3MAAAAAAAAA8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TGFiZWwA0wYAAAVNYW5hZ2VkSWQAEAAAAASAdznRBrtYTZrufN49aBxoCEhhc0NoYW5nZXMAAAhVc2VOYW1lSW5zdGVhZE9mVGFnQXNJZAAACFNoYXBlUHJldmlvdXNseUNyZWF0ZWQAAQNGaWxsQ29sb3IAVQAAABBBAP8AAAAQUgAAAAAAEEcAkQDjAAAABeIAAADpAAAA5w8AAAAAAAAAAAAAAAAQQgDfAAAAAVNjQQAAAAAAAADwPwFTY1IAAAAAAAAAAAABU2NHAAAAAAAcH9I/AVNjQgAAAABg9pznP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ACUAAAA14oCLLzEyLzIwMuKAizQgQ2FzbyBkZSBVc28gZGVmaW5pZG8AAlRleHRIb3Jpem9udGFsQWxpZ25tZW50AA4AAABtc29BbmNob3JOb25lAAJQYXJhZ3JhcGhBbGlnbm1lbnQAAgAAADAAAlRleHRWZXJ0aWNhbEFsaWdubWVudAAQAAAAbXNvQW5jaG9yTWlkZGxlAANGb250U3R5bGUAQAEAABBGb250QmFja2dyb3VuZAAAAAAACEZvbnRCb2xkAAADRm9udENvbG9yAFUAAAAQQQD/AAAAEFIAEAAAABBHADgAAAAQQgBPAAAAAVNjQQAAAAAAAADwPwFTY1IAAAAA4DY5dT8BU2NHAAAAAIBnP6Q/AVNjQgAAAABgFwS0PwAQRm9udFRoZW1lQ29sb3IAAAAAAAFGb250VGludEFuZFNoYWRlAAAAAAAAAAAAEEZvbnRTY2hlbWVDb2xvcgAAAAAACEZvbnRJdGFsaWMAAAJGb250TmFtZQAGAAAAQXJpYWwAAUZvbnRTaXplAAAAAAAAACBACEZvbnRTdHJpa2V0aHJvdWdoAAAIRm9udFN1YnNjcmlwdAAACEZvbnRTdXBlcnNjcmlwdAAACEZvbnRVbmRlcmxpbmUAAAAIU2l6ZVRvVGV4dFdpZHRoAAAIU2l6ZVRvVGV4dEhlaWdodAAAA1RleHRNYXJnaW4APwAAAAFMZWZ0AAAAAAAAAAAAAVRvcAAAAAAAAAAAAAFSaWdodAAAAAAAAAAAAAFCb3R0b20AAAAAAAAAAAAAAkRpc3BsYXlUZXh0ACUAAAA14oCLLzEyLzIwMuKAizQgQ2FzbyBkZSBVc28gZGVmaW5pZG8AAUhlaWdodAAAAADgsUslQAFXaWR0aAAAAADAIHBfQAFUb3AAAAAAgL/hdEABTGVmdAAAAABgzmBwQAhGbGlwSG9yaXpvbnRhbGx5AAAIRmxpcEhvcml6b250YWxseUFwcGxpZWQAAAhGbGlwVmVydGljYWxseQAACEZsaXBWZXJ0aWNhbGx5QXBwbGllZAAAAVJvdGF0aW9uAAAAAAAAAAAAAVpPcmRlcgAAAAAAAMBU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Q29ubmVjdG9yTGluZQDhBgAAA1N0YXJ0ABsAAAABWAAAAADgAgBwQAFZAAAAACAdvHVAAANFbmQAGwAAAAFYAAAAAOACAHBAAVkAAAAAIB28dUAAAlN0YXJ0QXJyb3dIZWFkABEAAABtc29BcnJvd2hlYWROb25lAAJFbmRBcnJvd0hlYWQAEQAAAG1zb0Fycm93aGVhZE5vbmUABU1hbmFnZWRJZAAQAAAABONXByvdXwxJsTQU2/3WoKwISGFzQ2hhbmdlcwAACFVzZU5hbWVJbnN0ZWFkT2ZUYWdBc0lkAAAIU2hhcGVQcmV2aW91c2x5Q3JlYXRlZAAA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A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AAAAAAAAFUb3AAAAAAIB28dUABTGVmdAAAAADgAgBwQAhGbGlwSG9yaXpvbnRhbGx5AAAIRmxpcEhvcml6b250YWxseUFwcGxpZWQAAAhGbGlwVmVydGljYWxseQAACEZsaXBWZXJ0aWNhbGx5QXBwbGllZAAAAVJvdGF0aW9uAAAAAAAAAAAAAVpPcmRlcgAAAAAAAEBUQANCb3JkZXJDb2xvcgBVAAAAEEEA/wAAABBSAAAAAAAQRwCRAAAAEEIA3wAAAAFTY0EAAAAAAAAA8D8BU2NSAAAAAAAAAAAAAVNjRwAAAAAAHB/SPwFTY0IAAAAAYPac5z8AEEJvcmRlclRoZW1lQ29sb3IAAAAAAAFCb3JkZXJUaW50QW5kU2hhZGUAAAAAAAAAAAAQQm9yZGVyU2NoZW1lQ29sb3IAAAAAAAFCb3JkZXJUaGlja25lc3MAAAAAAAAA4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AAk1pbGVzdG9uZUxhYmVsUG9zaXRpb24ACQAAAFRvcFJpZ2h0ABBJbmRleAACAAAAAkRlc2NyaXB0aW9uACUAAAA14oCLLzEyLzIwMuKAizQgQ2FzbyBkZSBVc28gZGVmaW5pZG8AAk5hbWUACgAAAE1pbGVzdG9uZQAISXNMZWFkZXJMaW5lSW5BdXRvTW9kZQABCVN0YXJ0VGltZQAA+2JrjwEAAAADMgBzHAAAAl90eXBlAEsAAABlbXBvd2VyLkNoYXJ0cy5EYXRhLkdhbnR0LkNocm9ub2xvZ3kuRGF0YS5CYXJUYXNrRGF0YSwgZW1wb3dlci5DaGFydHMuRGF0YQACTGFiZWxQb3NpdGlvbgAHAAAAQ2VudGVyAAhJc0xhYmVsSW5zaWRlQm91bmRzAAEDU3R5bGUAWwQAAAFEZWZhdWx0Rm9udFNpemUAAAAAAAAAJEABRm9udFNpemUAAAAAAAAAIEADRm9udENvbG9yAFUAAAAQQQD/AAAAEFIAEAAAABBHADgAAAAQQgBPAAAAAVNjQQAAAAAAAADwPwFTY1IAAAAA4DY5dT8BU2NHAAAAAIBnP6Q/AVNjQgAAAABgFwS0PwAQRm9udFRoZW1lQ29sb3IAAAAAABBGb250U2NoZW1lQ29sb3IAAAAAAAFGb250VGludEFuZFNoYWRlAAAAAAAAAAAAA1BhdHRlcm5Db2xvcgBVAAAAEEEAAAAAABBSAAAAAAAQRwAAAAAAEEIAAAAAAAFTY0EAAAAAAAAAAAABU2NSAAAAAAAAAAAAAVNjRwAAAAAAAAAAAAFTY0IAAAAAAAAAAAAAEFBhdHRlcm5UaGVtZUNvbG9yAAAAAAABUGF0dGVyblRpbnRBbmRTaGFkZQAAAAAAAAAAAANEYXRh5AAAAAXhAAAA5QAAAOcPAAAAAAAAAAAAAG50QW5kU2hhZGUAAAAAAAAAAAADRGF0YVN0eWxlRm9udENvbG9yVmFsdWUAVQAAABBBAAAAAAAQUgAAAAAAEEcAAAAAABBCAAAAAAABU2NBAAAAAAAAAAAAAVNjUgAAAAAAAAAAAAFTY0cAAAAAAAAAAAABU2NCAAAAAAAAAAAAAAhEYXRhU3R5bGVGb250Q29sb3JIYXNWYWx1ZQAAAUhlaWdodAAAAADg3TIoQAJEYXNoU3R5bGUADQAAAG1zb0xpbmVTb2xpZAAISGFzV2lzaEZpbGxDb2xvcgABA0ZpbGxDb2xvcgBVAAAAEEEA/wAAABBSAP8AAAAQRwDMAAAAEEIAAAAAAAFTY0EAAAAAAAAA8D8BU2NSAAAAAAAAAPA/AVNjRwAAAADAjVLjPwFTY0IAAAAAAAAAAAAAEEZpbGxTY2hlbWVDb2xvcgAAAAAAEEZpbGxUaGVtZUNvbG9yAAAAAAABRmlsbFRpbnRBbmRTaGFkZQAAAAAAAAAAAANCb3JkZXJDb2xvcgBVAAAAEEEAAAAAABBSAAAAAAAQRwAAAAAAEEIAAAAAAAFTY0EAAAAAAAAAAAABU2NSAAAAAAAAAAAAAVNjRwAAAAAAAAAAAAFTY0IAAAAAAAAAAAAAEEJvcmRlclRoZW1lQ29sb3IAAAAAAAFCb3JkZXJUaW50QW5kU2hhZGUAAAAAAAAAAAAISXNGaWxsZWQAAQJQYXR0ZXJuABAAAABtc29QYXR0ZXJuTWl4ZWQAAlNoYXBlVHlwZQAOAAAAbXNvU2hhcGVNaXhlZAADTGFiZWxPZmZzZXQAQgAAAAFYAAAAAAAAAAAAAVkAAAAAAAAAAAABTGVuZ3RoAAAAAAAAAAAAAUxlbmd0aFNxdWFyZWQAAAAAAAAAAAAACElzRm9udEJvbGQAAAhJc0ZvbnRJdGFsaWMAAAhJc0ZvbnRVbmRlcmxpbmVkAAAITGFiZWxIYXNCYWNrZ3JvdW5kAAACVGV4dEFsaWdubWVudAAFAAAATGVmdAAACERpc3BsYXlMYWJlbAABA1JlbmRlckluZm8A9RYAAANSZWN0YW5nbGVGcmVlZm9ybQD8CAAABFZlcnRpY2VzAJsCAAADMAAsAAAAEEluZGV4MAAAAAAAEEluZGV4MQAAAAAAAVZhbHVlAAAAACDsWGBAAAMxACwAAAAQSW5kZXgwAAAAAAAQSW5kZXgxAAEAAAABVmFsdWUAAAAAIB28dUAAAzIALAAAABBJbmRleDAAAQAAABBJbmRleDEAAAAAAAFWYWx1ZQAAAAAg7FhgQAADMwAsAAAAEEluZGV4MAABAAAAEEluZGV4MQABAAAAAVZhbHVlAAAAAKDoHHZAAAM0ACwAAAAQSW5kZXgwAAIAAAAQSW5kZXgxAAAAAAABVmFsdWUAAAAAIOxYYEAAAzUALAAAABBJbmRleDAAAgAAABBJbmRleDEAAQAAAAFWYWx1ZQAAAAAAtH12QAADNgAsAAAAEEluZGV4MAADAAAAEEluZGV4MQAAAAAAAVZhbHVlAAAAAACHE2tAAAM3ACwAAAAQSW5kZXgwAAMAAAAQSW5kZXgxAAEAAAABVmFsdWUAAAAAALR9dkAAAzgALAAAABBJbmRleDAABAAAABBJbmRleDEAAAAAAAFWYWx1ZQAAAAAAhxNrQAADOQAsAAAAEEluZGV4MAAEAAAAEEluZGV4MQABAAAAAVZhbHVlAAAAAKDoHHZAAAMxMAAsAAAAEEluZGV4MAAFAAAAEEluZGV4MQAAAAAAAVZhbHVlAAAAAACHE2tAAAMxMQAsAAAAEEluZGV4MAAFAAAAEEluZGV4MQABAAAAAVZhbHVlAAAAACAdvHVAAAMxMgAsAAAAEEluZGV4MAAGAAAAEEluZGV4MQAAAAAAAVZhbHVlAAAAACDsWGBAAAMxMwAsAAAAEEluZGV4MAAGAAAAEEluZGV4MQABAAAAAVZhbHVlAAAAACAdvHVAAAAFTWFuYWdlZElkABAAAAAE/7vDFybhQUyLId9SCqnmCghIYXNDaGFuZ2VzAAAIVXNlTmFtZUluc3RlYWRPZlRhZ0FzSWQAAAhTaGFwZVByZXZpb3VzbHlDcmVhdGVkAAADRmlsbENvbG9yAFUAAAAQQQD/AAAAEFIA/wAAABBHAMwAAAAQQgAAAAAAAVNjQQAAAAAAAADwPwFTY1IAAAAAAAAA8D8BU2NHAAAAAMCNUuM/AVNjQgAAAAAAAAAAAA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MDdMihAAVdpZHRoAAAAAMA1dVVAAVRvcAAAAAAgHbx1QAFMZWZ0AAAAACDsWGBACEZsaXBIb3Jpem9udGFsbHkAAAhGbGlwSG9yaXpvbnRhbGx5QXBwbGllZAAACEZsaXBWZXJ0aWNhbGx5AAAIRmxpcFZlcnRpY2FsbHlBcHBsaWVkAAABUm90YXRpb24AAAAAAAAAAAABWk9yZGVyAAAAAAAAgFFAA0JvcmRlckNvbG9yAFUAAAAQQQD/AAAAEFIA/wAAABBHAP8AAAAQQgD/AAAAAVNjQQAAAAAAAADwPwFTY1IAAAAAAAAA8D8BU2NHAAAAAAAAAPA/AVNjQgAAAAAAAADwPwAQQm9yZGVyVGhlbWVDb2xvcgAAAAAAAUJvcmRlclRpbnRBbmRTaGFkZQAAAAAAAAAAABBCb3JkZXJTY2hlbWVDb2xvcgAAAAAAAUJvcmRlclRoaWNrbmVzcwAAAAAAAADw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CYXJTdHlsZURhdGEAJgAAAAJCYXJTdHlsZVNoYXBlVHlwZQAKAAAAUmVjdGFuZ2xlAAADTGFiZWwAsgYAAAVNYW5hZ2VkSWQAEAAAAAR8ofLV4OMHR4T4VFuyp/tkCEhhc0NoYW5nZXMAAAhVc2VOYW1lSW5zdGVhZE9mVGFnQXNJZAAACFNoYXBlUHJldmlvdXNseUNyZWF0ZWQAAQNGaWxsQ29sb3IAVQAAABBBAP8AAAAQUgD/AAAAEEcAzAAAABBCAAAAAAABU2NBAAAAAAAAAPA/AVNjUgAAAAAAAADwPwFTY0cAAAAAwI1S4z8BU2NCAAAAAAAAAAAA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QADgAAAElubWF0aW9uIERvbmUAAlRleHRIb3Jpem9udGFsQWxpZ25tZW50AA4AAABtc29BbmNob3JOb25lAAJQYXJhZ3JhcGhBbGlnbm1lbnQADwAAAG1zb0FsaWduQ2VudGVyAAJUZXh0VmVydGljYWxBbGlnbm1lbnQAEAAAAG1zb0FuY2hvck1pZGRsZQADRm9udFN0eWxlAEABAAAQRm9udEJhY2tncm91bmQAAAAAAAhGb250Qm9sZAAAA0ZvbnRDb2xvcgBVAAAAEEEA/wAAABBSABAAAAAQRwA4AAAAEEIATwAAAAFTY0EAAAAAAAAA8D8BU2NSAAAAAOA2OXU/AVNjRwAAAACAZz+kPwFTY0IAAAAAYBcEtD8AEEZvbnRUaGVtZUNvbG9yAAAAAAABRm9udFRpbnRBbmRTaGFkZQAAAAAAAAAAABBGb250U2NoZW1lQ29sb3IAAAAAAAhGb250SXRhbGljAAACRm9udE5hbWUABgAAAEFyaWFsAAFGb250U2l6ZQAAAAAAAAAgQAhGb250U3RyaeUAAAAF5AAAAOYAAADnDwAAAAAAAAAAAABrZXRocm91Z2gAAAhGb250U3Vic2NyaXB0AAAIRm9udFN1cGVyc2NyaXB0AAAIRm9udFVuZGVybGluZQAAAAhTaXplVG9UZXh0V2lkdGgAAAhTaXplVG9UZXh0SGVpZ2h0AAADVGV4dE1hcmdpbgA/AAAAAUxlZnQAAAAAAAAAAAABVG9wAAAAAAAAAAAAAVJpZ2h0AAAAAAAAAAAAAUJvdHRvbQAAAAAAAAAAAAACRGlzcGxheVRleHQADgAAAElubWF0aW9uIERvbmUAAUhlaWdodAAAAAAAFlwjQAFXaWR0aAAAAACAsURKQAFUb3AAAAAAQHjPdUABTGVmdAAAAABgo21iQAhGbGlwSG9yaXpvbnRhbGx5AAAIRmxpcEhvcml6b250YWxseUFwcGxpZWQAAAhGbGlwVmVydGljYWxseQAACEZsaXBWZXJ0aWNhbGx5QXBwbGllZAAAAVJvdGF0aW9uAAAAAAAAAAAAAVpPcmRlcgAAAAAAAABS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Q29ubmVjdG9yTGluZURhdGEA4QYAAANTdGFydAAbAAAAAVgAAAAAIOxYYEABWQAAAAAgHbx1QAADRW5kABsAAAABWAAAAAAg7FhgQAFZAAAAACAdvHVAAAJTdGFydEFycm93SGVhZAARAAAAbXNvQXJyb3doZWFkTm9uZQACRW5kQXJyb3dIZWFkABEAAABtc29BcnJvd2hlYWROb25lAAVNYW5hZ2VkSWQAEAAAAATdsQ3GzBdwTKLQM5RTiLp2CEhhc0NoYW5nZXMAAAhVc2VOYW1lSW5zdGVhZE9mVGFnQXNJZAAACFNoYXBlUHJldmlvdXNseUNyZWF0ZWQAAA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A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AAAAAAABVG9wAAAAACAdvHVAAUxlZnQAAAAAIOxYYEAIRmxpcEhvcml6b250YWxseQAACEZsaXBIb3Jpem9udGFsbHlBcHBsaWVkAAAIRmxpcFZlcnRpY2FsbHkAAAhGbGlwVmVydGljYWxseUFwcGxpZWQAAAFSb3RhdGlvbgAAAAAAAAAAAAFaT3JkZXIAAAAAAADAUUADQm9yZGVyQ29sb3IAVQAAABBBAP8AAAAQUgD/AAAAEEcAzAAAABBCAAAAAAABU2NBAAAAAAAAAPA/AVNjUgAAAAAAAADwPwFTY0cAAAAAwI1S4z8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AlFbmRUaW1lAAC/CT2PAQAAEEluZGV4AAMAAAACRGVzY3JpcHRpb24ADgAAAElubWF0aW9uIERvbmUAAk5hbWUABQAAAFRhc2sACElzTGVhZGVyTGluZUluQXV0b01vZGUAAQlTdGFydFRpbWUAAP+j6o4BAAAAAAJOYW1lAAkAAABTcHJpbnQgMQAISXNIaWdobGlnaHRlZAAACElzU2VwYXJhdG9yTGluZVZpc2libGUAAQNTdHlsZQB0BAAAAURlZmF1bHRGb250U2l6ZQAAAAAAAAAkQAFGb250U2l6ZQAAAAAAAAAkQANGb250Q29sb3IAVQAAABBBAP8AAAAQUgAQAAAAEEcAOAAAABBCAE8AAAABU2NBAAAAAAAAAPA/AVNjUgAAAADgNjl1PwFTY0cAAAAAgGc/pD8BU2NCAAAAAGAXBLQ/ABBGb250VGhlbWVDb2xvcgAAAAAAEEZvbnRTY2hlbWVDb2xvcgAAAAAAAUZvbnRUaW50QW5kU2hhZGUAAAAAAAAAAAADUGF0dGVybkNvbG9yAFUAAAAQQQAAAAAAEFIAAAAAABBHAAAAAAAQQgAAAAAAAVNjQQAAAAAAAAAAAAFTY1IAAAAAAAAAAAABU2NHAAAAAAAAAAAAAVNjQgAAAAAAAAAAAAAQUGF0dGVyblRoZW1lQ29sb3IAAAAAAAFQYXR0ZXJuVGludEFuZFNoYWRlAAAAAAAAAAAAA0RhdGFTdHlsZUZvbnRDb2xvclZhbHVlAFUAAAAQQQD/AAAAEFIAEAAAABBHADgAAAAQQgBPAAAAAVNjQQAAAAAAAADwPwFTY1IAAAAA4DY5dT8BU2NHAAAAAIBnP6Q/AVNjQgAAAABgFwS0PwAIRGF0YVN0eWxlRm9udENvbG9ySGFzVmFsdWUAAQFIZWlnaHQAAAAAAAAAAAACRGFzaFN0eWxlAA0AAABtc29MaW5lU29saWQACEhhc1dpc2hGaWxsQ29sb3IAAQNGaWxsQ29sb3IAVQAAABBBAAAAAAAQUgD/AAAAEEcA/wAAABBCAP8AAAABU2NBAAAAAAAAAAAAAVNjUgAAAAAAAADwPwFTY0cAAAAAAAAA8D8BU2NCAAAAAAAAAPA/ABBGaWxsU2NoZW1lQ29sb3IAAAAAABBGaWxsVGhlbWVDb2xvcgAAAAAAAUZpbGxUaW50QW5kU2hhZGUAAAAAAAAAAAADQm9yZGVyQ29sb3IAVQAAABBBAP8AAAAQUgDjAAAAEEcA4wAAABBCAOMAAAABU2NBAAAAAAAAAPA/AVNjUgAAAADAsZToPwFTY0cAAAAAwLGU6D8BU2NCAAAAAMCxlOg/ABBCb3JkZXJUaGVtZUNvbG9yAAAAAAABQm9yZGVyVGludEFuZFNoYWRlAAAAAAAAAAAACElzRmlsbGVkAAECUGF0dGVybgAQAAAAbXNvUGF0dGVybk1peGVkAAJTaGFwZVR5cGUADgAAAG1zb1NoYXBlTWl4ZWQAA0xhYmVsT2Zmc2V0AEIAAAABWAAAAAAAAAAAAAFZAAAAAAAAAAAAAUxlbmd0aAAAAAAAAAAAAAFMZW5ndGhTcXVhcmVkAAAAAAAAAAAAAAFCb3JkZXJUaGlja25lc3MAAAAAAAAA8D8ISXNGb250Qm9sZAAACElzRm9udEl0YWxpYwAACElzRm9udFVuZGVybGluZWQAAAhMYWJlbEhhc0JhY2tncm91bmQAAAJUZXh0QWxpZ25tZW50AAUAAABMZWZ0AAABUm93VG9wAEnl6h6/VHVAAVJvd0hlaWdodABuNSoyLQU5QANMZWZ0Tm90ZXMAxwQAAANUZXh0U3R5bGUAWwQAAAFEZWZhdWx0Rm9udFNpemUAAAAAAAAAJEABRm9udFNpemUAAAAAAAAAJEADRm9udENvbG9yAFUAAAAQQQD/AAAAEFIAEAAAABDmAAAABeUAAADnAAAA5w8AAAAAAAAAAAAARwA4AAAAEEIATwAAAAFTY0EAAAAAAAAA8D8BU2NSAAAAAOA2OXU/AVNjRwAAAACAZz+kPwFTY0IAAAAAYBcEtD8AEEZvbnRUaGVtZUNvbG9yAAAAAAAQRm9udFNjaGVtZUNvbG9yAAAAAAABRm9udFRpbnRBbmRTaGFkZQAAAAAAAAAAAANQYXR0ZXJuQ29sb3IAVQAAABBBAAAAAAAQUgAAAAAAEEcAAAAAABBCAAAAAAABU2NBAAAAAAAAAAAAAVNjUgAAAAAAAAAAAAFTY0cAAAAAAAAAAAABU2NCAAAAAAAAAAAAABBQYXR0ZXJuVGhlbWVDb2xvcgAAAAAAAVBhdHRlcm5UaW50QW5kU2hhZGUAAAAAAAAAAAADRGF0YVN0eWxlRm9udENvbG9yVmFsdWUAVQAAABBBAP8AAAAQUgAQAAAAEEcAOAAAABBCAE8AAAABU2NBAAAAAAAAAPA/AVNjUgAAAADgNjl1PwFTY0cAAAAAgGc/pD8BU2NCAAAAAGAXBLQ/AAhEYXRhU3R5bGVGb250Q29sb3JIYXNWYWx1ZQABAUhlaWdodAAAAAAAAAAAAAJEYXNoU3R5bGUADQAAAG1zb0xpbmVTb2xpZAAISGFzV2lzaEZpbGxDb2xvcgAAA0ZpbGxDb2xvcgBVAAAAEEEA/wAAABBSAAAAAAAQRwAAAAAAEEIAAAAAAAFTY0EAAAAAAAAA8D8BU2NSAAAAAAAAAAAAAVNjRwAAAAAAAAAAAAFTY0IAAAAAAAAAAAAAEEZpbGxTY2hlbWVDb2xvcgAAAAAAEEZpbGxUaGVtZUNvbG9yAAAAAAABRmlsbFRpbnRBbmRTaGFkZQAAAAAAAAAAAANCb3JkZXJDb2xvcgBVAAAAEEEAAAAAABBSAAAAAAAQRwAAAAAAEEIAAAAAAAFTY0EAAAAAAAAAAAABU2NSAAAAAAAAAAAAAVNjRwAAAAAAAAAAAAFTY0IAAAAAAAAAAAAAEEJvcmRlclRoZW1lQ29sb3IAAAAAAAFCb3JkZXJUaW50QW5kU2hhZGUAAAAAAAAAAAAISXNGaWxsZWQAAQJQYXR0ZXJuABAAAABtc29QYXR0ZXJuTWl4ZWQAAlNoYXBlVHlwZQAOAAAAbXNvU2hhcGVNaXhlZAADTGFiZWxPZmZzZXQAQgAAAAFYAAAAAAAAAAAAAVkAAAAAAAAAAAABTGVuZ3RoAAAAAAAAAAAAAUxlbmd0aFNxdWFyZWQAAAAAAAAAAAAACElzRm9udEJvbGQAAAhJc0ZvbnRJdGFsaWMAAAhJc0ZvbnRVbmRlcmxpbmVkAAAITGFiZWxIYXNCYWNrZ3JvdW5kAAACVGV4dEFsaWdubWVudAAFAAAATGVmdAAACEhhcnZleUJhbGxWaXNpYmxlAAEQSGFydmV5QmFsbFZhbHVlAAAAAAACQ2hlY2tCb3hTdGF0ZQAFAAAATm9uZQACVHJhZmZpY0xpZ2h0U3RhdGUABAAAAE9mZgAAA1JpZ2h0Tm90ZXMAxwQAAANUZXh0U3R5bGUAWwQAAAFEZWZhdWx0Rm9udFNpemUAAAAAAAAAJEABRm9udFNpemUAAAAAAAAAJEADRm9udENvbG9yAFUAAAAQQQD/AAAAEFIAEAAAABBHADgAAAAQQgBPAAAAAVNjQQAAAAAAAADwPwFTY1IAAAAA4DY5dT8BU2NHAAAAAIBnP6Q/AVNjQgAAAABgFwS0PwAQRm9udFRoZW1lQ29sb3IAAAAAABBGb250U2NoZW1lQ29sb3IAAAAAAAFGb250VGludEFuZFNoYWRlAAAAAAAAAAAAA1BhdHRlcm5Db2xvcgBVAAAAEEEAAAAAABBSAAAAAAAQRwAAAAAAEEIAAAAAAAFTY0EAAAAAAAAAAAABU2NSAAAAAAAAAAAAAVNjRwAAAAAAAAAAAAFTY0IAAAAAAAAAAAAAEFBhdHRlcm5UaGVtZUNvbG9yAAAAAAABUGF0dGVyblRpbnRBbmRTaGFkZQAAAAAAAAAAAANEYXRhU3R5bGVGb250Q29sb3JWYWx1ZQBVAAAAEEEA/wAAABBSABAAAAAQRwA4AAAAEEIATwAAAAFTY0EAAAAAAAAA8D8BU2NSAAAAAOA2OXU/AVNjRwAAAACAZz+kPwFTY0IAAAAAYBcEtD8ACERhdGFTdHlsZUZvbnRDb2xvckhhc1ZhbHVlAAEBSGVpZ2h0AAAAAAAAAAAAAkRhc2hTdHlsZQANAAAAbXNvTGluZVNvbGlkAAhIYXNXaXNoRmlsbENvbG9yAAADRmlsbENvbG9yAFUAAAAQQQD/AAAAEFIAAAAAABBHAAAAAAAQQgAAAAAAAVNjQQAAAAAAAADwPwFTY1IAAAAAAAAAAAABU2NHAAAAAAAAAAAAAVNjQgAAAAAAAAAAAAAQRmlsbFNjaGVtZUNvbG9yAAAAAAAQRmlsbFRoZW1lQ29sb3IAAAAAAAFGaWxsVGludEFuZFNoYWRlAAAAAAAAAAAAA0JvcmRlckNvbG9yAFUAAAAQQQAAAAAAEFIAAAAAABBHAAAAAAAQQgAAAAAAAVNjQQAAAAAAAAAAAAFTY1IAAAAAAAAAAAABU2NHAAAAAAAAAAAAAVNjQgAAAAAAAAAAAAAQQm9yZGVyVGhlbWVDb2xvcgAAAAAAAUJvcmRlclRpbnRBbmRTaGFkZQAAAAAAAAAAAAhJc0ZpbGxlZAABAlBhdHRlcm4AEAAAAG1zb1BhdHRlcm5NaXhlZAACU2hhcGVUeXBlAA4AAABtc29TaGFwZU1peGVkAANMYWJlbE9mZnNldABCAAAAAVgAAAAAAAAAAAABWQAAAAAAAAAAAAFMZW5ndGgAAAAAAAAAAAABTGVuZ3RoU3F1YXJlZAAAAAAAAAAAAAAISXNGb250Qm9sZAAACElzRm9udEl0YWxpYwAACElzRm9udFVuZGVybGluZWQAAAhMYWJlbEhhc0JhY2tncm91bmQAAAJUZXh0QWxpZ25tZW50AAUAAABMZWZ0AAAISGFydmV5QmFsbFZpc2libGUAARBIYXJ2ZXlCYWxsVmFsdWUAAAAAAAJDaGVja0JveFN0YXRlAAUAAABOb25lAAJUcmFmZmljTGlnaHRTdGF0ZQAEAAAAT2ZmAAADTGVmdE5vdGVzUmVuZGVySW5mbwBhFAAAA0xhYmVsAHQGAAAFTWFuYWdlZElkABAAAAAEKVU3DfT7nEyX+qglmXUY1whIYXNDaGFuZ2VzAAEIVXNlTmFtZUluc3RlYWRPZlRhZ0FzSWQAAAhTaGFwZVByZXZpb3VzbHlDcmVhdGVkAAA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AJGaWxsUGF0dGVybgAQAAAAbXNvUGF0dGVybk1peGVkAAJUZXh0AAEAAAA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JEaXNwbGF5VGV4dAABAAAAAAFIZWlnaHQAAAAAAAAA8D8BV2lkdGgAAAAAAAAA8D8BVG9wAAAAAACMlnFAAUxlZnQAAAAAQGX2jU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NlcGFyYXRvckxpbmUA4QYAAANT5wAAAAXmAAAA6AAAAOcPAAAAAAAAAAAAAHRhcnQAGwAAAAFYAM3MzBYy841AAVkAAAAAABLddkAAA0VuZAAbAAAAAVgAMzMzfZj5jUABWQAAAAAAEt12QAACU3RhcnRBcnJvd0hlYWQAEQAAAG1zb0Fycm93aGVhZE5vbmUAAkVuZEFycm93SGVhZAARAAAAbXNvQXJyb3doZWFkTm9uZQAFTWFuYWdlZElkABAAAAAEc4GmnDwEFkm8i3ogCi3vSghIYXNDaGFuZ2VzAAEIVXNlTmFtZUluc3RlYWRPZlRhZ0FzSWQAAAhTaGFwZVByZXZpb3VzbHlDcmVhdGVkAAA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AAAAAAAAVdpZHRoAAAAAKCZmek/AVRvcAAAAAAAEt12QAFMZWZ0AAAAACAy841ACEZsaXBIb3Jpem9udGFsbHkAAAhGbGlwSG9yaXpvbnRhbGx5QXBwbGllZAAACEZsaXBWZXJ0aWNhbGx5AAAIRmxpcFZlcnRpY2FsbHlBcHBsaWVkAAABUm90YXRpb24AAAAAAAAAAAABWk9yZGVyAAAAAAAAgFVAA0JvcmRlckNvbG9yAFUAAAAQQQD/AAAAEFIA4wAAABBHAOMAAAAQQgDjAAAAAVNjQQAAAAAAAADwPwFTY1IAAAAAwLGU6D8BU2NHAAAAAMCxlOg/AVNjQgAAAADAsZToPwAQQm9yZGVyVGhlbWVDb2xvcgAAAAAAAUJvcmRlclRpbnRBbmRTaGFkZQAAAAAAAAAAABBCb3JkZXJTY2hlbWVDb2xvcgAAAAAAAUJvcmRlclRoaWNrbmVzcwAAAAAAAADw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SZWN0YW5nbGUAdAYAAAJBdXRvU2hhcGVUeXBlAAoAAABSZWN0YW5nbGUABU1hbmFnZWRJZAAQAAAABI471TK+U+tHianR+mPa7uQISGFzQ2hhbmdlcwABCFVzZU5hbWVJbnN0ZWFkT2ZUYWdBc0lkAAAIU2hhcGVQcmV2aW91c2x5Q3JlYXRlZAAAA0ZpbGxDb2xvcgBVAAAAEEEAAAAAABBSAP8AAAAQRwD/AAAAEEIA/wAAAAFTY0EAAAAAAAAAAAABU2NSAAAAAAAAAPA/AVNjRwAAAAAAAADwPwFTY0IAAAAAAAAA8D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A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BALQU4QAFXaWR0aAAAAAAAAAAAAAFUb3AAAAAAIL9cdUABTGVmdAAAAABAZe6NQAhGbGlwSG9yaXpvbnRhbGx5AAAIRmxpcEhvcml6b250YWxseUFwcGxpZWQAAAhGbGlwVmVydGljYWxseQAACEZsaXBWZXJ0aWNhbGx5QXBwbGllZAAAAVJvdGF0aW9uAAAAAAAAAAAAAVpPcmRlcgAAAAAAAEBV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EVHJhZmZpY0xpZ2h0RGF0YQAFAAAAAARIYXJ2ZXlCYWxsRGF0YQAFAAAAAAJUcmFmZmljTGlnaHRTdGF0ZQAEAAAAT2ZmAARDaGVja0JveERhdGEABQAAAAACQ2hlY2tCb3hTdGF0ZQAFAAAATm9uZQAAA1JpZ2h0Tm90ZXNSZW5kZXJJbmZvAGEUAAADTGFiZWwAdAYAAAVNYW5hZ2VkSWQAEAAAAARuEZb58PoORJeHncvWbOV7CEhhc0NoYW5nZXMAAQhVc2VOYW1lSW5zdGVhZE9mVGFnQXNJZAAACFNoYXBlUHJldmlvdXNseUNyZWF0ZWQAAA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AAkZpbGxQYXR0ZXJuABAAAABtc29QYXR0ZXJuTWl4ZWQAAlRleHQAAQAAAAACVGV4dEhvcml6b250YWxBbGlnbm1lbugAAAAF5wAAAO4AAADnDwAAAAAAAAAAAAB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JEaXNwbGF5VGV4dAABAAAAAAFIZWlnaHQAAAAAAAAA8D8BV2lkdGgAAAAAAAAA8D8BVG9wAAAAAACMlnFAAUxlZnQAAAAAQGX2jU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NlcGFyYXRvckxpbmUA4QYAAANTdGFydAAbAAAAAVgAzczMFjLzjUABWQAAAAAAEt12QAADRW5kABsAAAABWAAzMzN9mPmNQAFZAAAAAAAS3XZAAAJTdGFydEFycm93SGVhZAARAAAAbXNvQXJyb3doZWFkTm9uZQACRW5kQXJyb3dIZWFkABEAAABtc29BcnJvd2hlYWROb25lAAVNYW5hZ2VkSWQAEAAAAAQnuCZDQJpXTqH+XWJOcP+rCEhhc0NoYW5nZXMAAQhVc2VOYW1lSW5zdGVhZE9mVGFnQXNJZAAACFNoYXBlUHJldmlvdXNseUNyZWF0ZWQAAA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oJmZ6T8BVG9wAAAAAAAS3XZAAUxlZnQAAAAAIDLzjUAIRmxpcEhvcml6b250YWxseQAACEZsaXBIb3Jpem9udGFsbHlBcHBsaWVkAAAIRmxpcFZlcnRpY2FsbHkAAAhGbGlwVmVydGljYWxseUFwcGxpZWQAAAFSb3RhdGlvbgAAAAAAAAAAAAFaT3JkZXIAAAAAAACAVUADQm9yZGVyQ29sb3IAVQAAABBBAP8AAAAQUgDjAAAAEEcA4wAAABBCAOMAAAABU2NBAAAAAAAAAPA/AVNjUgAAAADAsZToPwFTY0cAAAAAwLGU6D8BU2NCAAAAAMCxlOg/ABBCb3JkZXJUaGVtZUNvbG9yAAAAAAABQm9yZGVyVGludEFuZFNoYWRlAAAAAAAAAAAAEEJvcmRlclNjaGVtZUNvbG9yAAAAAAABQm9yZGVyVGhpY2tuZXNzAAAAAAAAAPA/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JlY3RhbmdsZQB0BgAAAkF1dG9TaGFwZVR5cGUACgAAAFJlY3RhbmdsZQAFTWFuYWdlZElkABAAAAAE45TVEkeOiUqm3CX3xiW7RghIYXNDaGFuZ2VzAAEIVXNlTmFtZUluc3RlYWRPZlRhZ0FzSWQAAAhTaGFwZVByZXZpb3VzbHlDcmVhdGVkAAADRmlsbENvbG9yAFUAAAAQQQAAAAAAEFIA/wAAABBHAP8AAAAQQgD/AAAAAVNjQQAAAAAAAAAAAAFTY1IAAAAAAAAA8D8BU2NHAAAAAAAAAPA/AVNjQgAAAAAAAADwP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A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EAtBThAAVdpZHRoAAAAAAAAAAAAAVRvcAAAAAAgv1x1QAFMZWZ0AAAAAEBl7o1ACEZsaXBIb3Jpem9udGFsbHkAAAhGbGlwSG9yaXpvbnRhbGx5QXBwbGllZAAACEbpAAAABeMAAADqAAAA5w8AAAAAAAAAAAAAU3R5bGVGb250Q29sb3JWYWx1ZQBVAAAAEEEAAAAAABBSAAAAAAAQRwAAAAAAEEIAAAAAAAFTY0EAAAAAAAAAAAABU2NSAAAAAAAAAAAAAVNjRwAAAAAAAAAAAAFTY0IAAAAAAAAAAAAACERhdGFTdHlsZUZvbnRDb2xvckhhc1ZhbHVlAAABSGVpZ2h0AAAAAODdMihAAkRhc2hTdHlsZQANAAAAbXNvTGluZVNvbGlkAAhIYXNXaXNoRmlsbENvbG9yAAEDRmlsbENvbG9yAFUAAAAQQQD/AAAAEFIA/wAAABBHAMwAAAAQQgAAAAAAAVNjQQAAAAAAAADwPwFTY1IAAAAAAAAA8D8BU2NHAAAAAMCNUuM/AVNjQgAAAAAAAAAAAAAQRmlsbFNjaGVtZUNvbG9yAAAAAAAQRmlsbFRoZW1lQ29sb3IAAAAAAAFGaWxsVGludEFuZFNoYWRlAAAAAAAAAAAAA0JvcmRlckNvbG9yAFUAAAAQQQAAAAAAEFIAAAAAABBHAAAAAAAQQgAAAAAAAVNjQQAAAAAAAAAAAAFTY1IAAAAAAAAAAAABU2NHAAAAAAAAAAAAAVNjQgAAAAAAAAAAAAAQQm9yZGVyVGhlbWVDb2xvcgAAAAAAAUJvcmRlclRpbnRBbmRTaGFkZQAAAAAAAAAAAAhJc0ZpbGxlZAABAlBhdHRlcm4AEAAAAG1zb1BhdHRlcm5NaXhlZAACU2hhcGVUeXBlAA4AAABtc29TaGFwZU1peGVkAANMYWJlbE9mZnNldABCAAAAAVgAAAAAAAAAAAABWQAAAAAAAAAAAAFMZW5ndGgAAAAAAAAAAAABTGVuZ3RoU3F1YXJlZAAAAAAAAAAAAAAISXNGb250Qm9sZAAACElzRm9udEl0YWxpYwAACElzRm9udFVuZGVybGluZWQAAAhMYWJlbEhhc0JhY2tncm91bmQAAAJUZXh0QWxpZ25tZW50AAUAAABMZWZ0AAAIRGlzcGxheUxhYmVsAAEDUmVuZGVySW5mbwD1FgAAA1JlY3RhbmdsZUZyZWVmb3JtAPwIAAAEVmVydGljZXMAmwIAAAMwACwAAAAQSW5kZXgwAAAAAAAQSW5kZXgxAAAAAAABVmFsdWUAAAAAIOxYYEAAAzEALAAAABBJbmRleDAAAAAAABBJbmRleDEAAQAAAAFWYWx1ZQAAAAAgHbx1QAADMgAsAAAAEEluZGV4MAABAAAAEEluZGV4MQAAAAAAAVZhbHVlAAAAACDsWGBAAAMzACwAAAAQSW5kZXgwAAEAAAAQSW5kZXgxAAEAAAABVmFsdWUAAAAAoOgcdkAAAzQALAAAABBJbmRleDAAAgAAABBJbmRleDEAAAAAAAFWYWx1ZQAAAAAg7FhgQAADNQAsAAAAEEluZGV4MAACAAAAEEluZGV4MQABAAAAAVZhbHVlAAAAAAC0fXZAAAM2ACwAAAAQSW5kZXgwAAMAAAAQSW5kZXgxAAAAAAABVmFsdWUAAAAAAIcTa0AAAzcALAAAABBJbmRleDAAAwAAABBJbmRleDEAAQAAAAFWYWx1ZQAAAAAAtH12QAADOAAsAAAAEEluZGV4MAAEAAAAEEluZGV4MQAAAAAAAVZhbHVlAAAAAACHE2tAAAM5ACwAAAAQSW5kZXgwAAQAAAAQSW5kZXgxAAEAAAABVmFsdWUAAAAAoOgcdkAAAzEwACwAAAAQSW5kZXgwAAUAAAAQSW5kZXgxAAAAAAABVmFsdWUAAAAAAIcTa0AAAzExACwAAAAQSW5kZXgwAAUAAAAQSW5kZXgxAAEAAAABVmFsdWUAAAAAIB28dUAAAzEyACwAAAAQSW5kZXgwAAYAAAAQSW5kZXgxAAAAAAABVmFsdWUAAAAAIOxYYEAAAzEzACwAAAAQSW5kZXgwAAYAAAAQSW5kZXgxAAEAAAABVmFsdWUAAAAAIB28dUAAAAVNYW5hZ2VkSWQAEAAAAAT/u8MXJuFBTIsh31IKqeYKCEhhc0NoYW5nZXMAAAhVc2VOYW1lSW5zdGVhZE9mVGFnQXNJZAAACFNoYXBlUHJldmlvdXNseUNyZWF0ZWQAAANGaWxsQ29sb3IAVQAAABBBAP8AAAAQUgD/AAAAEEcAzAAAABBCAAAAAAABU2NBAAAAAAAAAPA/AVNjUgAAAAAAAADwPwFTY0cAAAAAwI1S4z8BU2NCAAAAAAAAAAAA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wN0yKEABV2lkdGgAAAAAwDV1VUABVG9wAAAAACAdvHVAAUxlZnQAAAAAIOxYYEAIRmxpcEhvcml6b250YWxseQAACEZsaXBIb3Jpem9udGFsbHlBcHBsaWVkAAAIRmxpcFZlcnRpY2FsbHkAAAhGbGlwVmVydGljYWxseUFwcGxpZWQAAAFSb3RhdGlvbgAAAAAAAAAAAAFaT3JkZXIAAAAAAACAUUADQm9yZGVyQ29sb3IAVQAAABBBAP8AAAAQUgD/AAAAEEcA/wAAABBCAP8AAAABU2NBAAAAAAAAAPA/AVNjUgAAAAAAAADwPwFTY0cAAAAAAAAA8D8BU2NCAAAAAAAAAPA/ABBCb3JkZXJUaGVtZUNvbG9yAAAAAAABQm9yZGVyVGludEFuZFNoYWRlAAAAAAAAAAAAEEJvcmRlclNjaGVtZUNvbG9yAAAAAAABQm9yZGVyVGhpY2tuZXNzAAAAAAAAAPA/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JhclN0eWxlRGF0YQAmAAAAAkJhclN0eWxlU2hhcGVUeXBlAAoAAABSZWN0YW5nbGUAAANMYWJlbACyBgAABU1hbmFnZWRJZAAQAAAABHyh8tXg4wdHhPhUW7Kn+2QISGFzQ2hhbmdlcwAACFVzZU5hbWVJbnN0ZWFkT2ZUYWdBc0lkAAAIU2hhcGVQcmV2aW91c2x5Q3JlYXRlZAABA0ZpbGxDb2xvcgBVAAAAEEEA/wAAABBSAP8AAAAQRwDMAAAAEEIAAAAAAAFTY0EAAAAAAAAA8D8BU2NSAAAAAAAAAPA/AVNjRwAAAADAjVLjPwFTY0IAAAAAAAAAAAA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AAOAAAASW5tYXRpb24gRG9uZQACVGV4dEhvcml6b250YWxBbGlnbm1lbnQADgAAAG1zb0FuY2hvck5vbmUAAlBhcmFncmFwaEFsaWdubWVudAAPAAAAbXNvQWxpZ25DZW50ZXIAAlRleHRWZXJ0aWNhbEFsaWdubWVudAAQAAAAbXNvQW5jaG9yTWlkZGxlAANGb250U3R5bGUAQAEAABBGb250QmFja2dyb3VuZAAAAAAACEZvbnRCb2xkAAADRm9udENvbG9yAFUAAAAQQQD/AAAAEFIAEAAAABBHADgAAAAQQgBPAAAAAVNjQQAAAAAAAADwPwFTY1IAAAAA4DY5dT8BU2NHAAAAAIBnP6Q/AVNjQgAAAABgFwS0PwAQRm9udFRoZW1lQ29sb3IAAAAAAAFGb250VGludEFuZFNoYWRlAAAAAAAAAAAAEEZvbnRTY2hlbWVDb2xvcgAAAAAACEZvbnRJdGFsaWMAAAJGb250TmFtZQAGAAAAQXJpYWwAAUZvbnRTaXplAAAAAAAAACBACEZvbnRTdHJpa2V0aHJvdWdoAAAIRm9udFN1YnNjcmlw6gAAAAXpAAAA6wAAAOcPAAAAAAAAAAAAAHQAAAhGb250U3VwZXJzY3JpcHQAAAhGb250VW5kZXJsaW5lAAAACFNpemVUb1RleHRXaWR0aAAACFNpemVUb1RleHRIZWlnaHQAAANUZXh0TWFyZ2luAD8AAAABTGVmdAAAAAAAAAAAAAFUb3AAAAAAAAAAAAABUmlnaHQAAAAAAAAAAAABQm90dG9tAAAAAAAAAAAAAAJEaXNwbGF5VGV4dAAOAAAASW5tYXRpb24gRG9uZQABSGVpZ2h0AAAAAAAWXCNAAVdpZHRoAAAAAICxREpAAVRvcAAAAABAeM91QAFMZWZ0AAAAAGCjbWJACEZsaXBIb3Jpem9udGFsbHkAAAhGbGlwSG9yaXpvbnRhbGx5QXBwbGllZAAACEZsaXBWZXJ0aWNhbGx5AAAIRmxpcFZlcnRpY2FsbHlBcHBsaWVkAAABUm90YXRpb24AAAAAAAAAAAABWk9yZGVyAAAAAAAAAFJ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Db25uZWN0b3JMaW5lRGF0YQDhBgAAA1N0YXJ0ABsAAAABWAAAAAAg7FhgQAFZAAAAACAdvHVAAANFbmQAGwAAAAFYAAAAACDsWGBAAVkAAAAAIB28dUAAAlN0YXJ0QXJyb3dIZWFkABEAAABtc29BcnJvd2hlYWROb25lAAJFbmRBcnJvd0hlYWQAEQAAAG1zb0Fycm93aGVhZE5vbmUABU1hbmFnZWRJZAAQAAAABN2xDcbMF3BMotAzlFOIunYISGFzQ2hhbmdlcwAACFVzZU5hbWVJbnN0ZWFkT2ZUYWdBc0lkAAAIU2hhcGVQcmV2aW91c2x5Q3JlYXRlZAAA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A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AAAAAAAAFUb3AAAAAAIB28dUABTGVmdAAAAAAg7FhgQAhGbGlwSG9yaXpvbnRhbGx5AAAIRmxpcEhvcml6b250YWxseUFwcGxpZWQAAAhGbGlwVmVydGljYWxseQAACEZsaXBWZXJ0aWNhbGx5QXBwbGllZAAAAVJvdGF0aW9uAAAAAAAAAAAAAVpPcmRlcgAAAAAAAMBRQANCb3JkZXJDb2xvcgBVAAAAEEEA/wAAABBSAP8AAAAQRwDMAAAAEEIAAAAAAAFTY0EAAAAAAAAA8D8BU2NSAAAAAAAAAPA/AVNjRwAAAADAjVLjPw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ACUVuZFRpbWUAAL8JPY8BAAAQSW5kZXgAAwAAAAJEZXNjcmlwdGlvbgAOAAAASW5tYXRpb24gRG9uZQACTmFtZQAFAAAAVGFzawAISXNMZWFkZXJMaW5lSW5BdXRvTW9kZQABCVN0YXJ0VGltZQAA/6PqjgEAAAAAAk5hbWUACQAAAFNwcmludCAxAAhJc0hpZ2hsaWdodGVkAAAISXNTZXBhcmF0b3JMaW5lVmlzaWJsZQABA1N0eWxlAHQEAAABRGVmYXVsdEZvbnRTaXplAAAAAAAAACRAAUZvbnRTaXplAAAAAAAAACRAA0ZvbnRDb2xvcgBVAAAAEEEA/wAAABBSABAAAAAQRwA4AAAAEEIATwAAAAFTY0EAAAAAAAAA8D8BU2NSAAAAAOA2OXU/AVNjRwAAAACAZz+kPwFTY0IAAAAAYBcEtD8AEEZvbnRUaGVtZUNvbG9yAAAAAAAQRm9udFNjaGVtZUNvbG9yAAAAAAABRm9udFRpbnRBbmRTaGFkZQAAAAAAAAAAAANQYXR0ZXJuQ29sb3IAVQAAABBBAAAAAAAQUgAAAAAAEEcAAAAAABBCAAAAAAABU2NBAAAAAAAAAAAAAVNjUgAAAAAAAAAAAAFTY0cAAAAAAAAAAAABU2NCAAAAAAAAAAAAABBQYXR0ZXJuVGhlbWVDb2xvcgAAAAAAAVBhdHRlcm5UaW50QW5kU2hhZGUAAAAAAAAAAAADRGF0YVN0eWxlRm9udENvbG9yVmFsdWUAVQAAABBBAP8AAAAQUgAQAAAAEEcAOAAAABBCAE8AAAABU2NBAAAAAAAAAPA/AVNjUgAAAADgNjl1PwFTY0cAAAAAgGc/pD8BU2NCAAAAAGAXBLQ/AAhEYXRhU3R5bGVGb250Q29sb3JIYXNWYWx1ZQABAUhlaWdodAAAAAAAAAAAAAJEYXNoU3R5bGUADQAAAG1zb0xpbmVTb2xpZAAISGFzV2lzaEZpbGxDb2xvcgABA0ZpbGxDb2xvcgBVAAAAEEEAAAAAABBSAP8AAAAQRwD/AAAAEEIA/wAAAAFTY0EAAAAAAAAAAAABU2NSAAAAAAAAAPA/AVNjRwAAAAAAAADwPwFTY0IAAAAAAAAA8D8AEEZpbGxTY2hlbWVDb2xvcgAAAAAAEEZpbGxUaGVtZUNvbG9yAAAAAAABRmlsbFRpbnRBbmRTaGFkZQAAAAAAAAAAAANCb3JkZXJDb2xvcgBVAAAAEEEA/wAAABBSAOMAAAAQRwDjAAAAEEIA4wAAAAFTY0EAAAAAAAAA8D8BU2NSAAAAAMCxlOg/AVNjRwAAAADAsZToPwFTY0IAAAAAwLGU6D8AEEJvcmRlclRoZW1lQ29sb3IAAAAAAAFCb3JkZXJUaW50QW5kU2hhZGUAAAAAAAAAAAAISXNGaWxsZWQAAQJQYXR0ZXJuABAAAABtc29QYXR0ZXJuTWl4ZWQAAlNoYXBlVHlwZQAOAAAAbXNvU2hhcGVNaXhlZAADTGFiZWxPZmZzZXQAQgAAAAFYAAAAAAAAAAAAAVkAAAAAAAAAAAABTGVuZ3RoAAAAAAAAAAAAAUxlbmd0aFNxdWFyZWQAAAAAAAAAAAAAAUJvcmRlclRoaWNrbmVzcwAAAAAAAADwPwhJc0ZvbnRCb2xkAAAISXNGb250SXRhbGljAAAISXNGb250VW5kZXJsaW5lZAAACExhYmVsSGFzQmFja2dyb3VuZAAAAlRleHRBbGlnbm1lbnQABQAAAExlZnQAAAFSb3dUb3AASeXqHr9UdUABUm93SGVpZ2h0AG41KjItBTlAA0xlZnROb3RlcwDHBAAAA1RleHRTdHlsZQBbBAAAAURlZmF1bHRGb250U2l6ZQAAAAAAAAAkQAFGb250U2l6ZQAAAAAAAAAkQANGb250Q29sb3IAVQAAABBBAP8AAAAQUgAQAAAAEEcAOAAAABBCAE8AAAABU2NBAAAAAAAAAOsAAAAF6gAAAOwAAADnDwAAAAAAAAAAAADwPwFTY1IAAAAA4DY5dT8BU2NHAAAAAIBnP6Q/AVNjQgAAAABgFwS0PwAQRm9udFRoZW1lQ29sb3IAAAAAABBGb250U2NoZW1lQ29sb3IAAAAAAAFGb250VGludEFuZFNoYWRlAAAAAAAAAAAAA1BhdHRlcm5Db2xvcgBVAAAAEEEAAAAAABBSAAAAAAAQRwAAAAAAEEIAAAAAAAFTY0EAAAAAAAAAAAABU2NSAAAAAAAAAAAAAVNjRwAAAAAAAAAAAAFTY0IAAAAAAAAAAAAAEFBhdHRlcm5UaGVtZUNvbG9yAAAAAAABUGF0dGVyblRpbnRBbmRTaGFkZQAAAAAAAAAAAANEYXRhU3R5bGVGb250Q29sb3JWYWx1ZQBVAAAAEEEA/wAAABBSABAAAAAQRwA4AAAAEEIATwAAAAFTY0EAAAAAAAAA8D8BU2NSAAAAAOA2OXU/AVNjRwAAAACAZz+kPwFTY0IAAAAAYBcEtD8ACERhdGFTdHlsZUZvbnRDb2xvckhhc1ZhbHVlAAEBSGVpZ2h0AAAAAAAAAAAAAkRhc2hTdHlsZQANAAAAbXNvTGluZVNvbGlkAAhIYXNXaXNoRmlsbENvbG9yAAADRmlsbENvbG9yAFUAAAAQQQD/AAAAEFIAAAAAABBHAAAAAAAQQgAAAAAAAVNjQQAAAAAAAADwPwFTY1IAAAAAAAAAAAABU2NHAAAAAAAAAAAAAVNjQgAAAAAAAAAAAAAQRmlsbFNjaGVtZUNvbG9yAAAAAAAQRmlsbFRoZW1lQ29sb3IAAAAAAAFGaWxsVGludEFuZFNoYWRlAAAAAAAAAAAAA0JvcmRlckNvbG9yAFUAAAAQQQAAAAAAEFIAAAAAABBHAAAAAAAQQgAAAAAAAVNjQQAAAAAAAAAAAAFTY1IAAAAAAAAAAAABU2NHAAAAAAAAAAAAAVNjQgAAAAAAAAAAAAAQQm9yZGVyVGhlbWVDb2xvcgAAAAAAAUJvcmRlclRpbnRBbmRTaGFkZQAAAAAAAAAAAAhJc0ZpbGxlZAABAlBhdHRlcm4AEAAAAG1zb1BhdHRlcm5NaXhlZAACU2hhcGVUeXBlAA4AAABtc29TaGFwZU1peGVkAANMYWJlbE9mZnNldABCAAAAAVgAAAAAAAAAAAABWQAAAAAAAAAAAAFMZW5ndGgAAAAAAAAAAAABTGVuZ3RoU3F1YXJlZAAAAAAAAAAAAAAISXNGb250Qm9sZAAACElzRm9udEl0YWxpYwAACElzRm9udFVuZGVybGluZWQAAAhMYWJlbEhhc0JhY2tncm91bmQAAAJUZXh0QWxpZ25tZW50AAUAAABMZWZ0AAAISGFydmV5QmFsbFZpc2libGUAARBIYXJ2ZXlCYWxsVmFsdWUAAAAAAAJDaGVja0JveFN0YXRlAAUAAABOb25lAAJUcmFmZmljTGlnaHRTdGF0ZQAEAAAAT2ZmAAADUmlnaHROb3RlcwDHBAAAA1RleHRTdHlsZQBbBAAAAURlZmF1bHRGb250U2l6ZQAAAAAAAAAkQAFGb250U2l6ZQAAAAAAAAAkQANGb250Q29sb3IAVQAAABBBAP8AAAAQUgAQAAAAEEcAOAAAABBCAE8AAAABU2NBAAAAAAAAAPA/AVNjUgAAAADgNjl1PwFTY0cAAAAAgGc/pD8BU2NCAAAAAGAXBLQ/ABBGb250VGhlbWVDb2xvcgAAAAAAEEZvbnRTY2hlbWVDb2xvcgAAAAAAAUZvbnRUaW50QW5kU2hhZGUAAAAAAAAAAAADUGF0dGVybkNvbG9yAFUAAAAQQQAAAAAAEFIAAAAAABBHAAAAAAAQQgAAAAAAAVNjQQAAAAAAAAAAAAFTY1IAAAAAAAAAAAABU2NHAAAAAAAAAAAAAVNjQgAAAAAAAAAAAAAQUGF0dGVyblRoZW1lQ29sb3IAAAAAAAFQYXR0ZXJuVGludEFuZFNoYWRlAAAAAAAAAAAAA0RhdGFTdHlsZUZvbnRDb2xvclZhbHVlAFUAAAAQQQD/AAAAEFIAEAAAABBHADgAAAAQQgBPAAAAAVNjQQAAAAAAAADwPwFTY1IAAAAA4DY5dT8BU2NHAAAAAIBnP6Q/AVNjQgAAAABgFwS0PwAIRGF0YVN0eWxlRm9udENvbG9ySGFzVmFsdWUAAQFIZWlnaHQAAAAAAAAAAAACRGFzaFN0eWxlAA0AAABtc29MaW5lU29saWQACEhhc1dpc2hGaWxsQ29sb3IAAANGaWxsQ29sb3IAVQAAABBBAP8AAAAQUgAAAAAAEEcAAAAAABBCAAAAAAABU2NBAAAAAAAAAPA/AVNjUgAAAAAAAAAAAAFTY0cAAAAAAAAAAAABU2NCAAAAAAAAAAAAABBGaWxsU2NoZW1lQ29sb3IAAAAAABBGaWxsVGhlbWVDb2xvcgAAAAAAAUZpbGxUaW50QW5kU2hhZGUAAAAAAAAAAAADQm9yZGVyQ29sb3IAVQAAABBBAAAAAAAQUgAAAAAAEEcAAAAAABBCAAAAAAABU2NBAAAAAAAAAAAAAVNjUgAAAAAAAAAAAAFTY0cAAAAAAAAAAAABU2NCAAAAAAAAAAAAABBCb3JkZXJUaGVtZUNvbG9yAAAAAAABQm9yZGVyVGludEFuZFNoYWRlAAAAAAAAAAAACElzRmlsbGVkAAECUGF0dGVybgAQAAAAbXNvUGF0dGVybk1peGVkAAJTaGFwZVR5cGUADgAAAG1zb1NoYXBlTWl4ZWQAA0xhYmVsT2Zmc2V0AEIAAAABWAAAAAAAAAAAAAFZAAAAAAAAAAAAAUxlbmd0aAAAAAAAAAAAAAFMZW5ndGhTcXVhcmVkAAAAAAAAAAAAAAhJc0ZvbnRCb2xkAAAISXNGb250SXRhbGljAAAISXNGb250VW5kZXJsaW5lZAAACExhYmVsSGFzQmFja2dyb3VuZAAAAlRleHRBbGlnbm1lbnQABQAAAExlZnQAAAhIYXJ2ZXlCYWxsVmlzaWJsZQABEEhhcnZleUJhbGxWYWx1ZQAAAAAAAkNoZWNrQm94U3RhdGUABQAAAE5vbmUAAlRyYWZmaWNMaWdodFN0YXRlAAQAAABPZmYAAANMZWZ0Tm90ZXNSZW5kZXJJbmZvAGEUAAADTGFiZWwAdAYAAAVNYW5hZ2VkSWQAEAAAAAQpVTcN9PucTJf6qCWZdRjXCEhhc0NoYW5nZXMAAQhVc2VOYW1lSW5zdGVhZE9mVGFnQXNJZAAACFNoYXBlUHJldmlvdXNseUNyZWF0ZWQAAA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AAkZpbGxQYXR0ZXJuABAAAABtc29QYXR0ZXJuTWl4ZWQAAlRleHQAAQAAA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kRpc3BsYXlUZXh0AAEAAAAAAUhlaWdodAAAAAAAAADwPwFXaWR0aAAAAAAAAADwPwFUb3AAAAAAAIyWcUABTGVmdAAAAABAZfaNQAhGbGlwSG9yaXpvbnRhbGx5AAAIRmxpcEhvcml6b250YWxseUFwcGxpZWQAAAhGbGlwVmVydGljYWxseQAACEZsaXBWZXJ0aWNhbGx5QXBwbGllZAAAAVJvdGF0aW9uAAAAAAAAAAAAAVpPcmRlcgAAAAAAAAAAA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2VwYXJhdG9yTGluZQDhBgAAA1N0YXJ0ABsAAAABWADNzMwWMvONQAFZAADsAAAABesAAADtAAAA5w8AAAAAAAAAAAAAAAAAEt12QAADRW5kABsAAAABWAAzMzN9mPmNQAFZAAAAAAAS3XZAAAJTdGFydEFycm93SGVhZAARAAAAbXNvQXJyb3doZWFkTm9uZQACRW5kQXJyb3dIZWFkABEAAABtc29BcnJvd2hlYWROb25lAAVNYW5hZ2VkSWQAEAAAAARzgaacPAQWSbyLeiAKLe9KCEhhc0NoYW5nZXMAAQhVc2VOYW1lSW5zdGVhZE9mVGFnQXNJZAAACFNoYXBlUHJldmlvdXNseUNyZWF0ZWQAAA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oJmZ6T8BVG9wAAAAAAAS3XZAAUxlZnQAAAAAIDLzjUAIRmxpcEhvcml6b250YWxseQAACEZsaXBIb3Jpem9udGFsbHlBcHBsaWVkAAAIRmxpcFZlcnRpY2FsbHkAAAhGbGlwVmVydGljYWxseUFwcGxpZWQAAAFSb3RhdGlvbgAAAAAAAAAAAAFaT3JkZXIAAAAAAACAVUADQm9yZGVyQ29sb3IAVQAAABBBAP8AAAAQUgDjAAAAEEcA4wAAABBCAOMAAAABU2NBAAAAAAAAAPA/AVNjUgAAAADAsZToPwFTY0cAAAAAwLGU6D8BU2NCAAAAAMCxlOg/ABBCb3JkZXJUaGVtZUNvbG9yAAAAAAABQm9yZGVyVGludEFuZFNoYWRlAAAAAAAAAAAAEEJvcmRlclNjaGVtZUNvbG9yAAAAAAABQm9yZGVyVGhpY2tuZXNzAAAAAAAAAPA/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JlY3RhbmdsZQB0BgAAAkF1dG9TaGFwZVR5cGUACgAAAFJlY3RhbmdsZQAFTWFuYWdlZElkABAAAAAEjjvVMr5T60eJqdH6Y9ru5AhIYXNDaGFuZ2VzAAEIVXNlTmFtZUluc3RlYWRPZlRhZ0FzSWQAAAhTaGFwZVByZXZpb3VzbHlDcmVhdGVkAAADRmlsbENvbG9yAFUAAAAQQQAAAAAAEFIA/wAAABBHAP8AAAAQQgD/AAAAAVNjQQAAAAAAAAAAAAFTY1IAAAAAAAAA8D8BU2NHAAAAAAAAAPA/AVNjQgAAAAAAAADwP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A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EAtBThAAVdpZHRoAAAAAAAAAAAAAVRvcAAAAAAgv1x1QAFMZWZ0AAAAAEBl7o1ACEZsaXBIb3Jpem9udGFsbHkAAAhGbGlwSG9yaXpvbnRhbGx5QXBwbGllZAAACEZsaXBWZXJ0aWNhbGx5AAAIRmxpcFZlcnRpY2FsbHlBcHBsaWVkAAABUm90YXRpb24AAAAAAAAAAAABWk9yZGVyAAAAAAAAQFV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RUcmFmZmljTGlnaHREYXRhAAUAAAAABEhhcnZleUJhbGxEYXRhAAUAAAAAAlRyYWZmaWNMaWdodFN0YXRlAAQAAABPZmYABENoZWNrQm94RGF0YQAFAAAAAAJDaGVja0JveFN0YXRlAAUAAABOb25lAAADUmlnaHROb3Rlc1JlbmRlckluZm8AYRQAAANMYWJlbAB0BgAABU1hbmFnZWRJZAAQAAAABG4Rlvnw+g5El4edy9Zs5XsISGFzQ2hhbmdlcwABCFVzZU5hbWVJbnN0ZWFkT2ZUYWdBc0lkAAAIU2hhcGVQcmV2aW91c2x5Q3JlYXRlZAAA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ACRmlsbFBhdHRlcm4AEAAAAG1zb1BhdHRlcm5NaXhlZAACVGV4dAABAAAAAAJUZXh0SG9yaXpvbnRhbEFsaWdubWVudAAOAAAAbXNvQW5jaG9yTm9uZQACUGFy7QAAAAXsAAAA8AAAAOcPAAAAAAAAAAAAAG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kRpc3BsYXlUZXh0AAEAAAAAAUhlaWdodAAAAAAAAADwPwFXaWR0aAAAAAAAAADwPwFUb3AAAAAAAIyWcUABTGVmdAAAAABAZfaNQAhGbGlwSG9yaXpvbnRhbGx5AAAIRmxpcEhvcml6b250YWxseUFwcGxpZWQAAAhGbGlwVmVydGljYWxseQAACEZsaXBWZXJ0aWNhbGx5QXBwbGllZAAAAVJvdGF0aW9uAAAAAAAAAAAAAVpPcmRlcgAAAAAAAAAAA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2VwYXJhdG9yTGluZQDhBgAAA1N0YXJ0ABsAAAABWADNzMwWMvONQAFZAAAAAAAS3XZAAANFbmQAGwAAAAFYADMzM32Y+Y1AAVkAAAAAABLddkAAAlN0YXJ0QXJyb3dIZWFkABEAAABtc29BcnJvd2hlYWROb25lAAJFbmRBcnJvd0hlYWQAEQAAAG1zb0Fycm93aGVhZE5vbmUABU1hbmFnZWRJZAAQAAAABCe4JkNAmldOof5dYk5w/6sISGFzQ2hhbmdlcwABCFVzZU5hbWVJbnN0ZWFkT2ZUYWdBc0lkAAAIU2hhcGVQcmV2aW91c2x5Q3JlYXRlZAAA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CgmZnpPwFUb3AAAAAAABLddkABTGVmdAAAAAAgMvONQAhGbGlwSG9yaXpvbnRhbGx5AAAIRmxpcEhvcml6b250YWxseUFwcGxpZWQAAAhGbGlwVmVydGljYWxseQAACEZsaXBWZXJ0aWNhbGx5QXBwbGllZAAAAVJvdGF0aW9uAAAAAAAAAAAAAVpPcmRlcgAAAAAAAIBVQANCb3JkZXJDb2xvcgBVAAAAEEEA/wAAABBSAOMAAAAQRwDjAAAAEEIA4wAAAAFTY0EAAAAAAAAA8D8BU2NSAAAAAMCxlOg/AVNjRwAAAADAsZToPwFTY0IAAAAAwLGU6D8AEEJvcmRlclRoZW1lQ29sb3IAAAAAAAFCb3JkZXJUaW50QW5kU2hhZGUAAAAAAAAAAAAQQm9yZGVyU2NoZW1lQ29sb3IAAAAAAAFCb3JkZXJUaGlja25lc3MAAAAAAAAA8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mVjdGFuZ2xlAHQGAAACQXV0b1NoYXBlVHlwZQAKAAAAUmVjdGFuZ2xlAAVNYW5hZ2VkSWQAEAAAAATjlNUSR46JSqbcJffGJbtGCEhhc0NoYW5nZXMAAQhVc2VOYW1lSW5zdGVhZE9mVGFnQXNJZAAACFNoYXBlUHJldmlvdXNseUNyZWF0ZWQAAANGaWxsQ29sb3IAVQAAABBBAAAAAAAQUgD/AAAAEEcA/wAAABBCAP8AAAABU2NBAAAAAAAAAAAAAVNjUgAAAAAAAADwPwFTY0cAAAAAAAAA8D8BU2NCAAAAAAAAAPA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A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QC0FOEABV2lkdGgAAAAAAAAAAAABVG9wAAAAACC/XHVAAUxlZnQAAAAAQGXujUAIRmxpcEhvcml6b250YWxseQAACEZsaXBIb3Jpem9udGFsbHlBcHBsaWVkAAAIRmxpcFZlcnRpY2FsbHkAAAhGbGlwVmVydO4AAAAF6AAAAO8AAADnDwAAAAAAAAAAAABsaXBWZXJ0aWNhbGx5AAAIRmxpcFZlcnRpY2FsbHlBcHBsaWVkAAABUm90YXRpb24AAAAAAAAAAAABWk9yZGVyAAAAAAAAQFV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RUcmFmZmljTGlnaHREYXRhAAUAAAAABEhhcnZleUJhbGxEYXRhAAUAAAAAAlRyYWZmaWNMaWdodFN0YXRlAAQAAABPZmYABENoZWNrQm94RGF0YQAFAAAAAAJDaGVja0JveFN0YXRlAAUAAABOb25lAAADTGVmdFNpZGVSZW5kZXJJbmZvACEUAAADTGFiZWwApgYAAAVNYW5hZ2VkSWQAEAAAAAS9Vhc7W+ADQ7oWn0efYIMaCEhhc0NoYW5nZXMAAAhVc2VOYW1lSW5zdGVhZE9mVGFnQXNJZAAACFNoYXBlUHJldmlvdXNseUNyZWF0ZWQAAQ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QACQAAAFNwcmludCAxAAJUZXh0SG9yaXpvbnRhbEFsaWdubWVudAAOAAAAbXNvQW5jaG9yTm9uZQACUGFyYWdyYXBoQWxpZ25tZW50AA0AAABtc29BbGlnbkxlZnQAAlRleHRWZXJ0aWNhbEFsaWdubWVudAAQAAAAbXNvQW5jaG9yTWlkZGxlAANGb250U3R5bGUAQAEAABBGb250QmFja2dyb3VuZAAAAAAACEZvbnRCb2xkAAADRm9udENvbG9yAFUAAAAQQQD/AAAAEFIAEAAAABBHADgAAAAQQgBPAAAAAVNjQQAAAAAAAADwPwFTY1IAAAAA4DY5dT8BU2NHAAAAAIBnP6Q/AVNjQgAAAABgFwS0PwAQRm9udFRoZW1lQ29sb3IAAAAAAAFGb250VGludEFuZFNoYWRlAAAAAAAAAAAAEEZvbnRTY2hlbWVDb2xvcgAAAAAACEZvbnRJdGFsaWMAAAJGb250TmFtZQAGAAAAQXJpYWwAAUZvbnRTaXplAAAAAAAAACRACEZvbnRTdHJpa2V0aHJvdWdoAAAIRm9udFN1YnNjcmlwdAAACEZvbnRTdXBlcnNjcmlwdAAACEZvbnRVbmRlcmxpbmUAAAAIU2l6ZVRvVGV4dFdpZHRoAAAIU2l6ZVRvVGV4dEhlaWdodAAAA1RleHRNYXJnaW4APwAAAAFMZWZ0AAAAAAAAAAAAAVRvcAAAAAAAAAAAAAFSaWdodAAAAAAAAAAAAAFCb3R0b20AAAAAAAAAAAAAAkRpc3BsYXlUZXh0AAkAAABTcHJpbnQgMQABSGVpZ2h0AAAAAGDfCydAAVdpZHRoAAAAAAB0ekNAAVRvcAAAAAAAucB1QAFMZWZ0AAAAAEBJXDdACEZsaXBIb3Jpem9udGFsbHkAAAhGbGlwSG9yaXpvbnRhbGx5QXBwbGllZAAACEZsaXBWZXJ0aWNhbGx5AAAIRmxpcFZlcnRpY2FsbHlBcHBsaWVkAAABUm90YXRpb24AAAAAAAAAAAABWk9yZGVyAAAAAAAAAD5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SZWN0YW5nbGUAdAYAAAJBdXRvU2hhcGVUeXBlAAoAAABSZWN0YW5nbGUABU1hbmFnZWRJZAAQAAAABIQPSW5spGVPjYJLfi8w7vwISGFzQ2hhbmdlcwAACFVzZU5hbWVJbnN0ZWFkT2ZUYWdBc0lkAAAIU2hhcGVQcmV2aW91c2x5Q3JlYXRlZAAAA0ZpbGxDb2xvcgBVAAAAEEEAAAAAABBSAP8AAAAQRwD/AAAAEEIA/wAAAAFTY0EAAAAAAAAAAAABU2NSAAAAAAAAAPA/AVNjRwAAAAAAAADwPwFTY0IAAAAAAAAA8D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A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BALQU4QAFXaWR0aAAAAAAAg9uNQAFUb3AAAAAAIL9cdUABTGVmdAAAAAAASuIKQAhGbGlwSG9yaXpvbnRhbGx5AAAIRmxpcEhvcml6b250YWxseUFwcGxpZWQAAAhGbGlwVmVydGljYWxseQAACEZsaXBWZXJ0aWNhbGx5QXBwbGllZAAAAVJvdGF0aW9uAAAAAAAAAAAAAVpPcmRlcgAAAAAAAAAm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2VwYXJhdG9yTGluZQDhBgAAA1N0YXJ0ABsAAAABWADNzMzMFq8HQAFZAKDvAAAABe4AAADyAAAA5w8AAAAAAAAAAAAAiA3yEd12QAADRW5kABsAAAABWAAzMzN9mPmNQAFZAKCIDfIR3XZAAAJTdGFydEFycm93SGVhZAARAAAAbXNvQXJyb3doZWFkTm9uZQACRW5kQXJyb3dIZWFkABEAAABtc29BcnJvd2hlYWROb25lAAVNYW5hZ2VkSWQAEAAAAAQXZCttFra2RIvC7ZWiC/3wCEhhc0NoYW5nZXMAAAhVc2VOYW1lSW5zdGVhZE9mVGFnQXNJZAAACFNoYXBlUHJldmlvdXNseUNyZWF0ZWQAAA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YOnhjUABVG9wAAAAAAAS3XZAAUxlZnQAAAAAwBavB0AIRmxpcEhvcml6b250YWxseQAACEZsaXBIb3Jpem9udGFsbHlBcHBsaWVkAAAIRmxpcFZlcnRpY2FsbHkAAAhGbGlwVmVydGljYWxseUFwcGxpZWQAAAFSb3RhdGlvbgAAAAAAAAAAAAFaT3JkZXIAAAAAAAAAKEADQm9yZGVyQ29sb3IAVQAAABBBAP8AAAAQUgDjAAAAEEcA4wAAABBCAOMAAAABU2NBAAAAAAAAAPA/AVNjUgAAAADAsZToPwFTY0cAAAAAwLGU6D8BU2NCAAAAAMCxlOg/ABBCb3JkZXJUaGVtZUNvbG9yAAAAAAABQm9yZGVyVGludEFuZFNoYWRlAAAAAAAAAAAAEEJvcmRlclNjaGVtZUNvbG9yAAAAAAABQm9yZGVyVGhpY2tuZXNzAAAAAAAAAPA/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AADMQBaggAAEF9pZAAKAAAABEl0ZW1zAKQ2AAADMABwHAAAAl90eXBlAEsAAABlbXBvd2VyLkNoYXJ0cy5EYXRhLkdhbnR0LkNocm9ub2xvZ3kuRGF0YS5CYXJUYXNrRGF0YSwgZW1wb3dlci5DaGFydHMuRGF0YQACTGFiZWxQb3NpdGlvbgAHAAAAQ2VudGVyAAhJc0xhYmVsSW5zaWRlQm91bmRzAAEDU3R5bGUAWwQAAAFEZWZhdWx0Rm9udFNpemUAAAAAAAAAJEABRm9udFNpemUAAAAAAAAAIEADRm9udENvbG9yAFUAAAAQQQD/AAAAEFIAEAAAABBHADgAAAAQQgBPAAAAAVNjQQAAAAAAAADwPwFTY1IAAAAA4DY5dT8BU2NHAAAAAIBnP6Q/AVNjQgAAAABgFwS0PwAQRm9udFRoZW1lQ29sb3IAAAAAABBGb250U2NoZW1lQ29sb3IAAAAAAAFGb250VGludEFuZFNoYWRlAAAAAAAAAAAAA1BhdHRlcm5Db2xvcgBVAAAAEEEAAAAAABBSAAAAAAAQRwAAAAAAEEIAAAAAAAFTY0EAAAAAAAAAAAABU2NSAAAAAAAAAAAAAVNjRwAAAAAAAAAAAAFTY0IAAAAAAAAAAAAAEFBhdHRlcm5UaGVtZUNvbG9yAAAAAAABUGF0dGVyblRpbnRBbmRTaGFkZQAAAAAAAAAAAANEYXRhU3R5bGVGb250Q29sb3JWYWx1ZQBVAAAAEEEAAAAAABBSAAAAAAAQRwAAAAAAEEIAAAAAAAFTY0EAAAAAAAAAAAABU2NSAAAAAAAAAAAAAVNjRwAAAAAAAAAAAAFTY0IAAAAAAAAAAAAACERhdGFTdHlsZUZvbnRDb2xvckhhc1ZhbHVlAAABSGVpZ2h0AAAAAODdMihAAkRhc2hTdHlsZQANAAAAbXNvTGluZVNvbGlkAAhIYXNXaXNoRmlsbENvbG9yAAADRmlsbENvbG9yAFUAAAAQQQD/AAAAEFIAmQAAABBHANMAAAAQQgDyAAAAAVNjQQAAAAAAAADwPwFTY1IAAAAAIBJj1D8BU2NHAAAAAKBQ2OQ/AVNjQgAAAADA3WnsPwAQRmlsbFNjaGVtZUNvbG9yAAAAAAAQRmlsbFRoZW1lQ29sb3IAAAAAAAFGaWxsVGludEFuZFNoYWRlAAAAAAAAAAAAA0JvcmRlckNvbG9yAFUAAAAQQQAAAAAAEFIAAAAAABBHAAAAAAAQQgAAAAAAAVNjQQAAAAAAAAAAAAFTY1IAAAAAAAAAAAABU2NHAAAAAAAAAAAAAVNjQgAAAAAAAAAAAAAQQm9yZGVyVGhlbWVDb2xvcgAAAAAAAUJvcmRlclRpbnRBbmRTaGFkZQAAAAAAAAAAAAhJc0ZpbGxlZAABAlBhdHRlcm4AEAAAAG1zb1BhdHRlcm5NaXhlZAACU2hhcGVUeXBlAA4AAABtc29TaGFwZU1peGVkAANMYWJlbE9mZnNldABCAAAAAVgAAAAAAAAAAAABWQAAAAAAAAAAAAFMZW5ndGgAAAAAAAAAAAABTGVuZ3RoU3F1YXJlZAAAAAAAAAAAAAAISXNGb250Qm9sZAAACElzRm9udEl0YWxpYwAACElzRm9udFVuZGVybGluZWQAAAhMYWJlbEhhc0JhY2tncm91bmQAAAJUZXh0QWxpZ25tZW50AAUAAABMZWZ0AAAIRGlzcGxheUxhYmVsAAEDUmVuZGVySW5mbwDzFgAAA1JlY3RhbmdsZUZyZWVmb3JtAPwIAAAEVmVydGljZXMAmwIAAAMwACwAAAAQSW5kZXgwAAAAAAAQSW5kZXgxAAAAAAABVmFsdWUAAAAAYM5gcEAAAzEALAAAABBJbmRleDAAAAAAABBJbmRleDEAAQAAAAFWYWx1ZQAAAADgb0x3QAADMgAsAAAAEEluZGV4MAABAAAAEEluZGV4MQAAAAAAAVZhbHVlAAAAAGDOYHBAAAMzACwAAAAQSW5kZXgwAAEAAAAQSW5kZXgxAAEAAAABVmFsdWUAAAAAYDutd0AAAzQALAAAABBJbmRleDAAAgAAABBJbmRleDEAAAAAAAFWYWx1ZQAAAABgzmBwQAADNQAsAAAAEEluZGV4MAACAAAAEEluZGV4MQABAAAAAVZhbHVlAAAAAMAGDnhAAAM2ACwAAAAQSW5kZXgwAAMAAAAQSW5kZXgxAAAAAAABVmFsdWUAAAAAAD0Bd0AAAzcALAAAABBJbmRleDAAAwAAABBJbmRleDEAAQAAAAFWYWx1ZQAAAADABg54QAADOAAsAAAAEEluZGV4MAAEAAAAEEluZGV4MQAAAAAAAVZhbHVlAAAAAAA9AXdAAAM5ACwAAAAQSW5kZXgwAAQAAAAQSW5kZXgxAAEAAAABVmFsdWUAAAAAYDutd0AAAzEwACwAAAAQSW5kZXgwAAUAAAAQSW5kZXgxAAAAAAABVmFsdWUAAAAAAD0Bd0AAAzExACwAAAAQSW5kZXgwAAUAAAAQSW5kZXgxAAEAAAABVmFsdWUAAAAA4G9Md0AAAzEyACwAAAAQSW5kZXgwAAYAAAAQSW5kZXgxAAAAAAABVmFsdWUAAAAAYM5gcEAAAzEzACwAAAAQSW5kZXgwAAYAAAAQSW5kZXgxAAEAAAABVmFsdWUAAAAA4G9Md0AAAAVNYW5hZ2VkSWQAEAAAAAQqrkLK+Rx9TrWWCEUm2Y/6CEhhc0NoYW5nZXMAAAhVc2VOYW1lSW5zdGVhZE9mVGFnQXNJZAAACFNoYXBlUHJldmlvdXNseUNyZWF0ZWQAAANGaWxsQ29sb3IAVQAAABBBAP8AAAAQUgCZAAAAEEcA0wAAABBCAPIAAAABU2NBAAAAAAAAAPA/AVNjUgAAAAAgEmPUPwFTY0cAAAAAoFDY5D8BU2NCAAAAAMDdaew/ABBGaWxsVGhlbWVDb2xvcgAAAAAAAUZpbGxUaW50QW5kU2hhZGUAAAAAAAAAAAAQRmlsbFNjaGVtZUNvbG9yAAAAAAADUGF0dGVybkNvbG9yAFUAAAAQQQAAAAAAEFIAAAAAABBHAAAAAAAQQgAAAAAAAVNjQQAAAAAAAAAA8AAAAAXtAAAA8QAAAOcPAAAAAAAAAAAAAGljYWxseUFwcGxpZWQAAAFSb3RhdGlvbgAAAAAAAAAAAAFaT3JkZXIAAAAAAABAVU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BFRyYWZmaWNMaWdodERhdGEABQAAAAAESGFydmV5QmFsbERhdGEABQAAAAACVHJhZmZpY0xpZ2h0U3RhdGUABAAAAE9mZgAEQ2hlY2tCb3hEYXRhAAUAAAAAAkNoZWNrQm94U3RhdGUABQAAAE5vbmUAAANMZWZ0U2lkZVJlbmRlckluZm8AIRQAAANMYWJlbACmBgAABU1hbmFnZWRJZAAQAAAABL1WFztb4ANDuhafR59ggxoISGFzQ2hhbmdlcwAACFVzZU5hbWVJbnN0ZWFkT2ZUYWdBc0lkAAAIU2hhcGVQcmV2aW91c2x5Q3JlYXRlZAAB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AAJAAAAU3ByaW50IDEAAlRleHRIb3Jpem9udGFsQWxpZ25tZW50AA4AAABtc29BbmNob3JOb25lAAJQYXJhZ3JhcGhBbGlnbm1lbnQADQAAAG1zb0FsaWduTGVmdAACVGV4dFZlcnRpY2FsQWxpZ25tZW50ABAAAABtc29BbmNob3JNaWRkbGUAA0ZvbnRTdHlsZQBAAQAAEEZvbnRCYWNrZ3JvdW5kAAAAAAAIRm9udEJvbGQAAANGb250Q29sb3IAVQAAABBBAP8AAAAQUgAQAAAAEEcAOAAAABBCAE8AAAABU2NBAAAAAAAAAPA/AVNjUgAAAADgNjl1PwFTY0cAAAAAgGc/pD8BU2NCAAAAAGAXBLQ/ABBGb250VGhlbWVDb2xvcgAAAAAAAUZvbnRUaW50QW5kU2hhZGUAAAAAAAAAAAAQRm9udFNjaGVtZUNvbG9yAAAAAAAIRm9udEl0YWxpYwAAAkZvbnROYW1lAAYAAABBcmlhbAABRm9udFNpemUAAAAAAAAAJEAIRm9udFN0cmlrZXRocm91Z2gAAAhGb250U3Vic2NyaXB0AAAIRm9udFN1cGVyc2NyaXB0AAAIRm9udFVuZGVybGluZQAAAAhTaXplVG9UZXh0V2lkdGgAAAhTaXplVG9UZXh0SGVpZ2h0AAADVGV4dE1hcmdpbgA/AAAAAUxlZnQAAAAAAAAAAAABVG9wAAAAAAAAAAAAAVJpZ2h0AAAAAAAAAAAAAUJvdHRvbQAAAAAAAAAAAAACRGlzcGxheVRleHQACQAAAFNwcmludCAxAAFIZWlnaHQAAAAAYN8LJ0ABV2lkdGgAAAAAAHR6Q0ABVG9wAAAAAAC5wHVAAUxlZnQAAAAAQElcN0AIRmxpcEhvcml6b250YWxseQAACEZsaXBIb3Jpem9udGFsbHlBcHBsaWVkAAAIRmxpcFZlcnRpY2FsbHkAAAhGbGlwVmVydGljYWxseUFwcGxpZWQAAAFSb3RhdGlvbgAAAAAAAAAAAAFaT3JkZXIAAAAAAAAAPk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JlY3RhbmdsZQB0BgAAAkF1dG9TaGFwZVR5cGUACgAAAFJlY3RhbmdsZQAFTWFuYWdlZElkABAAAAAEhA9JbmykZU+Ngkt+LzDu/AhIYXNDaGFuZ2VzAAAIVXNlTmFtZUluc3RlYWRPZlRhZ0FzSWQAAAhTaGFwZVByZXZpb3VzbHlDcmVhdGVkAAADRmlsbENvbG9yAFUAAAAQQQAAAAAAEFIA/wAAABBHAP8AAAAQQgD/AAAAAVNjQQAAAAAAAAAAAAFTY1IAAAAAAAAA8D8BU2NHAAAAAAAAAPA/AVNjQgAAAAAAAADwP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A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EAtBThAAVdpZHRoAAAAAACD241AAVRvcAAAAAAgv1x1QAFMZWZ0AAAAAABK4gpACEZsaXBIb3Jpem9udGFsbHkAAAhGbGlwSG9yaXpvbnRhbGx5QXBwbGllZAAACEZsaXBWZXJ0aWNhbGx5AAAIRmxpcFZlcnRpY2FsbHlBcHBsaWVkAAABUm90YXRpb24AAAAAAAAAAAABWk9yZGVyAAAAAAAAACZ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TZXBhcmF0b3JMaW5lAOEGAAADU3RhcnQAGwAAAAFYAM3MzMwWrwdAAVkAoIgN8hHddkAAA0VuZAAbAAAAAVgAMzMzffEAAAAF8AAAAPcAAADnDwAAAAAAAAAAAACY+Y1AAVkAoIgN8hHddkAAAlN0YXJ0QXJyb3dIZWFkABEAAABtc29BcnJvd2hlYWROb25lAAJFbmRBcnJvd0hlYWQAEQAAAG1zb0Fycm93aGVhZE5vbmUABU1hbmFnZWRJZAAQAAAABBdkK20WtrZEi8LtlaIL/fAISGFzQ2hhbmdlcwAACFVzZU5hbWVJbnN0ZWFkT2ZUYWdBc0lkAAAIU2hhcGVQcmV2aW91c2x5Q3JlYXRlZAAA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Bg6eGNQAFUb3AAAAAAABLddkABTGVmdAAAAADAFq8HQAhGbGlwSG9yaXpvbnRhbGx5AAAIRmxpcEhvcml6b250YWxseUFwcGxpZWQAAAhGbGlwVmVydGljYWxseQAACEZsaXBWZXJ0aWNhbGx5QXBwbGllZAAAAVJvdGF0aW9uAAAAAAAAAAAAAVpPcmRlcgAAAAAAAAAoQANCb3JkZXJDb2xvcgBVAAAAEEEA/wAAABBSAOMAAAAQRwDjAAAAEEIA4wAAAAFTY0EAAAAAAAAA8D8BU2NSAAAAAMCxlOg/AVNjRwAAAADAsZToPwFTY0IAAAAAwLGU6D8AEEJvcmRlclRoZW1lQ29sb3IAAAAAAAFCb3JkZXJUaW50QW5kU2hhZGUAAAAAAAAAAAAQQm9yZGVyU2NoZW1lQ29sb3IAAAAAAAFCb3JkZXJUaGlja25lc3MAAAAAAAAA8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AAAMxAFqCAAAQX2lkAAoAAAAESXRlbXMApDYAAAMwAHAcAAACX3R5cGUASwAAAGVtcG93ZXIuQ2hhcnRzLkRhdGEuR2FudHQuQ2hyb25vbG9neS5EYXRhLkJhclRhc2tEYXRhLCBlbXBvd2VyLkNoYXJ0cy5EYXRhAAJMYWJlbFBvc2l0aW9uAAcAAABDZW50ZXIACElzTGFiZWxJbnNpZGVCb3VuZHMAAQNTdHlsZQBbBAAAAURlZmF1bHRGb250U2l6ZQAAAAAAAAAkQAFGb250U2l6ZQAAAAAAAAAgQANGb250Q29sb3IAVQAAABBBAP8AAAAQUgAQAAAAEEcAOAAAABBCAE8AAAABU2NBAAAAAAAAAPA/AVNjUgAAAADgNjl1PwFTY0cAAAAAgGc/pD8BU2NCAAAAAGAXBLQ/ABBGb250VGhlbWVDb2xvcgAAAAAAEEZvbnRTY2hlbWVDb2xvcgAAAAAAAUZvbnRUaW50QW5kU2hhZGUAAAAAAAAAAAADUGF0dGVybkNvbG9yAFUAAAAQQQAAAAAAEFIAAAAAABBHAAAAAAAQQgAAAAAAAVNjQQAAAAAAAAAAAAFTY1IAAAAAAAAAAAABU2NHAAAAAAAAAAAAAVNjQgAAAAAAAAAAAAAQUGF0dGVyblRoZW1lQ29sb3IAAAAAAAFQYXR0ZXJuVGludEFuZFNoYWRlAAAAAAAAAAAAA0RhdGFTdHlsZUZvbnRDb2xvclZhbHVlAFUAAAAQQQAAAAAAEFIAAAAAABBHAAAAAAAQQgAAAAAAAVNjQQAAAAAAAAAAAAFTY1IAAAAAAAAAAAABU2NHAAAAAAAAAAAAAVNjQgAAAAAAAAAAAAAIRGF0YVN0eWxlRm9udENvbG9ySGFzVmFsdWUAAAFIZWlnaHQAAAAA4N0yKEACRGFzaFN0eWxlAA0AAABtc29MaW5lU29saWQACEhhc1dpc2hGaWxsQ29sb3IAAANGaWxsQ29sb3IAVQAAABBBAP8AAAAQUgCZAAAAEEcA0wAAABBCAPIAAAABU2NBAAAAAAAAAPA/AVNjUgAAAAAgEmPUPwFTY0cAAAAAoFDY5D8BU2NCAAAAAMDdaew/ABBGaWxsU2NoZW1lQ29sb3IAAAAAABBGaWxsVGhlbWVDb2xvcgAAAAAAAUZpbGxUaW50QW5kU2hhZGUAAAAAAAAAAAADQm9yZGVyQ29sb3IAVQAAABBBAAAAAAAQUgAAAAAAEEcAAAAAABBCAAAAAAABU2NBAAAAAAAAAAAAAVNjUgAAAAAAAAAAAAFTY0cAAAAAAAAAAAABU2NCAAAAAAAAAAAAABBCb3JkZXJUaGVtZUNvbG9yAAAAAAABQm9yZGVyVGludEFuZFNoYWRlAAAAAAAAAAAACElzRmlsbGVkAAECUGF0dGVybgAQAAAAbXNvUGF0dGVybk1peGVkAAJTaGFwZVR5cGUADgAAAG1zb1NoYXBlTWl4ZWQAA0xhYmVsT2Zmc2V0AEIAAAABWAAAAAAAAAAAAAFZAAAAAAAAAAAAAUxlbmd0aAAAAAAAAAAAAAFMZW5ndGhTcXVhcmVkAAAAAAAAAAAAAAhJc0ZvbnRCb2xkAAAISXNGb250SXRhbGljAAAISXNGb250VW5kZXJsaW5lZAAACExhYmVsSGFzQmFja2dyb3VuZAAAAlRleHRBbGlnbm1lbnQABQAAAExlZnQAAAhEaXNwbGF5TGFiZWwAAQNSZW5kZXJJbmZvAPMWAAADUmVjdGFuZ2xlRnJlZWZvcm0A/AgAAARWZXJ0aWNlcwCbAgAAAzAALAAAABBJbmRleDAAAAAAABBJbmRleDEAAAAAAAFWYWx1ZQAAAABgzmBwQAADMQAsAAAAEEluZGV4MAAAAAAAEEluZGV4MQABAAAAAVZhbHVlAAAAAOBvTHdAAAMyACwAAAAQSW5kZXgwAAEAAAAQSW5kZXgxAAAAAAABVmFsdWUAAAAAYM5gcEAAAzMALAAAABBJbmRleDAAAQAAABBJbmRleDEAAQAAAAFWYWx1ZQAAAABgO613QAADNAAsAAAAEEluZGV4MAACAAAAEEluZGV4MQAAAAAAAVZhbHVlAAAAAGDOYHBAAAM1ACwAAAAQSW5kZXgwAAIAAAAQSW5kZXgxAAEAAAABVmFsdWUAAAAAwAYOeEAAAzYALAAAABBJbmRleDAAAwAAABBJbmRleDEAAAAAAAFWYWx1ZQAAAAAAPQF3QAADNwAsAAAAEEluZGV4MAADAAAAEEluZGV4MQABAAAAAVZhbHVlAAAAAMAGDnhAAAM4ACwAAAAQSW5kZXgwAAQAAAAQSW5kZXgxAAAAAAABVmFsdWUAAAAAAD0Bd0AAAzkALAAAABBJbmRleDAABAAAABBJbmRleDEAAQAAAAFWYWx1ZQAAAABgO613QAADMTAALAAAABBJbmRleDAABQAAABBJbmRleDEAAAAAAAFWYWx1ZQAAAAAAPQF3QAADMTEALAAAABBJbmRleDAABQAAABBJbmRleDEAAQAAAAFWYWx1ZQAAAADgb0x3QAADMTIALAAAABBJbmRleDAABgAAABBJbmRleDEAAAAAAAFWYWx1ZQAAAABgzmBwQAADMTMALAAAABBJbmRleDAABgAAABBJbmRleDEAAQAAAAFWYWx1ZQAAAADgb0x3QAAABU1hbmFnZWRJZAAQAAAABCquQsr5HH1OtZYIRSbZj/oISGFzQ2hhbmdlcwAACFVzZU5hbWVJbnN0ZWFkT2ZUYWdBc0lkAAAIU2hhcGVQcmV2aW91c2x5Q3JlYXRlZAAAA0ZpbGxDb2xvcgBVAAAAEEEA/wAAABBSAJkAAAAQRwDTAAAAEEIA8gAAAAFTY0EAAAAAAAAA8D8BU2NSAAAAACASY9Q/AVNjRwAAAACgUNjkPwFTY0IAAAAAwN1p7D8AEEZpbGxUaGVtZUNvbG9yAAAAAAABRmlsbFRpbnRBbmRTaGFkZQAAAAAAAAAAABBGaWxsU2NoZW1lQ29sb3IAAAAAAANQYXR0ZXJuQ29sb3IAVQAAABBBAAAAAAAQUgAAAAAAEEcAAAAAABBCAAAAAAABU2NBAAAAAAAAAAAAAVNjUgAAAAAAAAAAAAFTY0cAAAAAAADyAAAABe8AAADzAAAA5w8AAAAAAAAAAAAAAAFTY1IAAAAAAAAAAAABU2NHAAAAAAAAAAAAAVNjQgAAAAAAAAAAAAAQUGF0dGVyblRoZW1lQ29sb3IAAAAAAAFQYXR0ZXJuVGludEFuZFNoYWRlAAAAAAAAAAAACEZpbGxWaXNpYmxlAAE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wN0yKEABV2lkdGgAAAAAwLqBWkABVG9wAAAAAOBvTHdAAUxlZnQAAAAAYM5gcEAIRmxpcEhvcml6b250YWxseQAACEZsaXBIb3Jpem9udGFsbHlBcHBsaWVkAAAIRmxpcFZlcnRpY2FsbHkAAAhGbGlwVmVydGljYWxseUFwcGxpZWQAAAFSb3RhdGlvbgAAAAAAAAAAAAFaT3JkZXIAAAAAAACAUUADQm9yZGVyQ29sb3IAVQAAABBBAP8AAAAQUgD/AAAAEEcA/wAAABBCAP8AAAABU2NBAAAAAAAAAPA/AVNjUgAAAAAAAADwPwFTY0cAAAAAAAAA8D8BU2NCAAAAAAAAAPA/ABBCb3JkZXJUaGVtZUNvbG9yAAAAAAABQm9yZGVyVGludEFuZFNoYWRlAAAAAAAAAAAAEEJvcmRlclNjaGVtZUNvbG9yAAAAAAABQm9yZGVyVGhpY2tuZXNzAAAAAAAAAPA/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JhclN0eWxlRGF0YQAmAAAAAkJhclN0eWxlU2hhcGVUeXBlAAoAAABSZWN0YW5nbGUAAANMYWJlbACwBgAABU1hbmFnZWRJZAAQAAAABGAgv1OnFThIkHy1YOziMVYISGFzQ2hhbmdlcwAACFVzZU5hbWVJbnN0ZWFkT2ZUYWdBc0lkAAAIU2hhcGVQcmV2aW91c2x5Q3JlYXRlZAABA0ZpbGxDb2xvcgBVAAAAEEEA/wAAABBSAJkAAAAQRwDTAAAAEEIA8gAAAAFTY0EAAAAAAAAA8D8BU2NSAAAAACASY9Q/AVNjRwAAAACgUNjkPwFTY0IAAAAAwN1p7D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AANAAAAQ29uZWN0aXZpZGFkAAJUZXh0SG9yaXpvbnRhbEFsaWdubWVudAAOAAAAbXNvQW5jaG9yTm9uZQACUGFyYWdyYXBoQWxpZ25tZW50AA8AAABtc29BbGlnbkNlbnRlcgACVGV4dFZlcnRpY2FsQWxpZ25tZW50ABAAAABtc29BbmNob3JNaWRkbGUAA0ZvbnRTdHlsZQBAAQAAEEZvbnRCYWNrZ3JvdW5kAAAAAAAIRm9udEJvbGQAAANGb250Q29sb3IAVQAAABBBAP8AAAAQUgAQAAAAEEcAOAAAABBCAE8AAAABU2NBAAAAAAAAAPA/AVNjUgAAAADgNjl1PwFTY0cAAAAAgGc/pD8BU2NCAAAAAGAXBLQ/ABBGb250VGhlbWVDb2xvcgAAAAAAAUZvbnRUaW50QW5kU2hhZGUAAAAAAAAAAAAQRm9udFNjaGVtZUNvbG9yAAAAAAAIRm9udEl0YWxpYwAAAkZvbnROYW1lAAYAAABBcmlhbAABRm9udFNpemUAAAAAAAAAIEAIRm9udFN0cmlrZXRocm91Z2gAAAhGb250U3Vic2NyaXB0AAAIRm9udFN1cGVyc2NyaXB0AAAIRm9udFVuZGVybGluZQAAAAhTaXplVG9UZXh0V2lkdGgAAAhTaXplVG9UZXh0SGVpZ2h0AAADVGV4dE1hcmdpbgA/AAAAAUxlZnQAAAAAAAAAAAABVG9wAAAAAAAAAAAAAVJpZ2h0AAAAAAAAAAAAAUJvdHRvbQAAAAAAAAAAAAACRGlzcGxheVRleHQADQAAAENvbmVjdGl2aWRhZAABSGVpZ2h0AAAAAAAWXCNAAVdpZHRoAAAAAEBtYEdAAVRvcAAAAAAAy193QAFMZWZ0AAAAAOD+OnJACEZsaXBIb3Jpem9udGFsbHkAAAhGbGlwSG9yaXpvbnRhbGx5QXBwbGllZAAACEZsaXBWZXJ0aWNhbGx5AAAIRmxpcFZlcnRpY2FsbHlBcHBsaWVkAAABUm90YXRpb24AAAAAAAAAAAABWk9yZGVyAAAAAAAAAFJ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Db25uZWN0b3JMaW5lRGF0YQDhBgAAA1N0YXJ0ABsAAAABWAAAAABgzmBwQAFZAAAAAOBvTHdAAANFbmQAGwAAAAFYAAAAAGDOYHBAAVkAAAAA4G9Md0AAAlN0YXJ0QXJyb3dIZWFkABEAAABtc29BcnJvd2hlYWROb25lAAJFbmRBcnJvd0hlYWQAEQAAAG1zb0Fycm93aGVhZE5vbmUABU1hbmFnZWRJZAAQAAAABMEg3P0OELtCtXVi6nNyJlQISGFzQ2hhbmdlcwAACFVzZU5hbWVJbnN0ZWFkT2ZUYWdBc0lkAAAIU2hhcGVQcmV2aW91c2x5Q3JlYXRlZAAA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A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8wAAAAXyAAAA9AAAAOcPAAAAAAAAAAAAAEZvbnRTdWJzY3JpcHQAAAhGb250U3VwZXJzY3JpcHQAAAhGb250VW5kZXJsaW5lAAAACFNpemVUb1RleHRXaWR0aAAACFNpemVUb1RleHRIZWlnaHQAAANUZXh0TWFyZ2luAD8AAAABTGVmdAAAAAAAAAAAAAFUb3AAAAAAAAAAAAABUmlnaHQAAAAAAAAAAAABQm90dG9tAAAAAAAAAAAAAAFIZWlnaHQAAAAAAAAAAAABV2lkdGgAAAAAAAAAAAABVG9wAAAAAOBvTHdAAUxlZnQAAAAAYM5gcEAIRmxpcEhvcml6b250YWxseQAACEZsaXBIb3Jpem9udGFsbHlBcHBsaWVkAAAIRmxpcFZlcnRpY2FsbHkAAAhGbGlwVmVydGljYWxseUFwcGxpZWQAAAFSb3RhdGlvbgAAAAAAAAAAAAFaT3JkZXIAAAAAAADAUUADQm9yZGVyQ29sb3IAVQAAABBBAP8AAAAQUgCZAAAAEEcA0wAAABBCAPIAAAABU2NBAAAAAAAAAPA/AVNjUgAAAAAgEmPUPwFTY0cAAAAAoFDY5D8BU2NCAAAAAMDdaew/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AlFbmRUaW1lAACHiNePAQAAEEluZGV4AAEAAAACRGVzY3JpcHRpb24ADQAAAENvbmVjdGl2aWRhZAACTmFtZQAFAAAAVGFzawAISXNMZWFkZXJMaW5lSW5BdXRvTW9kZQABCVN0YXJ0VGltZQAAV4lwjwEAAAADMQApGgAAAl90eXBlAE0AAABlbXBvd2VyLkNoYXJ0cy5EYXRhLkdhbnR0LkNocm9ub2xvZ3kuRGF0YS5NaWxlc3RvbmVEYXRhLCBlbXBvd2VyLkNoYXJ0cy5EYXRhAANTdHlsZQB2BAAAAURlZmF1bHRGb250U2l6ZQAAAAAAAAAkQAFGb250U2l6ZQAAAAAAAAAgQANGb250Q29sb3IAVQAAABBBAP8AAAAQUgAQAAAAEEcAOAAAABBCAE8AAAABU2NBAAAAAAAAAPA/AVNjUgAAAADgNjl1PwFTY0cAAAAAgGc/pD8BU2NCAAAAAGAXBLQ/ABBGb250VGhlbWVDb2xvcgAAAAAAEEZvbnRTY2hlbWVDb2xvcgAAAAAAAUZvbnRUaW50QW5kU2hhZGUAAAAAAAAAAAADUGF0dGVybkNvbG9yAFUAAAAQQQAAAAAAEFIAAAAAABBHAAAAAAAQQgAAAAAAAVNjQQAAAAAAAAAAAAFTY1IAAAAAAAAAAAABU2NHAAAAAAAAAAAAAVNjQgAAAAAAAAAAAAAQUGF0dGVyblRoZW1lQ29sb3IAAAAAAAFQYXR0ZXJuVGludEFuZFNoYWRlAAAAAAAAAAAAA0RhdGFTdHlsZUZvbnRDb2xvclZhbHVlAFUAAAAQQQAAAAAAEFIAAAAAABBHAAAAAAAQQgAAAAAAAVNjQQAAAAAAAAAAAAFTY1IAAAAAAAAAAAABU2NHAAAAAAAAAAAAAVNjQgAAAAAAAAAAAAAIRGF0YVN0eWxlRm9udENvbG9ySGFzVmFsdWUAAAFIZWlnaHQAAAAA4N0yKEACRGFzaFN0eWxlAA0AAABtc29MaW5lU29saWQACEhhc1dpc2hGaWxsQ29sb3IAAANGaWxsQ29sb3IAVQAAABBBAP8AAAAQUgAAAAAAEEcAkQAAABBCAN8AAAABU2NBAAAAAAAAAPA/AVNjUgAAAAAAAAAAAAFTY0cAAAAAABwf0j8BU2NCAAAAAGD2nOc/ABBGaWxsU2NoZW1lQ29sb3IAAAAAABBGaWxsVGhlbWVDb2xvcgAAAAAAAUZpbGxUaW50QW5kU2hhZGUAAAAAAAAAAAADQm9yZGVyQ29sb3IAVQAAABBBAP8AAAAQUgD/AAAAEEcA/wAAABBCAP8AAAABU2NBAAAAAAAAAPA/AVNjUgAAAAAAAADwPwFTY0cAAAAAAAAA8D8BU2NCAAAAAAAAAPA/ABBCb3JkZXJUaGVtZUNvbG9yAAAAAAABQm9yZGVyVGludEFuZFNoYWRlAAAAAAAAAAAACElzRmlsbGVkAAECUGF0dGVybgAQAAAAbXNvUGF0dGVybk1peGVkAAJTaGFwZVR5cGUAEAAAAG1zb1NoYXBlRGlhbW9uZAADTGFiZWxPZmZzZXQAQgAAAAFYAAAAAAAAAAAAAVkAEMS2Y5CyM8ABTGVuZ3RoABDEtmOQsjNAAUxlbmd0aFNxdWFyZWQAeLmTvt8/eEAAAUJvcmRlclRoaWNrbmVzcwAAAAAAAADwPwhJc0ZvbnRCb2xkAAAISXNGb250SXRhbGljAAAISXNGb250VW5kZXJsaW5lZAAACExhYmVsSGFzQmFja2dyb3VuZAAAAlRleHRBbGlnbm1lbnQABQAAAExlZnQAAAhEaXNwbGF5TGFiZWwAAQhMYWJlbEhhc0JhY2tncm91bmQAAANSZW5kZXJJbmZvAGkUAAADU3ltYm9sAHIGAAACQXV0b1NoYXBlVHlwZQAIAAAARGlhbW9uZAAFTWFuYWdlZElkABAAAAAEMcV1jOp6KkSfC/d8AAE8mAhIYXNDaGFuZ2VzAAAIVXNlTmFtZUluc3RlYWRPZlRhZ0FzSWQAAAhTaGFwZVByZXZpb3VzbHlDcmVhdGVkAAADRmlsbENvbG9yAFUAAAAQQQD/AAAAEFIAAAAAABBHAJEAAAAQQgDfAAAAAVNjQQAAAAAAAADwPwFTY1IAAAAAAAAAAAABU2NHAAAAAAAcH9I/AVNjQgAAAABg9pznP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MDdMihAAVdpZHRoAAAAAMDdMihAAVRvcAAAAADgb0x3QAFMZWZ0AAAAAKBxoHZACEZsaXBIb3Jpem9udGFsbHkAAAhGbGlwSG9yaXpvbnRhbGx5QXBwbGllZAAACEZsaXBWZXJ0aWNhbGx5AAAIRmxpcFZlcnRpY2FsbHlBcHBsaWVkAAABUm90YXRpb24AAAAAAAAAAAABWk9yZGVyAAAAAAAAgFRAA0JvcmRlckNvbG9yAFUAAAAQQQD/AAAAEFIA/wAAABBHAP8AAAAQQgD/AAAAAVNjQQAAAAAAAADwPwFTY1IAAAAAAAAA8D8BU2NHAAAAAAAAAPA/AVNjQgAAAAAAAADwPwAQQm9yZGVyVGhlbWVDb2xvcgAAAAAAAUJvcmRlclRpbnRBbmRTaGFkZQAAAAAAAAAAABBCb3JkZXJTY2hlbWVDb2xvcgAAAAAAAUJvcmRlclRoaWNrbmVzcwAAAAAAAADw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MYWJlbADzBgAABU1hbmFnZWRJZAAQAAAABIgUsylm+m1Gty4haly5R7MISGFzQ2hhbmdlcwAACFVzZU5hbWVJbnN0ZWFkT2ZUYWdBc0lkAAAIU2hhcGVQcmV2aW91c2x5Q3JlYXRlZAABA0ZpbGxDb2xvcgBVAAAAEEEA/wAAABBSAAAAAAAQRwCRAAAAEEIA3wAAAAFTY0EAAAAAAAAA8D8BU2NSAAAAAAAAAAAAAVNjRwAAAAAAHB/SPwFTY0IAAAAAYPac5z8AEEZpbGxUaGVtZUNvbPQAAAAF8wAAAPUAAADnDwAAAAAAAAAAAAB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QANQAAADbigIsvMi8yMDLigIs0IEhhYmlsaXRhY2nDs24gZGUgU2XDsWFsZXMgZW4gSW5tYXRpb24AAlRleHRIb3Jpem9udGFsQWxpZ25tZW50AA4AAABtc29BbmNob3JOb25lAAJQYXJhZ3JhcGhBbGlnbm1lbnQAAgAAADAAAlRleHRWZXJ0aWNhbEFsaWdubWVudAAQAAAAbXNvQW5jaG9yTWlkZGxlAANGb250U3R5bGUAQAEAABBGb250QmFja2dyb3VuZAAAAAAACEZvbnRCb2xkAAADRm9udENvbG9yAFUAAAAQQQD/AAAAEFIAEAAAABBHADgAAAAQQgBPAAAAAVNjQQAAAAAAAADwPwFTY1IAAAAA4DY5dT8BU2NHAAAAAIBnP6Q/AVNjQgAAAABgFwS0PwAQRm9udFRoZW1lQ29sb3IAAAAAAAFGb250VGludEFuZFNoYWRlAAAAAAAAAAAAEEZvbnRTY2hlbWVDb2xvcgAAAAAACEZvbnRJdGFsaWMAAAJGb250TmFtZQAGAAAAQXJpYWwAAUZvbnRTaXplAAAAAAAAACBACEZvbnRTdHJpa2V0aHJvdWdoAAAIRm9udFN1YnNjcmlwdAAACEZvbnRTdXBlcnNjcmlwdAAACEZvbnRVbmRlcmxpbmUAAAAIU2l6ZVRvVGV4dFdpZHRoAAAIU2l6ZVRvVGV4dEhlaWdodAAAA1RleHRNYXJnaW4APwAAAAFMZWZ0AAAAAAAAAAAAAVRvcAAAAAAAAAAAAAFSaWdodAAAAAAAAAAAAAFCb3R0b20AAAAAAAAAAAAAAkRpc3BsYXlUZXh0ADUAAAA24oCLLzIvMjAy4oCLNCBIYWJpbGl0YWNpw7NuIGRlIFNlw7FhbGVzIGVuIElubWF0aW9uAAFIZWlnaHQAAAAA4LFLJUABV2lkdGgAAAAAYOcjZkABVG9wAAAAAGAScnZAAUxlZnQAAAAAID0Bd0AIRmxpcEhvcml6b250YWxseQAACEZsaXBIb3Jpem9udGFsbHlBcHBsaWVkAAAIRmxpcFZlcnRpY2FsbHkAAAhGbGlwVmVydGljYWxseUFwcGxpZWQAAAFSb3RhdGlvbgAAAAAAAAAAAAFaT3JkZXIAAAAAAADAVE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Nvbm5lY3RvckxpbmUA4QYAAANTdGFydAAbAAAAAVgAAAAAoHGgdkABWQAAAADgb0x3QAADRW5kABsAAAABWAAAAACgcaB2QAFZAAAAAOBvTHdAAAJTdGFydEFycm93SGVhZAARAAAAbXNvQXJyb3doZWFkTm9uZQACRW5kQXJyb3dIZWFkABEAAABtc29BcnJvd2hlYWROb25lAAVNYW5hZ2VkSWQAEAAAAATYwTifb1dVTqDv4PHdGgZ+CEhhc0NoYW5nZXMAAAhVc2VOYW1lSW5zdGVhZE9mVGFnQXNJZAAACFNoYXBlUHJldmlvdXNseUNyZWF0ZWQAAA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A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AAAAAAABVG9wAAAAAOBvTHdAAUxlZnQAAAAAoHGgdkAIRmxpcEhvcml6b250YWxseQAACEZsaXBIb3Jpem9udGFsbHlBcHBsaWVkAAAIRmxpcFZlcnRpY2FsbHkAAAhGbGlwVmVydGljYWxseUFwcGxpZWQAAAFSb3RhdGlvbgAAAAAAAAAAAAFaT3JkZXIAAAAAAABAVEADQm9yZGVyQ29sb3IAVQAAABBBAP8AAAAQUgAAAAAAEEcAkQAAABBCAN8AAAABU2NBAAAAAAAAAPA/AVNjUgAAAAAAAAAAAAFTY0cAAAAAABwf0j8BU2NCAAAAAGD2nOc/ABBCb3JkZXJUaGVtZUNvbG9yAAAAAAABQm9yZGVyVGludEFuZFNoYWRlAAAAAAAAAAAAEEJvcmRlclNjaGVtZUNvbG9yAAAAAAABQm9yZGVyVGhpY2tuZXNzAAAAAAAAAOA/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AJNaWxlc3RvbmVMYWJlbFBvc2l0aW9uAAkAAABUb3BSaWdodAAQSW5kZXgAAgAAAAJEZXNjcmlwdGlvbgA1AAAANuKAiy8yLzIwMuKAizQgSGFiaWxpdGFjacOzbiBkZSBTZcOxYWxlcyBlbiBJbm1hdGlvbgACTmFtZQAKAAAATWlsZXN0b25lAAhJc0xlYWRlckxpbmVJbkF1dG9Nb2RlAAEJU3RhcnRUaW1lAACHiNePAQAAAAACTmFtZQAJAAAAU3ByaW50IDIACElzSGlnaGxpZ2h0ZWQAAAhJc1NlcGFyYXRvckxpbmVWaXNpYmxlAAEDU3R5bGUAdAQAAAFEZWZhdWx0Rm9udFNpemUAAAAAAAAAJEABRm9udFNpemUAAAAAAAAAJEADRm9udENvbG9yAFUAAAAQQQD/AAAAEFIAEAAAABBHADgAAAAQQgBPAAAAAVNjQQAAAAAAAADwPwFTY1IAAAAA4DY5dT8BU2NHAAAAAIBnP6Q/AVNjQgAAAABgFwS0PwAQRm9udFRoZW1lQ29sb3IAAAAAABBGb250U2NoZW1lQ29sb3IAAAAAAAFGb250VGludEFuZFNoYWRlAAAAAAAAAAAAA1BhdHRlcm5Db2xvcgBVAAAAEEEAAAAAABBSAAAAAAAQRwAAAAAAEEIAAAAAAAFTY0EAAAAAAAAAAAABU2NSAAAAAAAAAAAAAVNjRwAAAAAAAAAAAAFTY0IAAAAAAAAAAAAAEFBhdHRlcm5UaGVtZUNvbG9yAAAAAAABUGF0dGVyblRpbnRBbmRTaGFkZQAAAAAAAAAAAANEYXRhU3R5bGVGb250Q29sb3JWYWx1ZQBVAAAAEEEA/wAAABBSABAAAAAQRwA4AAAAEEIATwAAAAFTY0EAAAAAAAAA8D8BU2NSAAAAAOA2OXU/AVNjRwAAAACAZz+kPwFTY0IAAAAAYBcEtD8ACET1AAAABfQAAAD2AAAA5w8AAAAAAAAAAAAAYXRhU3R5bGVGb250Q29sb3JIYXNWYWx1ZQABAUhlaWdodAAAAAAAAAAAAAJEYXNoU3R5bGUADQAAAG1zb0xpbmVTb2xpZAAISGFzV2lzaEZpbGxDb2xvcgABA0ZpbGxDb2xvcgBVAAAAEEEAAAAAABBSAP8AAAAQRwD/AAAAEEIA/wAAAAFTY0EAAAAAAAAAAAABU2NSAAAAAAAAAPA/AVNjRwAAAAAAAADwPwFTY0IAAAAAAAAA8D8AEEZpbGxTY2hlbWVDb2xvcgAAAAAAEEZpbGxUaGVtZUNvbG9yAAAAAAABRmlsbFRpbnRBbmRTaGFkZQAAAAAAAAAAAANCb3JkZXJDb2xvcgBVAAAAEEEA/wAAABBSAOMAAAAQRwDjAAAAEEIA4wAAAAFTY0EAAAAAAAAA8D8BU2NSAAAAAMCxlOg/AVNjRwAAAADAsZToPwFTY0IAAAAAwLGU6D8AEEJvcmRlclRoZW1lQ29sb3IAAAAAAAFCb3JkZXJUaW50QW5kU2hhZGUAAAAAAAAAAAAISXNGaWxsZWQAAQJQYXR0ZXJuABAAAABtc29QYXR0ZXJuTWl4ZWQAAlNoYXBlVHlwZQAOAAAAbXNvU2hhcGVNaXhlZAADTGFiZWxPZmZzZXQAQgAAAAFYAAAAAAAAAAAAAVkAAAAAAAAAAAABTGVuZ3RoAAAAAAAAAAAAAUxlbmd0aFNxdWFyZWQAAAAAAAAAAAAAAUJvcmRlclRoaWNrbmVzcwAAAAAAAADwPwhJc0ZvbnRCb2xkAAAISXNGb250SXRhbGljAAAISXNGb250VW5kZXJsaW5lZAAACExhYmVsSGFzQmFja2dyb3VuZAAAAlRleHRBbGlnbm1lbnQABQAAAExlZnQAAAFSb3dUb3AAoIgN8hHldkABUm93SGVpZ2h0AG41KjItBTlAA0xlZnROb3RlcwDHBAAAA1RleHRTdHlsZQBbBAAAAURlZmF1bHRGb250U2l6ZQAAAAAAAAAkQAFGb250U2l6ZQAAAAAAAAAkQANGb250Q29sb3IAVQAAABBBAP8AAAAQUgAQAAAAEEcAOAAAABBCAE8AAAABU2NBAAAAAAAAAPA/AVNjUgAAAADgNjl1PwFTY0cAAAAAgGc/pD8BU2NCAAAAAGAXBLQ/ABBGb250VGhlbWVDb2xvcgAAAAAAEEZvbnRTY2hlbWVDb2xvcgAAAAAAAUZvbnRUaW50QW5kU2hhZGUAAAAAAAAAAAADUGF0dGVybkNvbG9yAFUAAAAQQQAAAAAAEFIAAAAAABBHAAAAAAAQQgAAAAAAAVNjQQAAAAAAAAAAAAFTY1IAAAAAAAAAAAABU2NHAAAAAAAAAAAAAVNjQgAAAAAAAAAAAAAQUGF0dGVyblRoZW1lQ29sb3IAAAAAAAFQYXR0ZXJuVGludEFuZFNoYWRlAAAAAAAAAAAAA0RhdGFTdHlsZUZvbnRDb2xvclZhbHVlAFUAAAAQQQD/AAAAEFIAEAAAABBHADgAAAAQQgBPAAAAAVNjQQAAAAAAAADwPwFTY1IAAAAA4DY5dT8BU2NHAAAAAIBnP6Q/AVNjQgAAAABgFwS0PwAIRGF0YVN0eWxlRm9udENvbG9ySGFzVmFsdWUAAQFIZWlnaHQAAAAAAAAAAAACRGFzaFN0eWxlAA0AAABtc29MaW5lU29saWQACEhhc1dpc2hGaWxsQ29sb3IAAANGaWxsQ29sb3IAVQAAABBBAP8AAAAQUgAAAAAAEEcAAAAAABBCAAAAAAABU2NBAAAAAAAAAPA/AVNjUgAAAAAAAAAAAAFTY0cAAAAAAAAAAAABU2NCAAAAAAAAAAAAABBGaWxsU2NoZW1lQ29sb3IAAAAAABBGaWxsVGhlbWVDb2xvcgAAAAAAAUZpbGxUaW50QW5kU2hhZGUAAAAAAAAAAAADQm9yZGVyQ29sb3IAVQAAABBBAAAAAAAQUgAAAAAAEEcAAAAAABBCAAAAAAABU2NBAAAAAAAAAAAAAVNjUgAAAAAAAAAAAAFTY0cAAAAAAAAAAAABU2NCAAAAAAAAAAAAABBCb3JkZXJUaGVtZUNvbG9yAAAAAAABQm9yZGVyVGludEFuZFNoYWRlAAAAAAAAAAAACElzRmlsbGVkAAECUGF0dGVybgAQAAAAbXNvUGF0dGVybk1peGVkAAJTaGFwZVR5cGUADgAAAG1zb1NoYXBlTWl4ZWQAA0xhYmVsT2Zmc2V0AEIAAAABWAAAAAAAAAAAAAFZAAAAAAAAAAAAAUxlbmd0aAAAAAAAAAAAAAFMZW5ndGhTcXVhcmVkAAAAAAAAAAAAAAhJc0ZvbnRCb2xkAAAISXNGb250SXRhbGljAAAISXNGb250VW5kZXJsaW5lZAAACExhYmVsSGFzQmFja2dyb3VuZAAAAlRleHRBbGlnbm1lbnQABQAAAExlZnQAAAhIYXJ2ZXlCYWxsVmlzaWJsZQABEEhhcnZleUJhbGxWYWx1ZQAAAAAAAkNoZWNrQm94U3RhdGUABQAAAE5vbmUAAlRyYWZmaWNMaWdodFN0YXRlAAQAAABPZmYAAANSaWdodE5vdGVzAMcEAAADVGV4dFN0eWxlAFsEAAABRGVmYXVsdEZvbnRTaXplAAAAAAAAACRAAUZvbnRTaXplAAAAAAAAACRAA0ZvbnRDb2xvcgBVAAAAEEEA/wAAABBSABAAAAAQRwA4AAAAEEIATwAAAAFTY0EAAAAAAAAA8D8BU2NSAAAAAOA2OXU/AVNjRwAAAACAZz+kPwFTY0IAAAAAYBcEtD8AEEZvbnRUaGVtZUNvbG9yAAAAAAAQRm9udFNjaGVtZUNvbG9yAAAAAAABRm9udFRpbnRBbmRTaGFkZQAAAAAAAAAAAANQYXR0ZXJuQ29sb3IAVQAAABBBAAAAAAAQUgAAAAAAEEcAAAAAABBCAAAAAAABU2NBAAAAAAAAAAAAAVNjUgAAAAAAAAAAAAFTY0cAAAAAAAAAAAABU2NCAAAAAAAAAAAAABBQYXR0ZXJuVGhlbWVDb2xvcgAAAAAAAVBhdHRlcm5UaW50QW5kU2hhZGUAAAAAAAAAAAADRGF0YVN0eWxlRm9udENvbG9yVmFsdWUAVQAAABBBAP8AAAAQUgAQAAAAEEcAOAAAABBCAE8AAAABU2NBAAAAAAAAAPA/AVNjUgAAAADgNjl1PwFTY0cAAAAAgGc/pD8BU2NCAAAAAGAXBLQ/AAhEYXRhU3R5bGVGb250Q29sb3JIYXNWYWx1ZQABAUhlaWdodAAAAAAAAAAAAAJEYXNoU3R5bGUADQAAAG1zb0xpbmVTb2xpZAAISGFzV2lzaEZpbGxDb2xvcgAAA0ZpbGxDb2xvcgBVAAAAEEEA/wAAABBSAAAAAAAQRwAAAAAAEEIAAAAAAAFTY0EAAAAAAAAA8D8BU2NSAAAAAAAAAAAAAVNjRwAAAAAAAAAAAAFTY0IAAAAAAAAAAAAAEEZpbGxTY2hlbWVDb2xvcgAAAAAAEEZpbGxUaGVtZUNvbG9yAAAAAAABRmlsbFRpbnRBbmRTaGFkZQAAAAAAAAAAAANCb3JkZXJDb2xvcgBVAAAAEEEAAAAAABBSAAAAAAAQRwAAAAAAEEIAAAAAAAFTY0EAAAAAAAAAAAABU2NSAAAAAAAAAAAAAVNjRwAAAAAAAAAAAAFTY0IAAAAAAAAAAAAAEEJvcmRlclRoZW1lQ29sb3IAAAAAAAFCb3JkZXJUaW50QW5kU2hhZGUAAAAAAAAAAAAISXNGaWxsZWQAAQJQYXR0ZXJuABAAAABtc29QYXR0ZXJuTWl4ZWQAAlNoYXBlVHlwZQAOAAAAbXNvU2hhcGVNaXhlZAADTGFiZWxPZmZzZXQAQgAAAAFYAAAAAAAAAAAAAVkAAAAAAAAAAAABTGVuZ3RoAAAAAAAAAAAAAUxlbmd0aFNxdWFyZWQAAAAAAAAAAAAACElzRm9udEJvbGQAAAhJc0ZvbnRJdGFsaWMAAAhJc0ZvbnRVbmRlcmxpbmVkAAAITGFiZWxIYXNCYWNrZ3JvdW5kAAACVGV4dEFsaWdubWVudAAFAAAATGVmdAAACEhhcnZleUJhbGxWaXNpYmxlAAEQSGFydmV5QmFsbFZhbHVlAAAAAAACQ2hlY2tCb3hTdGF0ZQAFAAAATm9uZQACVHJhZmZpY0xpZ2h0U3RhdGUABAAAAE9mZgAAA0xlZnROb3Rlc1JlbmRlckluZm8AYRQAAANMYWJlbAB0BgAABU1hbmFnZWRJZAAQAAAABJKFYXZUv2hOlgBXAYXrWqMISGFzQ2hhbmdlcwABCFVzZU5hbWVJbnN0ZWFkT2ZUYWdBc0lkAAAIU2hhcGVQcmV2aW91c2x5Q3JlYXRlZAAA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ACRmlsbFBhdHRlcm4AEAAAAG1zb1BhdHRlcm5NaXhlZAACVGV4dAABAAAA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9gAAAAX1AAAA/AAAAOcPAAAAAAAAAAAAAEZvbnRTdXBlcnNjcmlwdAAACEZvbnRVbmRlcmxpbmUAAAAIU2l6ZVRvVGV4dFdpZHRoAAAIU2l6ZVRvVGV4dEhlaWdodAAAA1RleHRNYXJnaW4APwAAAAFMZWZ0AAAAAAAAAAAAAVRvcAAAAAAAAAAAAAFSaWdodAAAAAAAAAAAAAFCb3R0b20AAAAAAAAAAAAAAkRpc3BsYXlUZXh0AAEAAAAAAUhlaWdodAAAAAAAAADwPwFXaWR0aAAAAAAAAADwPwFUb3AAAAAAAIyWcUABTGVmdAAAAABAZfaNQAhGbGlwSG9yaXpvbnRhbGx5AAAIRmxpcEhvcml6b250YWxseUFwcGxpZWQAAAhGbGlwVmVydGljYWxseQAACEZsaXBWZXJ0aWNhbGx5QXBwbGllZAAAAVJvdGF0aW9uAAAAAAAAAAAAAVpPcmRlcgAAAAAAAAAAA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2VwYXJhdG9yTGluZQDhBgAAA1N0YXJ0ABsAAAABWADNzMwWMvONQAFZAAAAAMBkbXhAAANFbmQAGwAAAAFYADMzM32Y+Y1AAVkAAAAAwGRteEAAAlN0YXJ0QXJyb3dIZWFkABEAAABtc29BcnJvd2hlYWROb25lAAJFbmRBcnJvd0hlYWQAEQAAAG1zb0Fycm93aGVhZE5vbmUABU1hbmFnZWRJZAAQAAAABKgJ/A7g3hpFvyZao3thf6QISGFzQ2hhbmdlcwABCFVzZU5hbWVJbnN0ZWFkT2ZUYWdBc0lkAAAIU2hhcGVQcmV2aW91c2x5Q3JlYXRlZAAA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CgmZnpPwFUb3AAAAAAwGRteEABTGVmdAAAAAAgMvONQAhGbGlwSG9yaXpvbnRhbGx5AAAIRmxpcEhvcml6b250YWxseUFwcGxpZWQAAAhGbGlwVmVydGljYWxseQAACEZsaXBWZXJ0aWNhbGx5QXBwbGllZAAAAVJvdGF0aW9uAAAAAAAAAAAAAVpPcmRlcgAAAAAAAIBVQANCb3JkZXJDb2xvcgBVAAAAEEEA/wAAABBSAOMAAAAQRwDjAAAAEEIA4wAAAAFTY0EAAAAAAAAA8D8BU2NSAAAAAMCxlOg/AVNjRwAAAADAsZToPwFTY0IAAAAAwLGU6D8AEEJvcmRlclRoZW1lQ29sb3IAAAAAAAFCb3JkZXJUaW50QW5kU2hhZGUAAAAAAAAAAAAQQm9yZGVyU2NoZW1lQ29sb3IAAAAAAAFCb3JkZXJUaGlja25lc3MAAAAAAAAA8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mVjdGFuZ2xlAHQGAAACQXV0b1NoYXBlVHlwZQAKAAAAUmVjdGFuZ2xlAAVNYW5hZ2VkSWQAEAAAAARWEJGc5GigToRNHu4SK9aPCEhhc0NoYW5nZXMAAQhVc2VOYW1lSW5zdGVhZE9mVGFnQXNJZAAACFNoYXBlUHJldmlvdXNseUNyZWF0ZWQAAANGaWxsQ29sb3IAVQAAABBBAAAAAAAQUgD/AAAAEEcA/wAAABBCAP8AAAABU2NBAAAAAAAAAAAAAVNjUgAAAAAAAADwPwFTY0cAAAAAAAAA8D8BU2NCAAAAAAAAAPA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A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QC0FOEABV2lkdGgAAAAAAAAAAAABVG9wAAAAAAAS7XZAAUxlZnQAAAAAQGXujUAIRmxpcEhvcml6b250YWxseQAACEZsaXBIb3Jpem9udGFsbHlBcHBsaWVkAAAIRmxpcFZlcnRpY2FsbHkAAAhGbGlwVmVydGljYWxseUFwcGxpZWQAAAFSb3RhdGlvbgAAAAAAAAAAAAFaT3JkZXIAAAAAAABAVU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PcAAAAF8QAAAPgAAADnDwAAAAAAAAAAAAAAAAABU2NCAAAAAAAAAAAAABBQYXR0ZXJuVGhlbWVDb2xvcgAAAAAAAVBhdHRlcm5UaW50QW5kU2hhZGUAAAAAAAAAAAAIRmlsbFZpc2libGUAAQ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DA3TIoQAFXaWR0aAAAAADAuoFaQAFUb3AAAAAA4G9Md0ABTGVmdAAAAABgzmBwQAhGbGlwSG9yaXpvbnRhbGx5AAAIRmxpcEhvcml6b250YWxseUFwcGxpZWQAAAhGbGlwVmVydGljYWxseQAACEZsaXBWZXJ0aWNhbGx5QXBwbGllZAAAAVJvdGF0aW9uAAAAAAAAAAAAAVpPcmRlcgAAAAAAAIBRQANCb3JkZXJDb2xvcgBVAAAAEEEA/wAAABBSAP8AAAAQRwD/AAAAEEIA/wAAAAFTY0EAAAAAAAAA8D8BU2NSAAAAAAAAAPA/AVNjRwAAAAAAAADwPwFTY0IAAAAAAAAA8D8AEEJvcmRlclRoZW1lQ29sb3IAAAAAAAFCb3JkZXJUaW50QW5kU2hhZGUAAAAAAAAAAAAQQm9yZGVyU2NoZW1lQ29sb3IAAAAAAAFCb3JkZXJUaGlja25lc3MAAAAAAAAA8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QmFyU3R5bGVEYXRhACYAAAACQmFyU3R5bGVTaGFwZVR5cGUACgAAAFJlY3RhbmdsZQAAA0xhYmVsALAGAAAFTWFuYWdlZElkABAAAAAEYCC/U6cVOEiQfLVg7OIxVghIYXNDaGFuZ2VzAAAIVXNlTmFtZUluc3RlYWRPZlRhZ0FzSWQAAAhTaGFwZVByZXZpb3VzbHlDcmVhdGVkAAEDRmlsbENvbG9yAFUAAAAQQQD/AAAAEFIAmQAAABBHANMAAAAQQgDyAAAAAVNjQQAAAAAAAADwPwFTY1IAAAAAIBJj1D8BU2NHAAAAAKBQ2OQ/AVNjQgAAAADA3WnsP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AA0AAABDb25lY3RpdmlkYWQAAlRleHRIb3Jpem9udGFsQWxpZ25tZW50AA4AAABtc29BbmNob3JOb25lAAJQYXJhZ3JhcGhBbGlnbm1lbnQADwAAAG1zb0FsaWduQ2VudGVyAAJUZXh0VmVydGljYWxBbGlnbm1lbnQAEAAAAG1zb0FuY2hvck1pZGRsZQADRm9udFN0eWxlAEABAAAQRm9udEJhY2tncm91bmQAAAAAAAhGb250Qm9sZAAAA0ZvbnRDb2xvcgBVAAAAEEEA/wAAABBSABAAAAAQRwA4AAAAEEIATwAAAAFTY0EAAAAAAAAA8D8BU2NSAAAAAOA2OXU/AVNjRwAAAACAZz+kPwFTY0IAAAAAYBcEtD8AEEZvbnRUaGVtZUNvbG9yAAAAAAABRm9udFRpbnRBbmRTaGFkZQAAAAAAAAAAABBGb250U2NoZW1lQ29sb3IAAAAAAAhGb250SXRhbGljAAACRm9udE5hbWUABgAAAEFyaWFsAAFGb250U2l6ZQAAAAAAAAAgQAhGb250U3RyaWtldGhyb3VnaAAACEZvbnRTdWJzY3JpcHQAAAhGb250U3VwZXJzY3JpcHQAAAhGb250VW5kZXJsaW5lAAAACFNpemVUb1RleHRXaWR0aAAACFNpemVUb1RleHRIZWlnaHQAAANUZXh0TWFyZ2luAD8AAAABTGVmdAAAAAAAAAAAAAFUb3AAAAAAAAAAAAABUmlnaHQAAAAAAAAAAAABQm90dG9tAAAAAAAAAAAAAAJEaXNwbGF5VGV4dAANAAAAQ29uZWN0aXZpZGFkAAFIZWlnaHQAAAAAABZcI0ABV2lkdGgAAAAAQG1gR0ABVG9wAAAAAADLX3dAAUxlZnQAAAAA4P46ckAIRmxpcEhvcml6b250YWxseQAACEZsaXBIb3Jpem9udGFsbHlBcHBsaWVkAAAIRmxpcFZlcnRpY2FsbHkAAAhGbGlwVmVydGljYWxseUFwcGxpZWQAAAFSb3RhdGlvbgAAAAAAAAAAAAFaT3JkZXIAAAAAAAAAUk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Nvbm5lY3RvckxpbmVEYXRhAOEGAAADU3RhcnQAGwAAAAFYAAAAAGDOYHBAAVkAAAAA4G9Md0AAA0VuZAAbAAAAAVgAAAAAYM5gcEABWQAAAADgb0x3QAACU3RhcnRBcnJvd0hlYWQAEQAAAG1zb0Fycm93aGVhZE5vbmUAAkVuZEFycm93SGVhZAARAAAAbXNvQXJyb3doZWFkTm9uZQAFTWFuYWdlZElkABAAAAAEwSDc/Q4Qu0K1dWLqc3ImVAhIYXNDaGFuZ2VzAAAIVXNlTmFtZUluc3RlYWRPZlRhZ0FzSWQAAAhTaGFwZVByZXZpb3VzbHlDcmVhdGVkAAA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A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X4AAAABfcAAAD5AAAA5w8AAAAAAAAAAAAAcnNjcmlwdAAACEZvbnRVbmRlcmxpbmUAAAAIU2l6ZVRvVGV4dFdpZHRoAAAIU2l6ZVRvVGV4dEhlaWdodAAAA1RleHRNYXJnaW4APwAAAAFMZWZ0AAAAAAAAAAAAAVRvcAAAAAAAAAAAAAFSaWdodAAAAAAAAAAAAAFCb3R0b20AAAAAAAAAAAAAAUhlaWdodAAAAAAAAAAAAAFXaWR0aAAAAAAAAAAAAAFUb3AAAAAA4G9Md0ABTGVmdAAAAABgzmBwQAhGbGlwSG9yaXpvbnRhbGx5AAAIRmxpcEhvcml6b250YWxseUFwcGxpZWQAAAhGbGlwVmVydGljYWxseQAACEZsaXBWZXJ0aWNhbGx5QXBwbGllZAAAAVJvdGF0aW9uAAAAAAAAAAAAAVpPcmRlcgAAAAAAAMBRQANCb3JkZXJDb2xvcgBVAAAAEEEA/wAAABBSAJkAAAAQRwDTAAAAEEIA8gAAAAFTY0EAAAAAAAAA8D8BU2NSAAAAACASY9Q/AVNjRwAAAACgUNjkPwFTY0IAAAAAwN1p7D8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ACUVuZFRpbWUAAIeI148BAAAQSW5kZXgAAQAAAAJEZXNjcmlwdGlvbgANAAAAQ29uZWN0aXZpZGFkAAJOYW1lAAUAAABUYXNrAAhJc0xlYWRlckxpbmVJbkF1dG9Nb2RlAAEJU3RhcnRUaW1lAABXiXCPAQAAAAMxACkaAAACX3R5cGUATQAAAGVtcG93ZXIuQ2hhcnRzLkRhdGEuR2FudHQuQ2hyb25vbG9neS5EYXRhLk1pbGVzdG9uZURhdGEsIGVtcG93ZXIuQ2hhcnRzLkRhdGEAA1N0eWxlAHYEAAABRGVmYXVsdEZvbnRTaXplAAAAAAAAACRAAUZvbnRTaXplAAAAAAAAACBAA0ZvbnRDb2xvcgBVAAAAEEEA/wAAABBSABAAAAAQRwA4AAAAEEIATwAAAAFTY0EAAAAAAAAA8D8BU2NSAAAAAOA2OXU/AVNjRwAAAACAZz+kPwFTY0IAAAAAYBcEtD8AEEZvbnRUaGVtZUNvbG9yAAAAAAAQRm9udFNjaGVtZUNvbG9yAAAAAAABRm9udFRpbnRBbmRTaGFkZQAAAAAAAAAAAANQYXR0ZXJuQ29sb3IAVQAAABBBAAAAAAAQUgAAAAAAEEcAAAAAABBCAAAAAAABU2NBAAAAAAAAAAAAAVNjUgAAAAAAAAAAAAFTY0cAAAAAAAAAAAABU2NCAAAAAAAAAAAAABBQYXR0ZXJuVGhlbWVDb2xvcgAAAAAAAVBhdHRlcm5UaW50QW5kU2hhZGUAAAAAAAAAAAADRGF0YVN0eWxlRm9udENvbG9yVmFsdWUAVQAAABBBAAAAAAAQUgAAAAAAEEcAAAAAABBCAAAAAAABU2NBAAAAAAAAAAAAAVNjUgAAAAAAAAAAAAFTY0cAAAAAAAAAAAABU2NCAAAAAAAAAAAAAAhEYXRhU3R5bGVGb250Q29sb3JIYXNWYWx1ZQAAAUhlaWdodAAAAADg3TIoQAJEYXNoU3R5bGUADQAAAG1zb0xpbmVTb2xpZAAISGFzV2lzaEZpbGxDb2xvcgAAA0ZpbGxDb2xvcgBVAAAAEEEA/wAAABBSAAAAAAAQRwCRAAAAEEIA3wAAAAFTY0EAAAAAAAAA8D8BU2NSAAAAAAAAAAAAAVNjRwAAAAAAHB/SPwFTY0IAAAAAYPac5z8AEEZpbGxTY2hlbWVDb2xvcgAAAAAAEEZpbGxUaGVtZUNvbG9yAAAAAAABRmlsbFRpbnRBbmRTaGFkZQAAAAAAAAAAAANCb3JkZXJDb2xvcgBVAAAAEEEA/wAAABBSAP8AAAAQRwD/AAAAEEIA/wAAAAFTY0EAAAAAAAAA8D8BU2NSAAAAAAAAAPA/AVNjRwAAAAAAAADwPwFTY0IAAAAAAAAA8D8AEEJvcmRlclRoZW1lQ29sb3IAAAAAAAFCb3JkZXJUaW50QW5kU2hhZGUAAAAAAAAAAAAISXNGaWxsZWQAAQJQYXR0ZXJuABAAAABtc29QYXR0ZXJuTWl4ZWQAAlNoYXBlVHlwZQAQAAAAbXNvU2hhcGVEaWFtb25kAANMYWJlbE9mZnNldABCAAAAAVgAAAAAAAAAAAABWQAQxLZjkLIzwAFMZW5ndGgAEMS2Y5CyM0ABTGVuZ3RoU3F1YXJlZAB4uZO+3z94QAABQm9yZGVyVGhpY2tuZXNzAAAAAAAAAPA/CElzRm9udEJvbGQAAAhJc0ZvbnRJdGFsaWMAAAhJc0ZvbnRVbmRlcmxpbmVkAAAITGFiZWxIYXNCYWNrZ3JvdW5kAAACVGV4dEFsaWdubWVudAAFAAAATGVmdAAACERpc3BsYXlMYWJlbAABCExhYmVsSGFzQmFja2dyb3VuZAAAA1JlbmRlckluZm8AaRQAAANTeW1ib2wAcgYAAAJBdXRvU2hhcGVUeXBlAAgAAABEaWFtb25kAAVNYW5hZ2VkSWQAEAAAAAQxxXWM6noqRJ8L93wAATyYCEhhc0NoYW5nZXMAAAhVc2VOYW1lSW5zdGVhZE9mVGFnQXNJZAAACFNoYXBlUHJldmlvdXNseUNyZWF0ZWQAAANGaWxsQ29sb3IAVQAAABBBAP8AAAAQUgAAAAAAEEcAkQAAABBCAN8AAAABU2NBAAAAAAAAAPA/AVNjUgAAAAAAAAAAAAFTY0cAAAAAABwf0j8BU2NCAAAAAGD2nO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wN0yKEABV2lkdGgAAAAAwN0yKEABVG9wAAAAAOBvTHdAAUxlZnQAAAAAoHGgdkAIRmxpcEhvcml6b250YWxseQAACEZsaXBIb3Jpem9udGFsbHlBcHBsaWVkAAAIRmxpcFZlcnRpY2FsbHkAAAhGbGlwVmVydGljYWxseUFwcGxpZWQAAAFSb3RhdGlvbgAAAAAAAAAAAAFaT3JkZXIAAAAAAACAVEADQm9yZGVyQ29sb3IAVQAAABBBAP8AAAAQUgD/AAAAEEcA/wAAABBCAP8AAAABU2NBAAAAAAAAAPA/AVNjUgAAAAAAAADwPwFTY0cAAAAAAAAA8D8BU2NCAAAAAAAAAPA/ABBCb3JkZXJUaGVtZUNvbG9yAAAAAAABQm9yZGVyVGludEFuZFNoYWRlAAAAAAAAAAAAEEJvcmRlclNjaGVtZUNvbG9yAAAAAAABQm9yZGVyVGhpY2tuZXNzAAAAAAAAAPA/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xhYmVsAPMGAAAFTWFuYWdlZElkABAAAAAEiBSzKWb6bUa3LiFqXLlHswhIYXNDaGFuZ2VzAAAIVXNlTmFtZUluc3RlYWRPZlRhZ0FzSWQAAAhTaGFwZVByZXZpb3VzbHlDcmVhdGVkAAEDRmlsbENvbG9yAFUAAAAQQQD/AAAAEFIAAAAAABBHAJEAAAAQQgDfAAAAAVNjQQAAAAAAAADwPwFTY1IAAAAAAAAAAAABU2NHAAAAAAAcH9I/AVNjQgAAAABg9pznPwAQRmlsbFRoZW1lQ29sb3IAAAAAAAFGaWxsVGludEFuZFNoYWRl+QAAAAX4AAAA+gAAAOcPAAAAAAAAAAAAAA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AA1AAAANuKAiy8yLzIwMuKAizQgSGFiaWxpdGFjacOzbiBkZSBTZcOxYWxlcyBlbiBJbm1hdGlvbgACVGV4dEhvcml6b250YWxBbGlnbm1lbnQADgAAAG1zb0FuY2hvck5vbmUAAlBhcmFncmFwaEFsaWdubWVudAACAAAAMAACVGV4dFZlcnRpY2FsQWxpZ25tZW50ABAAAABtc29BbmNob3JNaWRkbGUAA0ZvbnRTdHlsZQBAAQAAEEZvbnRCYWNrZ3JvdW5kAAAAAAAIRm9udEJvbGQAAANGb250Q29sb3IAVQAAABBBAP8AAAAQUgAQAAAAEEcAOAAAABBCAE8AAAABU2NBAAAAAAAAAPA/AVNjUgAAAADgNjl1PwFTY0cAAAAAgGc/pD8BU2NCAAAAAGAXBLQ/ABBGb250VGhlbWVDb2xvcgAAAAAAAUZvbnRUaW50QW5kU2hhZGUAAAAAAAAAAAAQRm9udFNjaGVtZUNvbG9yAAAAAAAIRm9udEl0YWxpYwAAAkZvbnROYW1lAAYAAABBcmlhbAABRm9udFNpemUAAAAAAAAAIEAIRm9udFN0cmlrZXRocm91Z2gAAAhGb250U3Vic2NyaXB0AAAIRm9udFN1cGVyc2NyaXB0AAAIRm9udFVuZGVybGluZQAAAAhTaXplVG9UZXh0V2lkdGgAAAhTaXplVG9UZXh0SGVpZ2h0AAADVGV4dE1hcmdpbgA/AAAAAUxlZnQAAAAAAAAAAAABVG9wAAAAAAAAAAAAAVJpZ2h0AAAAAAAAAAAAAUJvdHRvbQAAAAAAAAAAAAACRGlzcGxheVRleHQANQAAADbigIsvMi8yMDLigIs0IEhhYmlsaXRhY2nDs24gZGUgU2XDsWFsZXMgZW4gSW5tYXRpb24AAUhlaWdodAAAAADgsUslQAFXaWR0aAAAAABg5yNmQAFUb3AAAAAAYBJydkABTGVmdAAAAAAgPQF3QAhGbGlwSG9yaXpvbnRhbGx5AAAIRmxpcEhvcml6b250YWxseUFwcGxpZWQAAAhGbGlwVmVydGljYWxseQAACEZsaXBWZXJ0aWNhbGx5QXBwbGllZAAAAVJvdGF0aW9uAAAAAAAAAAAAAVpPcmRlcgAAAAAAAMBU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Q29ubmVjdG9yTGluZQDhBgAAA1N0YXJ0ABsAAAABWAAAAACgcaB2QAFZAAAAAOBvTHdAAANFbmQAGwAAAAFYAAAAAKBxoHZAAVkAAAAA4G9Md0AAAlN0YXJ0QXJyb3dIZWFkABEAAABtc29BcnJvd2hlYWROb25lAAJFbmRBcnJvd0hlYWQAEQAAAG1zb0Fycm93aGVhZE5vbmUABU1hbmFnZWRJZAAQAAAABNjBOJ9vV1VOoO/g8d0aBn4ISGFzQ2hhbmdlcwAACFVzZU5hbWVJbnN0ZWFkT2ZUYWdBc0lkAAAIU2hhcGVQcmV2aW91c2x5Q3JlYXRlZAAA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A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AAAAAAAAFUb3AAAAAA4G9Md0ABTGVmdAAAAACgcaB2QAhGbGlwSG9yaXpvbnRhbGx5AAAIRmxpcEhvcml6b250YWxseUFwcGxpZWQAAAhGbGlwVmVydGljYWxseQAACEZsaXBWZXJ0aWNhbGx5QXBwbGllZAAAAVJvdGF0aW9uAAAAAAAAAAAAAVpPcmRlcgAAAAAAAEBUQANCb3JkZXJDb2xvcgBVAAAAEEEA/wAAABBSAAAAAAAQRwCRAAAAEEIA3wAAAAFTY0EAAAAAAAAA8D8BU2NSAAAAAAAAAAAAAVNjRwAAAAAAHB/SPwFTY0IAAAAAYPac5z8AEEJvcmRlclRoZW1lQ29sb3IAAAAAAAFCb3JkZXJUaW50QW5kU2hhZGUAAAAAAAAAAAAQQm9yZGVyU2NoZW1lQ29sb3IAAAAAAAFCb3JkZXJUaGlja25lc3MAAAAAAAAA4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AAk1pbGVzdG9uZUxhYmVsUG9zaXRpb24ACQAAAFRvcFJpZ2h0ABBJbmRleAACAAAAAkRlc2NyaXB0aW9uADUAAAA24oCLLzIvMjAy4oCLNCBIYWJpbGl0YWNpw7NuIGRlIFNlw7FhbGVzIGVuIElubWF0aW9uAAJOYW1lAAoAAABNaWxlc3RvbmUACElzTGVhZGVyTGluZUluQXV0b01vZGUAAQlTdGFydFRpbWUAAIeI148BAAAAAAJOYW1lAAkAAABTcHJpbnQgMgAISXNIaWdobGlnaHRlZAAACElzU2VwYXJhdG9yTGluZVZpc2libGUAAQNTdHlsZQB0BAAAAURlZmF1bHRGb250U2l6ZQAAAAAAAAAkQAFGb250U2l6ZQAAAAAAAAAkQANGb250Q29sb3IAVQAAABBBAP8AAAAQUgAQAAAAEEcAOAAAABBCAE8AAAABU2NBAAAAAAAAAPA/AVNjUgAAAADgNjl1PwFTY0cAAAAAgGc/pD8BU2NCAAAAAGAXBLQ/ABBGb250VGhlbWVDb2xvcgAAAAAAEEZvbnRTY2hlbWVDb2xvcgAAAAAAAUZvbnRUaW50QW5kU2hhZGUAAAAAAAAAAAADUGF0dGVybkNvbG9yAFUAAAAQQQAAAAAAEFIAAAAAABBHAAAAAAAQQgAAAAAAAVNjQQAAAAAAAAAAAAFTY1IAAAAAAAAAAAABU2NHAAAAAAAAAAAAAVNjQgAAAAAAAAAAAAAQUGF0dGVyblRoZW1lQ29sb3IAAAAAAAFQYXR0ZXJuVGludEFuZFNoYWRlAAAAAAAAAAAAA0RhdGFTdHlsZUZvbnRDb2xvclZhbHVlAFUAAAAQQQD/AAAAEFIAEAAAABBHADgAAAAQQgBPAAAAAVNjQQAAAAAAAADwPwFTY1IAAAAA4DY5dT8BU2NHAAAAAIBnP6Q/AVNjQgAAAABgFwS0PwAIRGF0YVN0eWxlRm9udENvbG9ySGFzVmFsdfoAAAAF+QAAAPsAAADnDwAAAAAAAAAAAABlAAEBSGVpZ2h0AAAAAAAAAAAAAkRhc2hTdHlsZQANAAAAbXNvTGluZVNvbGlkAAhIYXNXaXNoRmlsbENvbG9yAAEDRmlsbENvbG9yAFUAAAAQQQAAAAAAEFIA/wAAABBHAP8AAAAQQgD/AAAAAVNjQQAAAAAAAAAAAAFTY1IAAAAAAAAA8D8BU2NHAAAAAAAAAPA/AVNjQgAAAAAAAADwPwAQRmlsbFNjaGVtZUNvbG9yAAAAAAAQRmlsbFRoZW1lQ29sb3IAAAAAAAFGaWxsVGludEFuZFNoYWRlAAAAAAAAAAAAA0JvcmRlckNvbG9yAFUAAAAQQQD/AAAAEFIA4wAAABBHAOMAAAAQQgDjAAAAAVNjQQAAAAAAAADwPwFTY1IAAAAAwLGU6D8BU2NHAAAAAMCxlOg/AVNjQgAAAADAsZToPwAQQm9yZGVyVGhlbWVDb2xvcgAAAAAAAUJvcmRlclRpbnRBbmRTaGFkZQAAAAAAAAAAAAhJc0ZpbGxlZAABAlBhdHRlcm4AEAAAAG1zb1BhdHRlcm5NaXhlZAACU2hhcGVUeXBlAA4AAABtc29TaGFwZU1peGVkAANMYWJlbE9mZnNldABCAAAAAVgAAAAAAAAAAAABWQAAAAAAAAAAAAFMZW5ndGgAAAAAAAAAAAABTGVuZ3RoU3F1YXJlZAAAAAAAAAAAAAABQm9yZGVyVGhpY2tuZXNzAAAAAAAAAPA/CElzRm9udEJvbGQAAAhJc0ZvbnRJdGFsaWMAAAhJc0ZvbnRVbmRlcmxpbmVkAAAITGFiZWxIYXNCYWNrZ3JvdW5kAAACVGV4dEFsaWdubWVudAAFAAAATGVmdAAAAVJvd1RvcACgiA3yEeV2QAFSb3dIZWlnaHQAbjUqMi0FOUADTGVmdE5vdGVzAMcEAAADVGV4dFN0eWxlAFsEAAABRGVmYXVsdEZvbnRTaXplAAAAAAAAACRAAUZvbnRTaXplAAAAAAAAACRAA0ZvbnRDb2xvcgBVAAAAEEEA/wAAABBSABAAAAAQRwA4AAAAEEIATwAAAAFTY0EAAAAAAAAA8D8BU2NSAAAAAOA2OXU/AVNjRwAAAACAZz+kPwFTY0IAAAAAYBcEtD8AEEZvbnRUaGVtZUNvbG9yAAAAAAAQRm9udFNjaGVtZUNvbG9yAAAAAAABRm9udFRpbnRBbmRTaGFkZQAAAAAAAAAAAANQYXR0ZXJuQ29sb3IAVQAAABBBAAAAAAAQUgAAAAAAEEcAAAAAABBCAAAAAAABU2NBAAAAAAAAAAAAAVNjUgAAAAAAAAAAAAFTY0cAAAAAAAAAAAABU2NCAAAAAAAAAAAAABBQYXR0ZXJuVGhlbWVDb2xvcgAAAAAAAVBhdHRlcm5UaW50QW5kU2hhZGUAAAAAAAAAAAADRGF0YVN0eWxlRm9udENvbG9yVmFsdWUAVQAAABBBAP8AAAAQUgAQAAAAEEcAOAAAABBCAE8AAAABU2NBAAAAAAAAAPA/AVNjUgAAAADgNjl1PwFTY0cAAAAAgGc/pD8BU2NCAAAAAGAXBLQ/AAhEYXRhU3R5bGVGb250Q29sb3JIYXNWYWx1ZQABAUhlaWdodAAAAAAAAAAAAAJEYXNoU3R5bGUADQAAAG1zb0xpbmVTb2xpZAAISGFzV2lzaEZpbGxDb2xvcgAAA0ZpbGxDb2xvcgBVAAAAEEEA/wAAABBSAAAAAAAQRwAAAAAAEEIAAAAAAAFTY0EAAAAAAAAA8D8BU2NSAAAAAAAAAAAAAVNjRwAAAAAAAAAAAAFTY0IAAAAAAAAAAAAAEEZpbGxTY2hlbWVDb2xvcgAAAAAAEEZpbGxUaGVtZUNvbG9yAAAAAAABRmlsbFRpbnRBbmRTaGFkZQAAAAAAAAAAAANCb3JkZXJDb2xvcgBVAAAAEEEAAAAAABBSAAAAAAAQRwAAAAAAEEIAAAAAAAFTY0EAAAAAAAAAAAABU2NSAAAAAAAAAAAAAVNjRwAAAAAAAAAAAAFTY0IAAAAAAAAAAAAAEEJvcmRlclRoZW1lQ29sb3IAAAAAAAFCb3JkZXJUaW50QW5kU2hhZGUAAAAAAAAAAAAISXNGaWxsZWQAAQJQYXR0ZXJuABAAAABtc29QYXR0ZXJuTWl4ZWQAAlNoYXBlVHlwZQAOAAAAbXNvU2hhcGVNaXhlZAADTGFiZWxPZmZzZXQAQgAAAAFYAAAAAAAAAAAAAVkAAAAAAAAAAAABTGVuZ3RoAAAAAAAAAAAAAUxlbmd0aFNxdWFyZWQAAAAAAAAAAAAACElzRm9udEJvbGQAAAhJc0ZvbnRJdGFsaWMAAAhJc0ZvbnRVbmRlcmxpbmVkAAAITGFiZWxIYXNCYWNrZ3JvdW5kAAACVGV4dEFsaWdubWVudAAFAAAATGVmdAAACEhhcnZleUJhbGxWaXNpYmxlAAEQSGFydmV5QmFsbFZhbHVlAAAAAAACQ2hlY2tCb3hTdGF0ZQAFAAAATm9uZQACVHJhZmZpY0xpZ2h0U3RhdGUABAAAAE9mZgAAA1JpZ2h0Tm90ZXMAxwQAAANUZXh0U3R5bGUAWwQAAAFEZWZhdWx0Rm9udFNpemUAAAAAAAAAJEABRm9udFNpemUAAAAAAAAAJEADRm9udENvbG9yAFUAAAAQQQD/AAAAEFIAEAAAABBHADgAAAAQQgBPAAAAAVNjQQAAAAAAAADwPwFTY1IAAAAA4DY5dT8BU2NHAAAAAIBnP6Q/AVNjQgAAAABgFwS0PwAQRm9udFRoZW1lQ29sb3IAAAAAABBGb250U2NoZW1lQ29sb3IAAAAAAAFGb250VGludEFuZFNoYWRlAAAAAAAAAAAAA1BhdHRlcm5Db2xvcgBVAAAAEEEAAAAAABBSAAAAAAAQRwAAAAAAEEIAAAAAAAFTY0EAAAAAAAAAAAABU2NSAAAAAAAAAAAAAVNjRwAAAAAAAAAAAAFTY0IAAAAAAAAAAAAAEFBhdHRlcm5UaGVtZUNvbG9yAAAAAAABUGF0dGVyblRpbnRBbmRTaGFkZQAAAAAAAAAAAANEYXRhU3R5bGVGb250Q29sb3JWYWx1ZQBVAAAAEEEA/wAAABBSABAAAAAQRwA4AAAAEEIATwAAAAFTY0EAAAAAAAAA8D8BU2NSAAAAAOA2OXU/AVNjRwAAAACAZz+kPwFTY0IAAAAAYBcEtD8ACERhdGFTdHlsZUZvbnRDb2xvckhhc1ZhbHVlAAEBSGVpZ2h0AAAAAAAAAAAAAkRhc2hTdHlsZQANAAAAbXNvTGluZVNvbGlkAAhIYXNXaXNoRmlsbENvbG9yAAADRmlsbENvbG9yAFUAAAAQQQD/AAAAEFIAAAAAABBHAAAAAAAQQgAAAAAAAVNjQQAAAAAAAADwPwFTY1IAAAAAAAAAAAABU2NHAAAAAAAAAAAAAVNjQgAAAAAAAAAAAAAQRmlsbFNjaGVtZUNvbG9yAAAAAAAQRmlsbFRoZW1lQ29sb3IAAAAAAAFGaWxsVGludEFuZFNoYWRlAAAAAAAAAAAAA0JvcmRlckNvbG9yAFUAAAAQQQAAAAAAEFIAAAAAABBHAAAAAAAQQgAAAAAAAVNjQQAAAAAAAAAAAAFTY1IAAAAAAAAAAAABU2NHAAAAAAAAAAAAAVNjQgAAAAAAAAAAAAAQQm9yZGVyVGhlbWVDb2xvcgAAAAAAAUJvcmRlclRpbnRBbmRTaGFkZQAAAAAAAAAAAAhJc0ZpbGxlZAABAlBhdHRlcm4AEAAAAG1zb1BhdHRlcm5NaXhlZAACU2hhcGVUeXBlAA4AAABtc29TaGFwZU1peGVkAANMYWJlbE9mZnNldABCAAAAAVgAAAAAAAAAAAABWQAAAAAAAAAAAAFMZW5ndGgAAAAAAAAAAAABTGVuZ3RoU3F1YXJlZAAAAAAAAAAAAAAISXNGb250Qm9sZAAACElzRm9udEl0YWxpYwAACElzRm9udFVuZGVybGluZWQAAAhMYWJlbEhhc0JhY2tncm91bmQAAAJUZXh0QWxpZ25tZW50AAUAAABMZWZ0AAAISGFydmV5QmFsbFZpc2libGUAARBIYXJ2ZXlCYWxsVmFsdWUAAAAAAAJDaGVja0JveFN0YXRlAAUAAABOb25lAAJUcmFmZmljTGlnaHRTdGF0ZQAEAAAAT2ZmAAADTGVmdE5vdGVzUmVuZGVySW5mbwBhFAAAA0xhYmVsAHQGAAAFTWFuYWdlZElkABAAAAAEkoVhdlS/aE6WAFcBhetaowhIYXNDaGFuZ2VzAAEIVXNlTmFtZUluc3RlYWRPZlRhZ0FzSWQAAAhTaGFwZVByZXZpb3VzbHlDcmVhdGVkAAA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AJGaWxsUGF0dGVybgAQAAAAbXNvUGF0dGVybk1peGVkAAJUZXh0AAEAAAA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77AAAABfoAAAD9AAAA5w8AAAAAAAAAAAAAZGVybGluZQAAAAhTaXplVG9UZXh0V2lkdGgAAAhTaXplVG9UZXh0SGVpZ2h0AAADVGV4dE1hcmdpbgA/AAAAAUxlZnQAAAAAAAAAAAABVG9wAAAAAAAAAAAAAVJpZ2h0AAAAAAAAAAAAAUJvdHRvbQAAAAAAAAAAAAACRGlzcGxheVRleHQAAQAAAAABSGVpZ2h0AAAAAAAAAPA/AVdpZHRoAAAAAAAAAPA/AVRvcAAAAAAAjJZxQAFMZWZ0AAAAAEBl9o1ACEZsaXBIb3Jpem9udGFsbHkAAAhGbGlwSG9yaXpvbnRhbGx5QXBwbGllZAAACEZsaXBWZXJ0aWNhbGx5AAAIRmxpcFZlcnRpY2FsbHlBcHBsaWVkAAABUm90YXRpb24AAAAAAAAAAAABWk9yZGVyAAAAAAAAAAA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TZXBhcmF0b3JMaW5lAOEGAAADU3RhcnQAGwAAAAFYAM3MzBYy841AAVkAAAAAwGRteEAAA0VuZAAbAAAAAVgAMzMzfZj5jUABWQAAAADAZG14QAACU3RhcnRBcnJvd0hlYWQAEQAAAG1zb0Fycm93aGVhZE5vbmUAAkVuZEFycm93SGVhZAARAAAAbXNvQXJyb3doZWFkTm9uZQAFTWFuYWdlZElkABAAAAAEqAn8DuDeGkW/Jlqje2F/pAhIYXNDaGFuZ2VzAAEIVXNlTmFtZUluc3RlYWRPZlRhZ0FzSWQAAAhTaGFwZVByZXZpb3VzbHlDcmVhdGVkAAA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AAAAAAAAVdpZHRoAAAAAKCZmek/AVRvcAAAAADAZG14QAFMZWZ0AAAAACAy841ACEZsaXBIb3Jpem9udGFsbHkAAAhGbGlwSG9yaXpvbnRhbGx5QXBwbGllZAAACEZsaXBWZXJ0aWNhbGx5AAAIRmxpcFZlcnRpY2FsbHlBcHBsaWVkAAABUm90YXRpb24AAAAAAAAAAAABWk9yZGVyAAAAAAAAgFVAA0JvcmRlckNvbG9yAFUAAAAQQQD/AAAAEFIA4wAAABBHAOMAAAAQQgDjAAAAAVNjQQAAAAAAAADwPwFTY1IAAAAAwLGU6D8BU2NHAAAAAMCxlOg/AVNjQgAAAADAsZToPwAQQm9yZGVyVGhlbWVDb2xvcgAAAAAAAUJvcmRlclRpbnRBbmRTaGFkZQAAAAAAAAAAABBCb3JkZXJTY2hlbWVDb2xvcgAAAAAAAUJvcmRlclRoaWNrbmVzcwAAAAAAAADw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SZWN0YW5nbGUAdAYAAAJBdXRvU2hhcGVUeXBlAAoAAABSZWN0YW5nbGUABU1hbmFnZWRJZAAQAAAABFYQkZzkaKBOhE0e7hIr1o8ISGFzQ2hhbmdlcwABCFVzZU5hbWVJbnN0ZWFkT2ZUYWdBc0lkAAAIU2hhcGVQcmV2aW91c2x5Q3JlYXRlZAAAA0ZpbGxDb2xvcgBVAAAAEEEAAAAAABBSAP8AAAAQRwD/AAAAEEIA/wAAAAFTY0EAAAAAAAAAAAABU2NSAAAAAAAAAPA/AVNjRwAAAAAAAADwPwFTY0IAAAAAAAAA8D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A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BALQU4QAFXaWR0aAAAAAAAAAAAAAFUb3AAAAAAABLtdkABTGVmdAAAAABAZe6NQAhGbGlwSG9yaXpvbnRhbGx5AAAIRmxpcEhvcml6b250YWxseUFwcGxpZWQAAAhGbGlwVmVydGljYWxseQAACEZsaXBWZXJ0aWNhbGx5QXBwbGllZAAAAVJvdGF0aW9uAAAAAAAAAAAAAVpPcmRlcgAAAAAAAEBV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/AAAAAX2AAAA/gAAAOcPAAAAAAAAAAAAAGVmdEluZGVudAAAAAAAAAAAAAhMaW5lUnVsZUFmdGVyAAAITGluZVJ1bGVCZWZvcmUAAAhMaW5lUnVsZVdpdGhpbgAAAVJpZ2h0SW5kZW50AAAAAAAAAAAAAVNwYWNlQWZ0ZXIAAAAAAAAAAAABU3BhY2VCZWZvcmUAAAAAAAAAAAABU3BhY2VXaXRoaW4AAAAAAAAAAAAABFRyYWZmaWNMaWdodERhdGEABQAAAAAESGFydmV5QmFsbERhdGEABQAAAAACVHJhZmZpY0xpZ2h0U3RhdGUABAAAAE9mZgAEQ2hlY2tCb3hEYXRhAAUAAAAAAkNoZWNrQm94U3RhdGUABQAAAE5vbmUAAANSaWdodE5vdGVzUmVuZGVySW5mbwBhFAAAA0xhYmVsAHQGAAAFTWFuYWdlZElkABAAAAAEcDDefC1j3Eij03f8ilMJswhIYXNDaGFuZ2VzAAEIVXNlTmFtZUluc3RlYWRPZlRhZ0FzSWQAAAhTaGFwZVByZXZpb3VzbHlDcmVhdGVkAAA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AJGaWxsUGF0dGVybgAQAAAAbXNvUGF0dGVybk1peGVkAAJUZXh0AAEAAAA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JEaXNwbGF5VGV4dAABAAAAAAFIZWlnaHQAAAAAAAAA8D8BV2lkdGgAAAAAAAAA8D8BVG9wAAAAAACMlnFAAUxlZnQAAAAAQGX2jU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NlcGFyYXRvckxpbmUA4QYAAANTdGFydAAbAAAAAVgAzczMFjLzjUABWQAAAADAZG14QAADRW5kABsAAAABWAAzMzN9mPmNQAFZAAAAAMBkbXhAAAJTdGFydEFycm93SGVhZAARAAAAbXNvQXJyb3doZWFkTm9uZQACRW5kQXJyb3dIZWFkABEAAABtc29BcnJvd2hlYWROb25lAAVNYW5hZ2VkSWQAEAAAAASJOrnVOB62RYWHe/nIeaj1CEhhc0NoYW5nZXMAAQhVc2VOYW1lSW5zdGVhZE9mVGFnQXNJZAAACFNoYXBlUHJldmlvdXNseUNyZWF0ZWQAAA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oJmZ6T8BVG9wAAAAAMBkbXhAAUxlZnQAAAAAIDLzjUAIRmxpcEhvcml6b250YWxseQAACEZsaXBIb3Jpem9udGFsbHlBcHBsaWVkAAAIRmxpcFZlcnRpY2FsbHkAAAhGbGlwVmVydGljYWxseUFwcGxpZWQAAAFSb3RhdGlvbgAAAAAAAAAAAAFaT3JkZXIAAAAAAACAVUADQm9yZGVyQ29sb3IAVQAAABBBAP8AAAAQUgDjAAAAEEcA4wAAABBCAOMAAAABU2NBAAAAAAAAAPA/AVNjUgAAAADAsZToPwFTY0cAAAAAwLGU6D8BU2NCAAAAAMCxlOg/ABBCb3JkZXJUaGVtZUNvbG9yAAAAAAABQm9yZGVyVGludEFuZFNoYWRlAAAAAAAAAAAAEEJvcmRlclNjaGVtZUNvbG9yAAAAAAABQm9yZGVyVGhpY2tuZXNzAAAAAAAAAPA/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JlY3RhbmdsZQB0BgAAAkF1dG9TaGFwZVR5cGUACgAAAFJlY3RhbmdsZQAFTWFuYWdlZElkABAAAAAErotOEtg2RUq5x/EzSnFKiQhIYXNDaGFuZ2VzAAEIVXNlTmFtZUluc3RlYWRPZlRhZ0FzSWQAAAhTaGFwZVByZXZpb3VzbHlDcmVhdGVkAAADRmlsbENvbG9yAFUAAAAQQQAAAAAAEFIA/wAAABBHAP8AAAAQQgD/AAAAAVNjQQAAAAAAAAAAAAFTY1IAAAAAAAAA8D8BU2NHAAAAAAAAAPA/AVNjQgAAAAAAAADwPwAQRmlsbFRoZW1lQ29sb3IAAAAAAAFGaWxsVGludEFuZFNoYWRlAAAAAAAAAAAAEEZpbGxTY2hlbWVDb2xvcgAAAAAAA1BhdHRlcm5Db2xvcgBVAAAAEEEAAAAAABBSAAAAAAAQRwAAAAAAEP0AAAAF+wAAAAMBAADnDwAAAAAAAAAAAAB1bGVBZnRlcgAACExpbmVSdWxlQmVmb3JlAAAITGluZVJ1bGVXaXRoaW4AAAFSaWdodEluZGVudAAAAAAAAAAAAAFTcGFjZUFmdGVyAAAAAAAAAAAAAVNwYWNlQmVmb3JlAAAAAAAAAAAAAVNwYWNlV2l0aGluAAAAAAAAAAAAAARUcmFmZmljTGlnaHREYXRhAAUAAAAABEhhcnZleUJhbGxEYXRhAAUAAAAAAlRyYWZmaWNMaWdodFN0YXRlAAQAAABPZmYABENoZWNrQm94RGF0YQAFAAAAAAJDaGVja0JveFN0YXRlAAUAAABOb25lAAADUmlnaHROb3Rlc1JlbmRlckluZm8AYRQAAANMYWJlbAB0BgAABU1hbmFnZWRJZAAQAAAABHAw3nwtY9xIo9N3/IpTCbMISGFzQ2hhbmdlcwABCFVzZU5hbWVJbnN0ZWFkT2ZUYWdBc0lkAAAIU2hhcGVQcmV2aW91c2x5Q3JlYXRlZAAA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ACRmlsbFBhdHRlcm4AEAAAAG1zb1BhdHRlcm5NaXhlZAACVGV4dAABAAAA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CRGlzcGxheVRleHQAAQAAAAABSGVpZ2h0AAAAAAAAAPA/AVdpZHRoAAAAAAAAAPA/AVRvcAAAAAAAjJZxQAFMZWZ0AAAAAEBl9o1ACEZsaXBIb3Jpem9udGFsbHkAAAhGbGlwSG9yaXpvbnRhbGx5QXBwbGllZAAACEZsaXBWZXJ0aWNhbGx5AAAIRmxpcFZlcnRpY2FsbHlBcHBsaWVkAAABUm90YXRpb24AAAAAAAAAAAABWk9yZGVyAAAAAAAAAAA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TZXBhcmF0b3JMaW5lAOEGAAADU3RhcnQAGwAAAAFYAM3MzBYy841AAVkAAAAAwGRteEAAA0VuZAAbAAAAAVgAMzMzfZj5jUABWQAAAADAZG14QAACU3RhcnRBcnJvd0hlYWQAEQAAAG1zb0Fycm93aGVhZE5vbmUAAkVuZEFycm93SGVhZAARAAAAbXNvQXJyb3doZWFkTm9uZQAFTWFuYWdlZElkABAAAAAEiTq51TgetkWFh3v5yHmo9QhIYXNDaGFuZ2VzAAEIVXNlTmFtZUluc3RlYWRPZlRhZ0FzSWQAAAhTaGFwZVByZXZpb3VzbHlDcmVhdGVkAAA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AAAAAAAAVdpZHRoAAAAAKCZmek/AVRvcAAAAADAZG14QAFMZWZ0AAAAACAy841ACEZsaXBIb3Jpem9udGFsbHkAAAhGbGlwSG9yaXpvbnRhbGx5QXBwbGllZAAACEZsaXBWZXJ0aWNhbGx5AAAIRmxpcFZlcnRpY2FsbHlBcHBsaWVkAAABUm90YXRpb24AAAAAAAAAAAABWk9yZGVyAAAAAAAAgFVAA0JvcmRlckNvbG9yAFUAAAAQQQD/AAAAEFIA4wAAABBHAOMAAAAQQgDjAAAAAVNjQQAAAAAAAADwPwFTY1IAAAAAwLGU6D8BU2NHAAAAAMCxlOg/AVNjQgAAAADAsZToPwAQQm9yZGVyVGhlbWVDb2xvcgAAAAAAAUJvcmRlclRpbnRBbmRTaGFkZQAAAAAAAAAAABBCb3JkZXJTY2hlbWVDb2xvcgAAAAAAAUJvcmRlclRoaWNrbmVzcwAAAAAAAADw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SZWN0YW5nbGUAdAYAAAJBdXRvU2hhcGVUeXBlAAoAAABSZWN0YW5nbGUABU1hbmFnZWRJZAAQAAAABK6LThLYNkVKucfxM0pxSokISGFzQ2hhbmdlcwABCFVzZU5hbWVJbnN0ZWFkT2ZUYWdBc0lkAAAIU2hhcGVQcmV2aW91c2x5Q3JlYXRlZAAAA0ZpbGxDb2xvcgBVAAAAEEEAAAAAABBSAP8AAAAQRwD/AAAAEEIA/wAAAAFTY0EAAAAAAAAAAAABU2NSAAAAAAAAAPA/AVNjRwAAAAAAAADwPwFTY0IAAAAAAAAA8D8AEEZpbGxUaGVtZUNvbG9yAAAAAAABRmlsbFRpbnRBbmRTaGFkZQAAAAAAAAAAABBGaWxsU2NoZW1lQ29sb3IAAAAAAANQYXR0ZXJuQ29sb3IAVQAAABBBAAAAAAAQUgAAAAAAEEcAAAAAABBCAAAAAAABU2NBAAAAAAAAAAAAAVNjUgD+AAAABfwAAAD/AAAA5w8AAAAAAAAAAAAAQgAAAAAAAVNjQQAAAAAAAAAAAAFTY1IAAAAAAAAAAAABU2NHAAAAAAAAAAAAAVNjQgAAAAAAAAAAAAAQUGF0dGVyblRoZW1lQ29sb3IAAAAAAAFQYXR0ZXJuVGludEFuZFNoYWRlAAAAAAAAAAAACEZpbGxWaXNpYmxlAAEIVmlzaWJsZQAA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QC0FOEABV2lkdGgAAAAAAAAAAAABVG9wAAAAAAAS7XZAAUxlZnQAAAAAQGXujUAIRmxpcEhvcml6b250YWxseQAACEZsaXBIb3Jpem9udGFsbHlBcHBsaWVkAAAIRmxpcFZlcnRpY2FsbHkAAAhGbGlwVmVydGljYWxseUFwcGxpZWQAAAFSb3RhdGlvbgAAAAAAAAAAAAFaT3JkZXIAAAAAAABAVU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BFRyYWZmaWNMaWdodERhdGEABQAAAAAESGFydmV5QmFsbERhdGEABQAAAAACVHJhZmZpY0xpZ2h0U3RhdGUABAAAAE9mZgAEQ2hlY2tCb3hEYXRhAAUAAAAAAkNoZWNrQm94U3RhdGUABQAAAE5vbmUAAANMZWZ0U2lkZVJlbmRlckluZm8AIRQAAANMYWJlbACmBgAABU1hbmFnZWRJZAAQAAAABMY03Xr+d6FGgglf+DmkdkIISGFzQ2hhbmdlcwAACFVzZU5hbWVJbnN0ZWFkT2ZUYWdBc0lkAAAIU2hhcGVQcmV2aW91c2x5Q3JlYXRlZAAB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AAJAAAAU3ByaW50IDIAAlRleHRIb3Jpem9udGFsQWxpZ25tZW50AA4AAABtc29BbmNob3JOb25lAAJQYXJhZ3JhcGhBbGlnbm1lbnQADQAAAG1zb0FsaWduTGVmdAACVGV4dFZlcnRpY2FsQWxpZ25tZW50ABAAAABtc29BbmNob3JNaWRkbGUAA0ZvbnRTdHlsZQBAAQAAEEZvbnRCYWNrZ3JvdW5kAAAAAAAIRm9udEJvbGQAAANGb250Q29sb3IAVQAAABBBAP8AAAAQUgAQAAAAEEcAOAAAABBCAE8AAAABU2NBAAAAAAAAAPA/AVNjUgAAAADgNjl1PwFTY0cAAAAAgGc/pD8BU2NCAAAAAGAXBLQ/ABBGb250VGhlbWVDb2xvcgAAAAAAAUZvbnRUaW50QW5kU2hhZGUAAAAAAAAAAAAQRm9udFNjaGVtZUNvbG9yAAAAAAAIRm9udEl0YWxpYwAAAkZvbnROYW1lAAYAAABBcmlhbAABRm9udFNpemUAAAAAAAAAJEAIRm9udFN0cmlrZXRocm91Z2gAAAhGb250U3Vic2NyaXB0AAAIRm9udFN1cGVyc2NyaXB0AAAIRm9udFVuZGVybGluZQAAAAhTaXplVG9UZXh0V2lkdGgAAAhTaXplVG9UZXh0SGVpZ2h0AAADVGV4dE1hcmdpbgA/AAAAAUxlZnQAAAAAAAAAAAABVG9wAAAAAAAAAAAAAVJpZ2h0AAAAAAAAAAAAAUJvdHRvbQAAAAAAAAAAAAACRGlzcGxheVRleHQACQAAAFNwcmludCAyAAFIZWlnaHQAAAAAYN8LJ0ABV2lkdGgAAAAAAHR6Q0ABVG9wAAAAAOALUXdAAUxlZnQAAAAAQElcN0AIRmxpcEhvcml6b250YWxseQAACEZsaXBIb3Jpem9udGFsbHlBcHBsaWVkAAAIRmxpcFZlcnRpY2FsbHkAAAhGbGlwVmVydGljYWxseUFwcGxpZWQAAAFSb3RhdGlvbgAAAAAAAAAAAAFaT3JkZXIAAAAAAAAAPk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JlY3RhbmdsZQB0BgAAAkF1dG9TaGFwZVR5cGUACgAAAFJlY3RhbmdsZQAFTWFuYWdlZElkABAAAAAECO3AD/nZJ0qu5QzpwSKa4ghIYXNDaGFuZ2VzAAAIVXNlTmFtZUluc3RlYWRPZlRhZ0FzSWQAAAhTaGFwZVByZXZpb3VzbHlDcmVhdGVkAAADRmlsbENvbG9yAFUAAAAQQQAAAAAAEFIA/wAAABBHAP8AAAAQQgD/AAAAAVNjQQAAAAAAAAAAAAFTY1IAAAAAAAAA8D8BU2NHAAAAAAAAAPA/AVNjQgAAAAAAAADwP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A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/wAAAAX+AAAAAAEAAOcPAAAAAAAAAAAAAHBlcnNjcmlwdAAACEZvbnRVbmRlcmxpbmUAAAAIU2l6ZVRvVGV4dFdpZHRoAAAIU2l6ZVRvVGV4dEhlaWdodAAAA1RleHRNYXJnaW4APwAAAAFMZWZ0AAAAAAAAAAAAAVRvcAAAAAAAAAAAAAFSaWdodAAAAAAAAAAAAAFCb3R0b20AAAAAAAAAAAAAAUhlaWdodAAAAABALQU4QAFXaWR0aAAAAAAAg9uNQAFUb3AAAAAAABLtdkABTGVmdAAAAAAASuIKQAhGbGlwSG9yaXpvbnRhbGx5AAAIRmxpcEhvcml6b250YWxseUFwcGxpZWQAAAhGbGlwVmVydGljYWxseQAACEZsaXBWZXJ0aWNhbGx5QXBwbGllZAAAAVJvdGF0aW9uAAAAAAAAAAAAAVpPcmRlcgAAAAAAAAAm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2VwYXJhdG9yTGluZQDhBgAAA1N0YXJ0ABsAAAABWADNzMzMFq8HQAFZAPcrMMVkbXhAAANFbmQAGwAAAAFYADMzM32Y+Y1AAVkA9yswxWRteEAAAlN0YXJ0QXJyb3dIZWFkABEAAABtc29BcnJvd2hlYWROb25lAAJFbmRBcnJvd0hlYWQAEQAAAG1zb0Fycm93aGVhZE5vbmUABU1hbmFnZWRJZAAQAAAABG8TAgoORo5CjXQa6ZRIqPUISGFzQ2hhbmdlcwAACFVzZU5hbWVJbnN0ZWFkT2ZUYWdBc0lkAAAIU2hhcGVQcmV2aW91c2x5Q3JlYXRlZAAA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Bg6eGNQAFUb3AAAAAAwGRteEABTGVmdAAAAADAFq8HQAhGbGlwSG9yaXpvbnRhbGx5AAAIRmxpcEhvcml6b250YWxseUFwcGxpZWQAAAhGbGlwVmVydGljYWxseQAACEZsaXBWZXJ0aWNhbGx5QXBwbGllZAAAAVJvdGF0aW9uAAAAAAAAAAAAAVpPcmRlcgAAAAAAAAAoQANCb3JkZXJDb2xvcgBVAAAAEEEA/wAAABBSAOMAAAAQRwDjAAAAEEIA4wAAAAFTY0EAAAAAAAAA8D8BU2NSAAAAAMCxlOg/AVNjRwAAAADAsZToPwFTY0IAAAAAwLGU6D8AEEJvcmRlclRoZW1lQ29sb3IAAAAAAAFCb3JkZXJUaW50QW5kU2hhZGUAAAAAAAAAAAAQQm9yZGVyU2NoZW1lQ29sb3IAAAAAAAFCb3JkZXJUaGlja25lc3MAAAAAAAAA8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AAAMyADaCAAAQX2lkAAwAAAAESXRlbXMAgDYAAAMwAHMcAAACX3R5cGUASwAAAGVtcG93ZXIuQ2hhcnRzLkRhdGEuR2FudHQuQ2hyb25vbG9neS5EYXRhLkJhclRhc2tEYXRhLCBlbXBvd2VyLkNoYXJ0cy5EYXRhAAJMYWJlbFBvc2l0aW9uAAcAAABDZW50ZXIACElzTGFiZWxJbnNpZGVCb3VuZHMAAQNTdHlsZQBbBAAAAURlZmF1bHRGb250U2l6ZQAAAAAAAAAkQAFGb250U2l6ZQAAAAAAAAAgQANGb250Q29sb3IAVQAAABBBAP8AAAAQUgAQAAAAEEcAOAAAABBCAE8AAAABU2NBAAAAAAAAAPA/AVNjUgAAAADgNjl1PwFTY0cAAAAAgGc/pD8BU2NCAAAAAGAXBLQ/ABBGb250VGhlbWVDb2xvcgAAAAAAEEZvbnRTY2hlbWVDb2xvcgAAAAAAAUZvbnRUaW50QW5kU2hhZGUAAAAAAAAAAAADUGF0dGVybkNvbG9yAFUAAAAQQQAAAAAAEFIAAAAAABBHAAAAAAAQQgAAAAAAAVNjQQAAAAAAAAAAAAFTY1IAAAAAAAAAAAABU2NHAAAAAAAAAAAAAVNjQgAAAAAAAAAAAAAQUGF0dGVyblRoZW1lQ29sb3IAAAAAAAFQYXR0ZXJuVGludEFuZFNoYWRlAAAAAAAAAAAAA0RhdGFTdHlsZUZvbnRDb2xvclZhbHVlAFUAAAAQQQAAAAAAEFIAAAAAABBHAAAAAAAQQgAAAAAAAVNjQQAAAAAAAAAAAAFTY1IAAAAAAAAAAAABU2NHAAAAAAAAAAAAAVNjQgAAAAAAAAAAAAAIRGF0YVN0eWxlRm9udENvbG9ySGFzVmFsdWUAAAFIZWlnaHQAAAAA4N0yKEACRGFzaFN0eWxlAA0AAABtc29MaW5lU29saWQACEhhc1dpc2hGaWxsQ29sb3IAAANGaWxsQ29sb3IAVQAAABBBAP8AAAAQUgCZAAAAEEcA0wAAABBCAPIAAAABU2NBAAAAAAAAAPA/AVNjUgAAAAAgEmPUPwFTY0cAAAAAoFDY5D8BU2NCAAAAAMDdaew/ABBGaWxsU2NoZW1lQ29sb3IAAAAAABBGaWxsVGhlbWVDb2xvcgAAAAAAAUZpbGxUaW50QW5kU2hhZGUAAAAAAAAAAAADQm9yZGVyQ29sb3IAVQAAABBBAAAAAAAQUgAAAAAAEEcAAAAAABBCAAAAAAABU2NBAAAAAAAAAAAAAVNjUgAAAAAAAAAAAAFTY0cAAAAAAAAAAAABU2NCAAAAAAAAAAAAABBCb3JkZXJUaGVtZUNvbG9yAAAAAAABQm9yZGVyVGludEFuZFNoYWRlAAAAAAAAAAAACElzRmlsbGVkAAECUGF0dGVybgAQAAAAbXNvUGF0dGVybk1peGVkAAJTaGFwZVR5cGUADgAAAG1zb1NoYXBlTWl4ZWQAA0xhYmVsT2Zmc2V0AEIAAAABWAAAAAAAAAAAAAFZAAAAAAAAAAAAAUxlbmd0aAAAAAAAAAAAAAFMZW5ndGhTcXVhcmVkAAAAAAAAAAAAAAhJc0ZvbnRCb2xkAAAISXNGb250SXRhbGljAAAISXNGb250VW5kZXJsaW5lZAAACExhYmVsSGFzQmFja2dyb3VuZAAAAlRleHRBbGlnbm1lbnQABQAAAExlZnQAAAhEaXNwbGF5TGFiZWwAAQNSZW5kZXJJbmZvAPUWAAADUmVjdGFuZ2xlRnJlZWZvcm0A/AgAAARWZXJ0aWNlcwCbAgAAAzAALAAAABBJbmRleDAAAAAAABBJbmRleDEAAAAAAAFWYWx1ZQAAAAAgPQF3QAADMQAsAAAAEEluZGV4MAAAAAAAEEluZGV4MQABAAAAAVZhbHVlAAAAAMDC3HhAAAMyACwAAAAQSW5kZXgwAAEAAAAQSW5kZXgxAAAAAAABVmFsdWUAAAAAID0Bd0AAAzMALAAAABBJbmRleDAAAQAAABBJbmRleDEAAQAAAAFWYQABAAAF/wAAAAEBAADnDwAAAAAAAAAAAABsdWUAAAAAQI49eUAAAzQALAAAABBJbmRleDAAAgAAABBJbmRleDEAAAAAAAFWYWx1ZQAAAAAgPQF3QAADNQAsAAAAEEluZGV4MAACAAAAEEluZGV4MQABAAAAAVZhbHVlAAAAAKBZnnlAAAM2ACwAAAAQSW5kZXgwAAMAAAAQSW5kZXgxAAAAAAABVmFsdWUAAAAAwKuhfUAAAzcALAAAABBJbmRleDAAAwAAABBJbmRleDEAAQAAAAFWYWx1ZQAAAACgWZ55QAADOAAsAAAAEEluZGV4MAAEAAAAEEluZGV4MQAAAAAAAVZhbHVlAAAAAMCroX1AAAM5ACwAAAAQSW5kZXgwAAQAAAAQSW5kZXgxAAEAAAABVmFsdWUAAAAAQI49eUAAAzEwACwAAAAQSW5kZXgwAAUAAAAQSW5kZXgxAAAAAAABVmFsdWUAAAAAwKuhfUAAAzExACwAAAAQSW5kZXgwAAUAAAAQSW5kZXgxAAEAAAABVmFsdWUAAAAAwMLceEAAAzEyACwAAAAQSW5kZXgwAAYAAAAQSW5kZXgxAAAAAAABVmFsdWUAAAAAID0Bd0AAAzEzACwAAAAQSW5kZXgwAAYAAAAQSW5kZXgxAAEAAAABVmFsdWUAAAAAwMLceEAAAAVNYW5hZ2VkSWQAEAAAAASygM0+Huf2Q6cLOlO3jCBVCEhhc0NoYW5nZXMAAAhVc2VOYW1lSW5zdGVhZE9mVGFnQXNJZAAACFNoYXBlUHJldmlvdXNseUNyZWF0ZWQAAANGaWxsQ29sb3IAVQAAABBBAP8AAAAQUgCZAAAAEEcA0wAAABBCAPIAAAABU2NBAAAAAAAAAPA/AVNjUgAAAAAgEmPUPwFTY0cAAAAAoFDY5D8BU2NCAAAAAMDdaew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wN0yKEABV2lkdGgAAAAAwLqBWkABVG9wAAAAAMDC3HhAAUxlZnQAAAAAID0Bd0AIRmxpcEhvcml6b250YWxseQAACEZsaXBIb3Jpem9udGFsbHlBcHBsaWVkAAAIRmxpcFZlcnRpY2FsbHkAAAhGbGlwVmVydGljYWxseUFwcGxpZWQAAAFSb3RhdGlvbgAAAAAAAAAAAAFaT3JkZXIAAAAAAACAUUADQm9yZGVyQ29sb3IAVQAAABBBAP8AAAAQUgD/AAAAEEcA/wAAABBCAP8AAAABU2NBAAAAAAAAAPA/AVNjUgAAAAAAAADwPwFTY0cAAAAAAAAA8D8BU2NCAAAAAAAAAPA/ABBCb3JkZXJUaGVtZUNvbG9yAAAAAAABQm9yZGVyVGludEFuZFNoYWRlAAAAAAAAAAAAEEJvcmRlclNjaGVtZUNvbG9yAAAAAAABQm9yZGVyVGhpY2tuZXNzAAAAAAAAAPA/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JhclN0eWxlRGF0YQAmAAAAAkJhclN0eWxlU2hhcGVUeXBlAAoAAABSZWN0YW5nbGUAAANMYWJlbACyBgAABU1hbmFnZWRJZAAQAAAABK+XuH2TK3BAvzfNVAn3OPUISGFzQ2hhbmdlcwAACFVzZU5hbWVJbnN0ZWFkT2ZUYWdBc0lkAAAIU2hhcGVQcmV2aW91c2x5Q3JlYXRlZAABA0ZpbGxDb2xvcgBVAAAAEEEA/wAAABBSAJkAAAAQRwDTAAAAEEIA8gAAAAFTY0EAAAAAAAAA8D8BU2NSAAAAACASY9Q/AVNjRwAAAACgUNjkPwFTY0IAAAAAwN1p7D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AAOAAAARGF0YSBDb2xlY3RvcgACVGV4dEhvcml6b250YWxBbGlnbm1lbnQADgAAAG1zb0FuY2hvck5vbmUAAlBhcmFncmFwaEFsaWdubWVudAAPAAAAbXNvQWxpZ25DZW50ZXIAAlRleHRWZXJ0aWNhbEFsaWdubWVudAAQAAAAbXNvQW5jaG9yTWlkZGxlAANGb250U3R5bGUAQAEAABBGb250QmFja2dyb3VuZAAAAAAACEZvbnRCb2xkAAADRm9udENvbG9yAFUAAAAQQQD/AAAAEFIAEAAAABBHADgAAAAQQgBPAAAAAVNjQQAAAAAAAADwPwFTY1IAAAAA4DY5dT8BU2NHAAAAAIBnP6Q/AVNjQgAAAABgFwS0PwAQRm9udFRoZW1lQ29sb3IAAAAAAAFGb250VGludEFuZFNoYWRlAAAAAAAAAAAAEEZvbnRTY2hlbWVDb2xvcgAAAAAACEZvbnRJdGFsaWMAAAJGb250TmFtZQAGAAAAQXJpYWwAAUZvbnRTaXplAAAAAAAAACBACEZvbnRTdHJpa2V0aHJvdWdoAAAIRm9udFN1YnNjcmlwdAAACEZvbnRTdXBlcnNjcmlwdAAACEZvbnRVbmRlcmxpbmUAAAAIU2l6ZVRvVGV4dFdpZHRoAAAIU2l6ZVRvVGV4dEhlaWdodAAAA1RleHRNYXJnaW4APwAAAAFMZWZ0AAAAAAAAAAAAAVRvcAAAAAAAAAAAAAFSaWdodAAAAAAAAAAAAAFCb3R0b20AAAAAAAAAAAAAAkRpc3BsYXlUZXh0AA4AAABEYXRhIENvbGVjdG9yAAFIZWlnaHQAAAAAABZcI0ABV2lkdGgAAAAAIOi0SEABVG9wAAAAAOAd8HhAAUxlZnQAAAAAACbGeEAIRmxpcEhvcml6b250YWxseQAACEZsaXBIb3Jpem9udGFsbHlBcHBsaWVkAAAIRmxpcFZlcnRpY2FsbHkAAAhGbGlwVmVydGljYWxseUFwcGxpZWQAAAFSb3RhdGlvbgAAAAAAAAAAAAFaT3JkZXIAAAAAAAAAUk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Nvbm5lY3RvckxpbmVEYXRhAOEGAAADU3RhcnQAGwAAAAFYAAAAACA9AXdAAVkAAAAAwMLceEAAA0VuZAAbAAAAAVgAAAAAID0Bd0ABWQAAAADAwtx4QAACU3RhcnRBcnJvd0hlYWQAEQAAAG1zb0Fycm93aGVhZE5vbmUAAkVuZEFycm93SGVhZAARAAAAbXNvQXJyb3doZWFkTm9uZQAFTWFuYWdlZElkABAAAAAEy4y21S5LM0m9SebPQYkBAQAABQABAAACAQAA5w8AAAAAAAAAAAAALqMISGFzQ2hhbmdlcwAACFVzZU5hbWVJbnN0ZWFkT2ZUYWdBc0lkAAAIU2hhcGVQcmV2aW91c2x5Q3JlYXRlZAAA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A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AAAAAAAAFUb3AAAAAAwMLceEABTGVmdAAAAAAgPQF3QAhGbGlwSG9yaXpvbnRhbGx5AAAIRmxpcEhvcml6b250YWxseUFwcGxpZWQAAAhGbGlwVmVydGljYWxseQAACEZsaXBWZXJ0aWNhbGx5QXBwbGllZAAAAVJvdGF0aW9uAAAAAAAAAAAAAVpPcmRlcgAAAAAAAMBRQANCb3JkZXJDb2xvcgBVAAAAEEEA/wAAABBSAJkAAAAQRwDTAAAAEEIA8gAAAAFTY0EAAAAAAAAA8D8BU2NSAAAAACASY9Q/AVNjRwAAAACgUNjkPwFTY0IAAAAAwN1p7D8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ACUVuZFRpbWUAABOuQ5ABAAAQSW5kZXgAAQAAAAJEZXNjcmlwdGlvbgAOAAAARGF0YSBDb2xlY3RvcgACTmFtZQAFAAAAVGFzawAISXNMZWFkZXJMaW5lSW5BdXRvTW9kZQABCVN0YXJ0VGltZQAA467cjwEAAAADMQACGgAAAl90eXBlAE0AAABlbXBvd2VyLkNoYXJ0cy5EYXRhLkdhbnR0LkNocm9ub2xvZ3kuRGF0YS5NaWxlc3RvbmVEYXRhLCBlbXBvd2VyLkNoYXJ0cy5EYXRhAANTdHlsZQB2BAAAAURlZmF1bHRGb250U2l6ZQAAAAAAAAAkQAFGb250U2l6ZQAAAAAAAAAgQANGb250Q29sb3IAVQAAABBBAP8AAAAQUgAQAAAAEEcAOAAAABBCAE8AAAABU2NBAAAAAAAAAPA/AVNjUgAAAADgNjl1PwFTY0cAAAAAgGc/pD8BU2NCAAAAAGAXBLQ/ABBGb250VGhlbWVDb2xvcgAAAAAAEEZvbnRTY2hlbWVDb2xvcgAAAAAAAUZvbnRUaW50QW5kU2hhZGUAAAAAAAAAAAADUGF0dGVybkNvbG9yAFUAAAAQQQAAAAAAEFIAAAAAABBHAAAAAAAQQgAAAAAAAVNjQQAAAAAAAAAAAAFTY1IAAAAAAAAAAAABU2NHAAAAAAAAAAAAAVNjQgAAAAAAAAAAAAAQUGF0dGVyblRoZW1lQ29sb3IAAAAAAAFQYXR0ZXJuVGludEFuZFNoYWRlAAAAAAAAAAAAA0RhdGFTdHlsZUZvbnRDb2xvclZhbHVlAFUAAAAQQQAAAAAAEFIAAAAAABBHAAAAAAAQQgAAAAAAAVNjQQAAAAAAAAAAAAFTY1IAAAAAAAAAAAABU2NHAAAAAAAAAAAAAVNjQgAAAAAAAAAAAAAIRGF0YVN0eWxlRm9udENvbG9ySGFzVmFsdWUAAAFIZWlnaHQAAAAA4N0yKEACRGFzaFN0eWxlAA0AAABtc29MaW5lU29saWQACEhhc1dpc2hGaWxsQ29sb3IAAANGaWxsQ29sb3IAVQAAABBBAP8AAAAQUgAAAAAAEEcAkQAAABBCAN8AAAABU2NBAAAAAAAAAPA/AVNjUgAAAAAAAAAAAAFTY0cAAAAAABwf0j8BU2NCAAAAAGD2nOc/ABBGaWxsU2NoZW1lQ29sb3IAAAAAABBGaWxsVGhlbWVDb2xvcgAAAAAAAUZpbGxUaW50QW5kU2hhZGUAAAAAAAAAAAADQm9yZGVyQ29sb3IAVQAAABBBAP8AAAAQUgD/AAAAEEcA/wAAABBCAP8AAAABU2NBAAAAAAAAAPA/AVNjUgAAAAAAAADwPwFTY0cAAAAAAAAA8D8BU2NCAAAAAAAAAPA/ABBCb3JkZXJUaGVtZUNvbG9yAAAAAAABQm9yZGVyVGludEFuZFNoYWRlAAAAAAAAAAAACElzRmlsbGVkAAECUGF0dGVybgAQAAAAbXNvUGF0dGVybk1peGVkAAJTaGFwZVR5cGUAEAAAAG1zb1NoYXBlRGlhbW9uZAADTGFiZWxPZmZzZXQAQgAAAAFYAAAAAAAAAAAAAVkAEMS2Y5CyM8ABTGVuZ3RoABDEtmOQsjNAAUxlbmd0aFNxdWFyZWQAeLmTvt8/eEAAAUJvcmRlclRoaWNrbmVzcwAAAAAAAADwPwhJc0ZvbnRCb2xkAAAISXNGb250SXRhbGljAAAISXNGb250VW5kZXJsaW5lZAAACExhYmVsSGFzQmFja2dyb3VuZAAAAlRleHRBbGlnbm1lbnQABQAAAExlZnQAAAhEaXNwbGF5TGFiZWwAAQhMYWJlbEhhc0JhY2tncm91bmQAAANSZW5kZXJJbmZvAE8UAAADU3ltYm9sAHIGAAACQXV0b1NoYXBlVHlwZQAIAAAARGlhbW9uZAAFTWFuYWdlZElkABAAAAAEMmX9P2LguEW84uPPA88HpAhIYXNDaGFuZ2VzAAAIVXNlTmFtZUluc3RlYWRPZlRhZ0FzSWQAAAhTaGFwZVByZXZpb3VzbHlDcmVhdGVkAAADRmlsbENvbG9yAFUAAAAQQQD/AAAAEFIAAAAAABBHAJEAAAAQQgDfAAAAAVNjQQAAAAAAAADwPwFTY1IAAAAAAAAAAAABU2NHAAAAAAAcH9I/AVNjQgAAAABg9pznP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MDdMihAAVdpZHRoAAAAAMDdAgEAAAUBAQAACQEAAOcPAAAAAAAAAAAAADIoQAFUb3AAAAAAwMLceEABTGVmdAAAAABg4EB9QAhGbGlwSG9yaXpvbnRhbGx5AAAIRmxpcEhvcml6b250YWxseUFwcGxpZWQAAAhGbGlwVmVydGljYWxseQAACEZsaXBWZXJ0aWNhbGx5QXBwbGllZAAAAVJvdGF0aW9uAAAAAAAAAAAAAVpPcmRlcgAAAAAAAIBUQANCb3JkZXJDb2xvcgBVAAAAEEEA/wAAABBSAP8AAAAQRwD/AAAAEEIA/wAAAAFTY0EAAAAAAAAA8D8BU2NSAAAAAAAAAPA/AVNjRwAAAAAAAADwPwFTY0IAAAAAAAAA8D8AEEJvcmRlclRoZW1lQ29sb3IAAAAAAAFCb3JkZXJUaW50QW5kU2hhZGUAAAAAAAAAAAAQQm9yZGVyU2NoZW1lQ29sb3IAAAAAAAFCb3JkZXJUaGlja25lc3MAAAAAAAAA8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TGFiZWwA2QYAAAVNYW5hZ2VkSWQAEAAAAARRLXHs+vo7Q5RICf3AID/nCEhhc0NoYW5nZXMAAAhVc2VOYW1lSW5zdGVhZE9mVGFnQXNJZAAACFNoYXBlUHJldmlvdXNseUNyZWF0ZWQAAQNGaWxsQ29sb3IAVQAAABBBAP8AAAAQUgAAAAAAEEcAkQAAABBCAN8AAAABU2NBAAAAAAAAAPA/AVNjUgAAAAAAAAAAAAFTY0cAAAAAABwf0j8BU2NCAAAAAGD2nO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QAKAAAADbigIsvMjMvMjAy4oCLNCBIaXN0b3JpemFjacOzbiBkZSBEYXRvcwACVGV4dEhvcml6b250YWxBbGlnbm1lbnQADgAAAG1zb0FuY2hvck5vbmUAAlBhcmFncmFwaEFsaWdubWVudAACAAAAMAACVGV4dFZlcnRpY2FsQWxpZ25tZW50ABAAAABtc29BbmNob3JNaWRkbGUAA0ZvbnRTdHlsZQBAAQAAEEZvbnRCYWNrZ3JvdW5kAAAAAAAIRm9udEJvbGQAAANGb250Q29sb3IAVQAAABBBAP8AAAAQUgAQAAAAEEcAOAAAABBCAE8AAAABU2NBAAAAAAAAAPA/AVNjUgAAAADgNjl1PwFTY0cAAAAAgGc/pD8BU2NCAAAAAGAXBLQ/ABBGb250VGhlbWVDb2xvcgAAAAAAAUZvbnRUaW50QW5kU2hhZGUAAAAAAAAAAAAQRm9udFNjaGVtZUNvbG9yAAAAAAAIRm9udEl0YWxpYwAAAkZvbnROYW1lAAYAAABBcmlhbAABRm9udFNpemUAAAAAAAAAIEAIRm9udFN0cmlrZXRocm91Z2gAAAhGb250U3Vic2NyaXB0AAAIRm9udFN1cGVyc2NyaXB0AAAIRm9udFVuZGVybGluZQAAAAhTaXplVG9UZXh0V2lkdGgAAAhTaXplVG9UZXh0SGVpZ2h0AAADVGV4dE1hcmdpbgA/AAAAAUxlZnQAAAAAAAAAAAABVG9wAAAAAAAAAAAAAVJpZ2h0AAAAAAAAAAAAAUJvdHRvbQAAAAAAAAAAAAACRGlzcGxheVRleHQAKAAAADbigIsvMjMvMjAy4oCLNCBIaXN0b3JpemFjacOzbiBkZSBEYXRvcwABSGVpZ2h0AAAAAOCxSyVAAVdpZHRoAAAAAACsNGBAAVRvcAAAAAAgZQJ4QAFMZWZ0AAAAAOCroX1ACEZsaXBIb3Jpem9udGFsbHkAAAhGbGlwSG9yaXpvbnRhbGx5QXBwbGllZAAACEZsaXBWZXJ0aWNhbGx5AAAIRmxpcFZlcnRpY2FsbHlBcHBsaWVkAAABUm90YXRpb24AAAAAAAAAAAABWk9yZGVyAAAAAAAAwFR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Db25uZWN0b3JMaW5lAOEGAAADU3RhcnQAGwAAAAFYAAAAAGDgQH1AAVkAAAAAwMLceEAAA0VuZAAbAAAAAVgAAAAAYOBAfUABWQAAAADAwtx4QAACU3RhcnRBcnJvd0hlYWQAEQAAAG1zb0Fycm93aGVhZE5vbmUAAkVuZEFycm93SGVhZAARAAAAbXNvQXJyb3doZWFkTm9uZQAFTWFuYWdlZElkABAAAAAE3820hYGTHkmreC0PHyU1HAhIYXNDaGFuZ2VzAAAIVXNlTmFtZUluc3RlYWRPZlRhZ0FzSWQAAAhTaGFwZVByZXZpb3VzbHlDcmVhdGVkAAA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A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AAAAAAAAVdpZHRoAAAAAAAAAAAAAVRvcAAAAADAwtx4QAFMZWZ0AAAAAGDgQH1ACEZsaXBIb3Jpem9udGFsbHkAAAhGbGlwSG9yaXpvbnRhbGx5QXBwbGllZAAACEZsaXBWZXJ0aWNhbGx5AAAIRmxpcFZlcnRpY2FsbHlBcHBsaWVkAAABUm90YXRpb24AAAAAAAAAAAABWk9yZGVyAAAAAAAAQFRAA0JvcmRlckNvbG9yAFUAAAAQQQD/AAAAEFIAAAAAABBHAJEAAAAQQgDfAAAAAVNjQQAAAAAAAADwPwFTY1IAAAAAAAAAAAABU2NHAAAAAAAcH9I/AVNjQgAAAABg9pznPwAQQm9yZGVyVGhlbWVDb2xvcgAAAAAAAUJvcmRlclRpbnRBbmRTaGFkZQAAAAAAAAAAABBCb3JkZXJTY2hlbWVDb2xvcgAAAAAAAUJvcmRlclRoaWNrbmVzcwAAAAAAAADgPwJMaW5lRGFzaFN0eWxlAAoAAABMaW5lU29saWQAAUZpcnN0TGluZUluZGVudAAAAAAAAAAAAAhIYW5naW5nUHVuY3R1YXRpb24AABBJbmRlbnRMZXZlbAAAAAAAAUxlZnRJbmRlbnQAAAAAAAAAAAAITGluZVJ1bGVBZnRlcgAACExpbmVSdWxlQmVmb3JlAAAITGluZVJ1bGVXaXRoaW4AAAFSaWdodEluZGVudAAAAAAAAAAAAAFTcGFjZQMBAAAF/QAAAAQBAADnDwAAAAAAAAAAAAAAAAAAAAAAAAFTY0cAAAAAAAAAAAABU2NCAAAAAAAAAAAAABBQYXR0ZXJuVGhlbWVDb2xvcgAAAAAAAVBhdHRlcm5UaW50QW5kU2hhZGUAAAAAAAAAAAAIRmlsbFZpc2libGUAAQhWaXNpYmxlAAA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BALQU4QAFXaWR0aAAAAAAAAAAAAAFUb3AAAAAAABLtdkABTGVmdAAAAABAZe6NQAhGbGlwSG9yaXpvbnRhbGx5AAAIRmxpcEhvcml6b250YWxseUFwcGxpZWQAAAhGbGlwVmVydGljYWxseQAACEZsaXBWZXJ0aWNhbGx5QXBwbGllZAAAAVJvdGF0aW9uAAAAAAAAAAAAAVpPcmRlcgAAAAAAAEBV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EVHJhZmZpY0xpZ2h0RGF0YQAFAAAAAARIYXJ2ZXlCYWxsRGF0YQAFAAAAAAJUcmFmZmljTGlnaHRTdGF0ZQAEAAAAT2ZmAARDaGVja0JveERhdGEABQAAAAACQ2hlY2tCb3hTdGF0ZQAFAAAATm9uZQAAA0xlZnRTaWRlUmVuZGVySW5mbwAhFAAAA0xhYmVsAKYGAAAFTWFuYWdlZElkABAAAAAExjTdev53oUaCCV/4OaR2QghIYXNDaGFuZ2VzAAAIVXNlTmFtZUluc3RlYWRPZlRhZ0FzSWQAAAhTaGFwZVByZXZpb3VzbHlDcmVhdGVkAAE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AAkAAABTcHJpbnQgMgACVGV4dEhvcml6b250YWxBbGlnbm1lbnQADgAAAG1zb0FuY2hvck5vbmUAAlBhcmFncmFwaEFsaWdubWVudAANAAAAbXNvQWxpZ25MZWZ0AAJUZXh0VmVydGljYWxBbGlnbm1lbnQAEAAAAG1zb0FuY2hvck1pZGRsZQADRm9udFN0eWxlAEABAAAQRm9udEJhY2tncm91bmQAAAAAAAhGb250Qm9sZAAAA0ZvbnRDb2xvcgBVAAAAEEEA/wAAABBSABAAAAAQRwA4AAAAEEIATwAAAAFTY0EAAAAAAAAA8D8BU2NSAAAAAOA2OXU/AVNjRwAAAACAZz+kPwFTY0IAAAAAYBcEtD8AEEZvbnRUaGVtZUNvbG9yAAAAAAABRm9udFRpbnRBbmRTaGFkZQAAAAAAAAAAABBGb250U2NoZW1lQ29sb3IAAAAAAAhGb250SXRhbGljAAACRm9udE5hbWUABgAAAEFyaWFsAAFGb250U2l6ZQAAAAAAAAAkQAhGb250U3RyaWtldGhyb3VnaAAACEZvbnRTdWJzY3JpcHQAAAhGb250U3VwZXJzY3JpcHQAAAhGb250VW5kZXJsaW5lAAAACFNpemVUb1RleHRXaWR0aAAACFNpemVUb1RleHRIZWlnaHQAAANUZXh0TWFyZ2luAD8AAAABTGVmdAAAAAAAAAAAAAFUb3AAAAAAAAAAAAABUmlnaHQAAAAAAAAAAAABQm90dG9tAAAAAAAAAAAAAAJEaXNwbGF5VGV4dAAJAAAAU3ByaW50IDIAAUhlaWdodAAAAABg3wsnQAFXaWR0aAAAAAAAdHpDQAFUb3AAAAAA4AtRd0ABTGVmdAAAAABASVw3QAhGbGlwSG9yaXpvbnRhbGx5AAAIRmxpcEhvcml6b250YWxseUFwcGxpZWQAAAhGbGlwVmVydGljYWxseQAACEZsaXBWZXJ0aWNhbGx5QXBwbGllZAAAAVJvdGF0aW9uAAAAAAAAAAAAAVpPcmRlcgAAAAAAAAA+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mVjdGFuZ2xlAHQGAAACQXV0b1NoYXBlVHlwZQAKAAAAUmVjdGFuZ2xlAAVNYW5hZ2VkSWQAEAAAAAQI7cAP+dknSq7lDOnBIpriCEhhc0NoYW5nZXMAAAhVc2VOYW1lSW5zdGVhZE9mVGFnQXNJZAAACFNoYXBlUHJldmlvdXNseUNyZWF0ZWQAAANGaWxsQ29sb3IAVQAAABBBAAAAAAAQUgD/AAAAEEcA/wAAABBCAP8AAAABU2NBAAAAAAAAAAAAAVNjUgAAAAAAAADwPwFTY0cAAAAAAAAA8D8BU2NCAAAAAAAAAPA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A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4EAQAABQMBAAAFAQAA5w8AAAAAAAAAAAAAZQAAAAhTaXplVG9UZXh0V2lkdGgAAAhTaXplVG9UZXh0SGVpZ2h0AAADVGV4dE1hcmdpbgA/AAAAAUxlZnQAAAAAAAAAAAABVG9wAAAAAAAAAAAAAVJpZ2h0AAAAAAAAAAAAAUJvdHRvbQAAAAAAAAAAAAABSGVpZ2h0AAAAAEAtBThAAVdpZHRoAAAAAACD241AAVRvcAAAAAAAEu12QAFMZWZ0AAAAAABK4gpACEZsaXBIb3Jpem9udGFsbHkAAAhGbGlwSG9yaXpvbnRhbGx5QXBwbGllZAAACEZsaXBWZXJ0aWNhbGx5AAAIRmxpcFZlcnRpY2FsbHlBcHBsaWVkAAABUm90YXRpb24AAAAAAAAAAAABWk9yZGVyAAAAAAAAACZ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TZXBhcmF0b3JMaW5lAOEGAAADU3RhcnQAGwAAAAFYAM3MzMwWrwdAAVkA9yswxWRteEAAA0VuZAAbAAAAAVgAMzMzfZj5jUABWQD3KzDFZG14QAACU3RhcnRBcnJvd0hlYWQAEQAAAG1zb0Fycm93aGVhZE5vbmUAAkVuZEFycm93SGVhZAARAAAAbXNvQXJyb3doZWFkTm9uZQAFTWFuYWdlZElkABAAAAAEbxMCCg5GjkKNdBrplEio9QhIYXNDaGFuZ2VzAAAIVXNlTmFtZUluc3RlYWRPZlRhZ0FzSWQAAAhTaGFwZVByZXZpb3VzbHlDcmVhdGVkAAA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AAAAAAAAVdpZHRoAAAAAGDp4Y1AAVRvcAAAAADAZG14QAFMZWZ0AAAAAMAWrwdACEZsaXBIb3Jpem9udGFsbHkAAAhGbGlwSG9yaXpvbnRhbGx5QXBwbGllZAAACEZsaXBWZXJ0aWNhbGx5AAAIRmxpcFZlcnRpY2FsbHlBcHBsaWVkAAABUm90YXRpb24AAAAAAAAAAAABWk9yZGVyAAAAAAAAAChAA0JvcmRlckNvbG9yAFUAAAAQQQD/AAAAEFIA4wAAABBHAOMAAAAQQgDjAAAAAVNjQQAAAAAAAADwPwFTY1IAAAAAwLGU6D8BU2NHAAAAAMCxlOg/AVNjQgAAAADAsZToPwAQQm9yZGVyVGhlbWVDb2xvcgAAAAAAAUJvcmRlclRpbnRBbmRTaGFkZQAAAAAAAAAAABBCb3JkZXJTY2hlbWVDb2xvcgAAAAAAAUJvcmRlclRoaWNrbmVzcwAAAAAAAADw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AAAzIANoIAABBfaWQADAAAAARJdGVtcwCANgAAAzAAcxwAAAJfdHlwZQBLAAAAZW1wb3dlci5DaGFydHMuRGF0YS5HYW50dC5DaHJvbm9sb2d5LkRhdGEuQmFyVGFza0RhdGEsIGVtcG93ZXIuQ2hhcnRzLkRhdGEAAkxhYmVsUG9zaXRpb24ABwAAAENlbnRlcgAISXNMYWJlbEluc2lkZUJvdW5kcwABA1N0eWxlAFsEAAABRGVmYXVsdEZvbnRTaXplAAAAAAAAACRAAUZvbnRTaXplAAAAAAAAACBAA0ZvbnRDb2xvcgBVAAAAEEEA/wAAABBSABAAAAAQRwA4AAAAEEIATwAAAAFTY0EAAAAAAAAA8D8BU2NSAAAAAOA2OXU/AVNjRwAAAACAZz+kPwFTY0IAAAAAYBcEtD8AEEZvbnRUaGVtZUNvbG9yAAAAAAAQRm9udFNjaGVtZUNvbG9yAAAAAAABRm9udFRpbnRBbmRTaGFkZQAAAAAAAAAAAANQYXR0ZXJuQ29sb3IAVQAAABBBAAAAAAAQUgAAAAAAEEcAAAAAABBCAAAAAAABU2NBAAAAAAAAAAAAAVNjUgAAAAAAAAAAAAFTY0cAAAAAAAAAAAABU2NCAAAAAAAAAAAAABBQYXR0ZXJuVGhlbWVDb2xvcgAAAAAAAVBhdHRlcm5UaW50QW5kU2hhZGUAAAAAAAAAAAADRGF0YVN0eWxlRm9udENvbG9yVmFsdWUAVQAAABBBAAAAAAAQUgAAAAAAEEcAAAAAABBCAAAAAAABU2NBAAAAAAAAAAAAAVNjUgAAAAAAAAAAAAFTY0cAAAAAAAAAAAABU2NCAAAAAAAAAAAAAAhEYXRhU3R5bGVGb250Q29sb3JIYXNWYWx1ZQAAAUhlaWdodAAAAADg3TIoQAJEYXNoU3R5bGUADQAAAG1zb0xpbmVTb2xpZAAISGFzV2lzaEZpbGxDb2xvcgAAA0ZpbGxDb2xvcgBVAAAAEEEA/wAAABBSAJkAAAAQRwDTAAAAEEIA8gAAAAFTY0EAAAAAAAAA8D8BU2NSAAAAACASY9Q/AVNjRwAAAACgUNjkPwFTY0IAAAAAwN1p7D8AEEZpbGxTY2hlbWVDb2xvcgAAAAAAEEZpbGxUaGVtZUNvbG9yAAAAAAABRmlsbFRpbnRBbmRTaGFkZQAAAAAAAAAAAANCb3JkZXJDb2xvcgBVAAAAEEEAAAAAABBSAAAAAAAQRwAAAAAAEEIAAAAAAAFTY0EAAAAAAAAAAAABU2NSAAAAAAAAAAAAAVNjRwAAAAAAAAAAAAFTY0IAAAAAAAAAAAAAEEJvcmRlclRoZW1lQ29sb3IAAAAAAAFCb3JkZXJUaW50QW5kU2hhZGUAAAAAAAAAAAAISXNGaWxsZWQAAQJQYXR0ZXJuABAAAABtc29QYXR0ZXJuTWl4ZWQAAlNoYXBlVHlwZQAOAAAAbXNvU2hhcGVNaXhlZAADTGFiZWxPZmZzZXQAQgAAAAFYAAAAAAAAAAAAAVkAAAAAAAAAAAABTGVuZ3RoAAAAAAAAAAAAAUxlbmd0aFNxdWFyZWQAAAAAAAAAAAAACElzRm9udEJvbGQAAAhJc0ZvbnRJdGFsaWMAAAhJc0ZvbnRVbmRlcmxpbmVkAAAITGFiZWxIYXNCYWNrZ3JvdW5kAAACVGV4dEFsaWdubWVudAAFAAAATGVmdAAACERpc3BsYXlMYWJlbAABA1JlbmRlckluZm8A9RYAAANSZWN0YW5nbGVGcmVlZm9ybQD8CAAABFZlcnRpY2VzAJsCAAADMAAsAAAAEEluZGV4MAAAAAAAEEluZGV4MQAAAAAAAVZhbHVlAAAAACA9AXdAAAMxACwAAAAQSW5kZXgwAAAAAAAQSW5kZXgxAAEAAAABVmFsdWUAAAAAwMLceEAAAzIALAAAABBJbmRleDAAAQAAABBJbmRleDEAAAAAAAFWYWx1ZQAAAAAgPQF3QAADMwAsAAAAEEluZGV4MAABAAAAEEluZGV4MQABAAAAAVZhbHVlAAAAAECOPXlAAAM0ACwAAAAQSW5kBQEAAAUEAQAABgEAAOcPAAAAAAAAAAAAAGV4MAACAAAAEEluZGV4MQAAAAAAAVZhbHVlAAAAACA9AXdAAAM1ACwAAAAQSW5kZXgwAAIAAAAQSW5kZXgxAAEAAAABVmFsdWUAAAAAoFmeeUAAAzYALAAAABBJbmRleDAAAwAAABBJbmRleDEAAAAAAAFWYWx1ZQAAAADAq6F9QAADNwAsAAAAEEluZGV4MAADAAAAEEluZGV4MQABAAAAAVZhbHVlAAAAAKBZnnlAAAM4ACwAAAAQSW5kZXgwAAQAAAAQSW5kZXgxAAAAAAABVmFsdWUAAAAAwKuhfUAAAzkALAAAABBJbmRleDAABAAAABBJbmRleDEAAQAAAAFWYWx1ZQAAAABAjj15QAADMTAALAAAABBJbmRleDAABQAAABBJbmRleDEAAAAAAAFWYWx1ZQAAAADAq6F9QAADMTEALAAAABBJbmRleDAABQAAABBJbmRleDEAAQAAAAFWYWx1ZQAAAADAwtx4QAADMTIALAAAABBJbmRleDAABgAAABBJbmRleDEAAAAAAAFWYWx1ZQAAAAAgPQF3QAADMTMALAAAABBJbmRleDAABgAAABBJbmRleDEAAQAAAAFWYWx1ZQAAAADAwtx4QAAABU1hbmFnZWRJZAAQAAAABLKAzT4e5/ZDpws6U7eMIFUISGFzQ2hhbmdlcwAACFVzZU5hbWVJbnN0ZWFkT2ZUYWdBc0lkAAAIU2hhcGVQcmV2aW91c2x5Q3JlYXRlZAAAA0ZpbGxDb2xvcgBVAAAAEEEA/wAAABBSAJkAAAAQRwDTAAAAEEIA8gAAAAFTY0EAAAAAAAAA8D8BU2NSAAAAACASY9Q/AVNjRwAAAACgUNjkPwFTY0IAAAAAwN1p7D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DA3TIoQAFXaWR0aAAAAADAuoFaQAFUb3AAAAAAwMLceEABTGVmdAAAAAAgPQF3QAhGbGlwSG9yaXpvbnRhbGx5AAAIRmxpcEhvcml6b250YWxseUFwcGxpZWQAAAhGbGlwVmVydGljYWxseQAACEZsaXBWZXJ0aWNhbGx5QXBwbGllZAAAAVJvdGF0aW9uAAAAAAAAAAAAAVpPcmRlcgAAAAAAAIBRQANCb3JkZXJDb2xvcgBVAAAAEEEA/wAAABBSAP8AAAAQRwD/AAAAEEIA/wAAAAFTY0EAAAAAAAAA8D8BU2NSAAAAAAAAAPA/AVNjRwAAAAAAAADwPwFTY0IAAAAAAAAA8D8AEEJvcmRlclRoZW1lQ29sb3IAAAAAAAFCb3JkZXJUaW50QW5kU2hhZGUAAAAAAAAAAAAQQm9yZGVyU2NoZW1lQ29sb3IAAAAAAAFCb3JkZXJUaGlja25lc3MAAAAAAAAA8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QmFyU3R5bGVEYXRhACYAAAACQmFyU3R5bGVTaGFwZVR5cGUACgAAAFJlY3RhbmdsZQAAA0xhYmVsALIGAAAFTWFuYWdlZElkABAAAAAEr5e4fZMrcEC/N81UCfc49QhIYXNDaGFuZ2VzAAAIVXNlTmFtZUluc3RlYWRPZlRhZ0FzSWQAAAhTaGFwZVByZXZpb3VzbHlDcmVhdGVkAAEDRmlsbENvbG9yAFUAAAAQQQD/AAAAEFIAmQAAABBHANMAAAAQQgDyAAAAAVNjQQAAAAAAAADwPwFTY1IAAAAAIBJj1D8BU2NHAAAAAKBQ2OQ/AVNjQgAAAADA3WnsP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AA4AAABEYXRhIENvbGVjdG9yAAJUZXh0SG9yaXpvbnRhbEFsaWdubWVudAAOAAAAbXNvQW5jaG9yTm9uZQACUGFyYWdyYXBoQWxpZ25tZW50AA8AAABtc29BbGlnbkNlbnRlcgACVGV4dFZlcnRpY2FsQWxpZ25tZW50ABAAAABtc29BbmNob3JNaWRkbGUAA0ZvbnRTdHlsZQBAAQAAEEZvbnRCYWNrZ3JvdW5kAAAAAAAIRm9udEJvbGQAAANGb250Q29sb3IAVQAAABBBAP8AAAAQUgAQAAAAEEcAOAAAABBCAE8AAAABU2NBAAAAAAAAAPA/AVNjUgAAAADgNjl1PwFTY0cAAAAAgGc/pD8BU2NCAAAAAGAXBLQ/ABBGb250VGhlbWVDb2xvcgAAAAAAAUZvbnRUaW50QW5kU2hhZGUAAAAAAAAAAAAQRm9udFNjaGVtZUNvbG9yAAAAAAAIRm9udEl0YWxpYwAAAkZvbnROYW1lAAYAAABBcmlhbAABRm9udFNpemUAAAAAAAAAIEAIRm9udFN0cmlrZXRocm91Z2gAAAhGb250U3Vic2NyaXB0AAAIRm9udFN1cGVyc2NyaXB0AAAIRm9udFVuZGVybGluZQAAAAhTaXplVG9UZXh0V2lkdGgAAAhTaXplVG9UZXh0SGVpZ2h0AAADVGV4dE1hcmdpbgA/AAAAAUxlZnQAAAAAAAAAAAABVG9wAAAAAAAAAAAAAVJpZ2h0AAAAAAAAAAAAAUJvdHRvbQAAAAAAAAAAAAACRGlzcGxheVRleHQADgAAAERhdGEgQ29sZWN0b3IAAUhlaWdodAAAAAAAFlwjQAFXaWR0aAAAAAAg6LRIQAFUb3AAAAAA4B3weEABTGVmdAAAAAAAJsZ4QAhGbGlwSG9yaXpvbnRhbGx5AAAIRmxpcEhvcml6b250YWxseUFwcGxpZWQAAAhGbGlwVmVydGljYWxseQAACEZsaXBWZXJ0aWNhbGx5QXBwbGllZAAAAVJvdGF0aW9uAAAAAAAAAAAAAVpPcmRlcgAAAAAAAABS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Q29ubmVjdG9yTGluZURhdGEA4QYAAANTdGFydAAbAAAAAVgAAAAAID0Bd0ABWQAAAADAwtx4QAADRW5kABsAAAABWAAAAAAgPQF3QAFZAAAAAMDC3HhAAAJTdGFydEFycm93SGVhZAARAAAAbXNvQXJyb3doZWFkTm9uZQACRW5kQXJyb3dIZWFkABEAAABtc29BcnJvd2hlYWROb25lAAVNYW5hZ2VkSWQAEAAAAATLjLbVLkszSb1J5s9BiS6jCEhhc0NoYW5nZXMAAAhVc2VOYW1lSQYBAAAFBQEAAAcBAADnDwAAAAAAAAAAAABuc3RlYWRPZlRhZ0FzSWQAAAhTaGFwZVByZXZpb3VzbHlDcmVhdGVkAAA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A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AAAAAAAAVdpZHRoAAAAAAAAAAAAAVRvcAAAAADAwtx4QAFMZWZ0AAAAACA9AXdACEZsaXBIb3Jpem9udGFsbHkAAAhGbGlwSG9yaXpvbnRhbGx5QXBwbGllZAAACEZsaXBWZXJ0aWNhbGx5AAAIRmxpcFZlcnRpY2FsbHlBcHBsaWVkAAABUm90YXRpb24AAAAAAAAAAAABWk9yZGVyAAAAAAAAwFFAA0JvcmRlckNvbG9yAFUAAAAQQQD/AAAAEFIAmQAAABBHANMAAAAQQgDyAAAAAVNjQQAAAAAAAADwPwFTY1IAAAAAIBJj1D8BU2NHAAAAAKBQ2OQ/AVNjQgAAAADA3WnsPw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AJRW5kVGltZQAAE65DkAEAABBJbmRleAABAAAAAkRlc2NyaXB0aW9uAA4AAABEYXRhIENvbGVjdG9yAAJOYW1lAAUAAABUYXNrAAhJc0xlYWRlckxpbmVJbkF1dG9Nb2RlAAEJU3RhcnRUaW1lAADjrtyPAQAAAAMxAAIaAAACX3R5cGUATQAAAGVtcG93ZXIuQ2hhcnRzLkRhdGEuR2FudHQuQ2hyb25vbG9neS5EYXRhLk1pbGVzdG9uZURhdGEsIGVtcG93ZXIuQ2hhcnRzLkRhdGEAA1N0eWxlAHYEAAABRGVmYXVsdEZvbnRTaXplAAAAAAAAACRAAUZvbnRTaXplAAAAAAAAACBAA0ZvbnRDb2xvcgBVAAAAEEEA/wAAABBSABAAAAAQRwA4AAAAEEIATwAAAAFTY0EAAAAAAAAA8D8BU2NSAAAAAOA2OXU/AVNjRwAAAACAZz+kPwFTY0IAAAAAYBcEtD8AEEZvbnRUaGVtZUNvbG9yAAAAAAAQRm9udFNjaGVtZUNvbG9yAAAAAAABRm9udFRpbnRBbmRTaGFkZQAAAAAAAAAAAANQYXR0ZXJuQ29sb3IAVQAAABBBAAAAAAAQUgAAAAAAEEcAAAAAABBCAAAAAAABU2NBAAAAAAAAAAAAAVNjUgAAAAAAAAAAAAFTY0cAAAAAAAAAAAABU2NCAAAAAAAAAAAAABBQYXR0ZXJuVGhlbWVDb2xvcgAAAAAAAVBhdHRlcm5UaW50QW5kU2hhZGUAAAAAAAAAAAADRGF0YVN0eWxlRm9udENvbG9yVmFsdWUAVQAAABBBAAAAAAAQUgAAAAAAEEcAAAAAABBCAAAAAAABU2NBAAAAAAAAAAAAAVNjUgAAAAAAAAAAAAFTY0cAAAAAAAAAAAABU2NCAAAAAAAAAAAAAAhEYXRhU3R5bGVGb250Q29sb3JIYXNWYWx1ZQAAAUhlaWdodAAAAADg3TIoQAJEYXNoU3R5bGUADQAAAG1zb0xpbmVTb2xpZAAISGFzV2lzaEZpbGxDb2xvcgAAA0ZpbGxDb2xvcgBVAAAAEEEA/wAAABBSAAAAAAAQRwCRAAAAEEIA3wAAAAFTY0EAAAAAAAAA8D8BU2NSAAAAAAAAAAAAAVNjRwAAAAAAHB/SPwFTY0IAAAAAYPac5z8AEEZpbGxTY2hlbWVDb2xvcgAAAAAAEEZpbGxUaGVtZUNvbG9yAAAAAAABRmlsbFRpbnRBbmRTaGFkZQAAAAAAAAAAAANCb3JkZXJDb2xvcgBVAAAAEEEA/wAAABBSAP8AAAAQRwD/AAAAEEIA/wAAAAFTY0EAAAAAAAAA8D8BU2NSAAAAAAAAAPA/AVNjRwAAAAAAAADwPwFTY0IAAAAAAAAA8D8AEEJvcmRlclRoZW1lQ29sb3IAAAAAAAFCb3JkZXJUaW50QW5kU2hhZGUAAAAAAAAAAAAISXNGaWxsZWQAAQJQYXR0ZXJuABAAAABtc29QYXR0ZXJuTWl4ZWQAAlNoYXBlVHlwZQAQAAAAbXNvU2hhcGVEaWFtb25kAANMYWJlbE9mZnNldABCAAAAAVgAAAAAAAAAAAABWQAQxLZjkLIzwAFMZW5ndGgAEMS2Y5CyM0ABTGVuZ3RoU3F1YXJlZAB4uZO+3z94QAABQm9yZGVyVGhpY2tuZXNzAAAAAAAAAPA/CElzRm9udEJvbGQAAAhJc0ZvbnRJdGFsaWMAAAhJc0ZvbnRVbmRlcmxpbmVkAAAITGFiZWxIYXNCYWNrZ3JvdW5kAAACVGV4dEFsaWdubWVudAAFAAAATGVmdAAACERpc3BsYXlMYWJlbAABCExhYmVsSGFzQmFja2dyb3VuZAAAA1JlbmRlckluZm8ATxQAAANTeW1ib2wAcgYAAAJBdXRvU2hhcGVUeXBlAAgAAABEaWFtb25kAAVNYW5hZ2VkSWQAEAAAAAQyZf0/YuC4Rbzi488DzwekCEhhc0NoYW5nZXMAAAhVc2VOYW1lSW5zdGVhZE9mVGFnQXNJZAAACFNoYXBlUHJldmlvdXNseUNyZWF0ZWQAAANGaWxsQ29sb3IAVQAAABBBAP8AAAAQUgAAAAAAEEcAkQAAABBCAN8AAAABU2NBAAAAAAAAAPA/AVNjUgAAAAAAAAAAAAFTY0cAAAAAABwf0j8BU2NCAAAAAGD2nO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wN0yKEABV2lkdGgAAAAAwN0yKEABVG9wAAAAAMDC3HhAAUxlZnQAAAAHAQAABQYBAAALAQAA5w8AAAAAAAAAAAAAAGDgQH1ACEZsaXBIb3Jpem9udGFsbHkAAAhGbGlwSG9yaXpvbnRhbGx5QXBwbGllZAAACEZsaXBWZXJ0aWNhbGx5AAAIRmxpcFZlcnRpY2FsbHlBcHBsaWVkAAABUm90YXRpb24AAAAAAAAAAAABWk9yZGVyAAAAAAAAgFRAA0JvcmRlckNvbG9yAFUAAAAQQQD/AAAAEFIA/wAAABBHAP8AAAAQQgD/AAAAAVNjQQAAAAAAAADwPwFTY1IAAAAAAAAA8D8BU2NHAAAAAAAAAPA/AVNjQgAAAAAAAADwPwAQQm9yZGVyVGhlbWVDb2xvcgAAAAAAAUJvcmRlclRpbnRBbmRTaGFkZQAAAAAAAAAAABBCb3JkZXJTY2hlbWVDb2xvcgAAAAAAAUJvcmRlclRoaWNrbmVzcwAAAAAAAADw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MYWJlbADZBgAABU1hbmFnZWRJZAAQAAAABFEtcez6+jtDlEgJ/cAgP+cISGFzQ2hhbmdlcwAACFVzZU5hbWVJbnN0ZWFkT2ZUYWdBc0lkAAAIU2hhcGVQcmV2aW91c2x5Q3JlYXRlZAABA0ZpbGxDb2xvcgBVAAAAEEEA/wAAABBSAAAAAAAQRwCRAAAAEEIA3wAAAAFTY0EAAAAAAAAA8D8BU2NSAAAAAAAAAAAAAVNjRwAAAAAAHB/SPwFTY0IAAAAAYPac5z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AAoAAAANuKAiy8yMy8yMDLigIs0IEhpc3Rvcml6YWNpw7NuIGRlIERhdG9zAAJUZXh0SG9yaXpvbnRhbEFsaWdubWVudAAOAAAAbXNvQW5jaG9yTm9uZQACUGFyYWdyYXBoQWxpZ25tZW50AAIAAAAwAAJUZXh0VmVydGljYWxBbGlnbm1lbnQAEAAAAG1zb0FuY2hvck1pZGRsZQADRm9udFN0eWxlAEABAAAQRm9udEJhY2tncm91bmQAAAAAAAhGb250Qm9sZAAAA0ZvbnRDb2xvcgBVAAAAEEEA/wAAABBSABAAAAAQRwA4AAAAEEIATwAAAAFTY0EAAAAAAAAA8D8BU2NSAAAAAOA2OXU/AVNjRwAAAACAZz+kPwFTY0IAAAAAYBcEtD8AEEZvbnRUaGVtZUNvbG9yAAAAAAABRm9udFRpbnRBbmRTaGFkZQAAAAAAAAAAABBGb250U2NoZW1lQ29sb3IAAAAAAAhGb250SXRhbGljAAACRm9udE5hbWUABgAAAEFyaWFsAAFGb250U2l6ZQAAAAAAAAAgQAhGb250U3RyaWtldGhyb3VnaAAACEZvbnRTdWJzY3JpcHQAAAhGb250U3VwZXJzY3JpcHQAAAhGb250VW5kZXJsaW5lAAAACFNpemVUb1RleHRXaWR0aAAACFNpemVUb1RleHRIZWlnaHQAAANUZXh0TWFyZ2luAD8AAAABTGVmdAAAAAAAAAAAAAFUb3AAAAAAAAAAAAABUmlnaHQAAAAAAAAAAAABQm90dG9tAAAAAAAAAAAAAAJEaXNwbGF5VGV4dAAoAAAANuKAiy8yMy8yMDLigIs0IEhpc3Rvcml6YWNpw7NuIGRlIERhdG9zAAFIZWlnaHQAAAAA4LFLJUABV2lkdGgAAAAAAKw0YEABVG9wAAAAACBlAnhAAUxlZnQAAAAA4KuhfUAIRmxpcEhvcml6b250YWxseQAACEZsaXBIb3Jpem9udGFsbHlBcHBsaWVkAAAIRmxpcFZlcnRpY2FsbHkAAAhGbGlwVmVydGljYWxseUFwcGxpZWQAAAFSb3RhdGlvbgAAAAAAAAAAAAFaT3JkZXIAAAAAAADAVE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Nvbm5lY3RvckxpbmUA4QYAAANTdGFydAAbAAAAAVgAAAAAYOBAfUABWQAAAADAwtx4QAADRW5kABsAAAABWAAAAABg4EB9QAFZAAAAAMDC3HhAAAJTdGFydEFycm93SGVhZAARAAAAbXNvQXJyb3doZWFkTm9uZQACRW5kQXJyb3dIZWFkABEAAABtc29BcnJvd2hlYWROb25lAAVNYW5hZ2VkSWQAEAAAAATfzbSFgZMeSat4LQ8fJTUcCEhhc0NoYW5nZXMAAAhVc2VOYW1lSW5zdGVhZE9mVGFnQXNJZAAACFNoYXBlUHJldmlvdXNseUNyZWF0ZWQAAA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A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AAAAAAABVG9wAAAAAMDC3HhAAUxlZnQAAAAAYOBAfUAIRmxpcEhvcml6b250YWxseQAACEZsaXBIb3Jpem9udGFsbHlBcHBsaWVkAAAIRmxpcFZlcnRpY2FsbHkAAAhGbGlwVmVydGljYWxseUFwcGxpZWQAAAFSb3RhdGlvbgAAAAAAAAAAAAFaT3JkZXIAAAAAAABAVEADQm9yZGVyQ29sb3IAVQAAABBBAP8AAAAQUgAAAAAAEEcAkQAAABBCAN8AAAABU2NBAAAAAAAAAPA/AVNjUgAAAAAAAAAAAAFTY0cAAAAAABwf0j8BU2NCAAAAAGD2nOc/ABBCb3JkZXJUaGVtZUNvbG9yAAAAAAABQm9yZGVyVGludEFuZFNoYWRlAAAAAAAAAAAAEEJvcmRlclNjaGVtZUNvbG9yAAAAAAABQm9yZGVyVGhpY2tuZXNzAAAAAAAAAOA/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AEAAAUIAAAA/////ykCvg0AAAAAAAAAAKgBAPBvLNLnqAEA8G8s0ueoAVBLAQItABQAAAAIAAAAIQBk3sco6QAAAE0CAAALACQAAAAAAAAAAAAAAHomAABfcmVscy8ucmVscwoAIAAAAAAAAQAYAADwbyzS56gBAPBvLNLnqAEA8G8s0ueoAVBLAQItABQAAAAIAAAAIQDv1usk5gAAALwCAAAaACQAAAAAAAAAAAAAALAnAAB4bC9fcmVscy93b3JrYm9vay54bWwucmVscwoAIAAAAAAAAQAYAADwbyzS56gBAPBvLNLnqAEA8G8s0ueoAVBLAQItABQAAAAIAAAAIQA/8LpIgQEAAI0FAAATACQAFAAAAAAAAAAAAPIoAABbQ29udGVudF9UeXBlc10ueG1sCgAgAAAAAAABABgAAPBvLNLnqAEA8G8s0ueoAQDwbyzS56gBQXNwb3NlLkNlbGxzIHYyMi42LjFQSwECLQAUAAAACAAAACEAA5q6+s4AAADKAQAAIwAkAAAAAAAAAAAAAADIKgAAeGwvd29ya3NoZWV0cy9fcmVscy9zaGVldDEueG1sLnJlbHMKACAAAAAAAAEAGAAA8G8s0ueoAQDwbyzS56gBAPBvLNLnqAFQSwUGAAAAAA0ADQBQBQAA+ysAABQAQXNwb3NlLkNlbGxzIHYyMi42LjEAAk5hbWUACgAAAEV4Y2VsRGF0YQAQVmVyc2lvbgAAAAAACUxhc3RXcml0ZQDQRKn3j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kBAAAFAgEAAAoBAADnDwAAAAAAAAAAAABBZnRlcgAAAAAAAAAAAAFTcGFjZUJlZm9yZQAAAAAAAAAAAAFTcGFjZVdpdGhpbgAAAAAAAAAAAAAAAk1pbGVzdG9uZUxhYmVsUG9zaXRpb24ACQAAAFRvcFJpZ2h0ABBJbmRleAACAAAAAkRlc2NyaXB0aW9uACgAAAA24oCLLzIzLzIwMuKAizQgSGlzdG9yaXphY2nDs24gZGUgRGF0b3MAAk5hbWUACgAAAE1pbGVzdG9uZQAISXNMZWFkZXJMaW5lSW5BdXRvTW9kZQABCVN0YXJ0VGltZQAAE65DkAEAAAAAAk5hbWUACQAAAFNwcmludCAzAAhJc0hpZ2hsaWdodGVkAAAISXNTZXBhcmF0b3JMaW5lVmlzaWJsZQABA1N0eWxlAHQEAAABRGVmYXVsdEZvbnRTaXplAAAAAAAAACRAAUZvbnRTaXplAAAAAAAAACRAA0ZvbnRDb2xvcgBVAAAAEEEA/wAAABBSABAAAAAQRwA4AAAAEEIATwAAAAFTY0EAAAAAAAAA8D8BU2NSAAAAAOA2OXU/AVNjRwAAAACAZz+kPwFTY0IAAAAAYBcEtD8AEEZvbnRUaGVtZUNvbG9yAAAAAAAQRm9udFNjaGVtZUNvbG9yAAAAAAABRm9udFRpbnRBbmRTaGFkZQAAAAAAAAAAAANQYXR0ZXJuQ29sb3IAVQAAABBBAAAAAAAQUgAAAAAAEEcAAAAAABBCAAAAAAABU2NBAAAAAAAAAAAAAVNjUgAAAAAAAAAAAAFTY0cAAAAAAAAAAAABU2NCAAAAAAAAAAAAABBQYXR0ZXJuVGhlbWVDb2xvcgAAAAAAAVBhdHRlcm5UaW50QW5kU2hhZGUAAAAAAAAAAAADRGF0YVN0eWxlRm9udENvbG9yVmFsdWUAVQAAABBBAP8AAAAQUgAQAAAAEEcAOAAAABBCAE8AAAABU2NBAAAAAAAAAPA/AVNjUgAAAADgNjl1PwFTY0cAAAAAgGc/pD8BU2NCAAAAAGAXBLQ/AAhEYXRhU3R5bGVGb250Q29sb3JIYXNWYWx1ZQABAUhlaWdodAAAAAAAAAAAAAJEYXNoU3R5bGUADQAAAG1zb0xpbmVTb2xpZAAISGFzV2lzaEZpbGxDb2xvcgABA0ZpbGxDb2xvcgBVAAAAEEEAAAAAABBSAP8AAAAQRwD/AAAAEEIA/wAAAAFTY0EAAAAAAAAAAAABU2NSAAAAAAAAAPA/AVNjRwAAAAAAAADwPwFTY0IAAAAAAAAA8D8AEEZpbGxTY2hlbWVDb2xvcgAAAAAAEEZpbGxUaGVtZUNvbG9yAAAAAAABRmlsbFRpbnRBbmRTaGFkZQAAAAAAAAAAAANCb3JkZXJDb2xvcgBVAAAAEEEA/wAAABBSAOMAAAAQRwDjAAAAEEIA4wAAAAFTY0EAAAAAAAAA8D8BU2NSAAAAAMCxlOg/AVNjRwAAAADAsZToPwFTY0IAAAAAwLGU6D8AEEJvcmRlclRoZW1lQ29sb3IAAAAAAAFCb3JkZXJUaW50QW5kU2hhZGUAAAAAAAAAAAAISXNGaWxsZWQAAQJQYXR0ZXJuABAAAABtc29QYXR0ZXJuTWl4ZWQAAlNoYXBlVHlwZQAOAAAAbXNvU2hhcGVNaXhlZAADTGFiZWxPZmZzZXQAQgAAAAFYAAAAAAAAAAAAAVkAAAAAAAAAAAABTGVuZ3RoAAAAAAAAAAAAAUxlbmd0aFNxdWFyZWQAAAAAAAAAAAAAAUJvcmRlclRoaWNrbmVzcwAAAAAAAADwPwhJc0ZvbnRCb2xkAAAISXNGb250SXRhbGljAAAISXNGb250VW5kZXJsaW5lZAAACExhYmVsSGFzQmFja2dyb3VuZAAAAlRleHRBbGlnbm1lbnQABQAAAExlZnQAAAFSb3dUb3AA9yswxWR1eEABUm93SGVpZ2h0AG41KjItBTlAA0xlZnROb3RlcwDHBAAAA1RleHRTdHlsZQBbBAAAAURlZmF1bHRGb250U2l6ZQAAAAAAAAAkQAFGb250U2l6ZQAAAAAAAAAkQANGb250Q29sb3IAVQAAABBBAP8AAAAQUgAQAAAAEEcAOAAAABBCAE8AAAABU2NBAAAAAAAAAPA/AVNjUgAAAADgNjl1PwFTY0cAAAAAgGc/pD8BU2NCAAAAAGAXBLQ/ABBGb250VGhlbWVDb2xvcgAAAAAAEEZvbnRTY2hlbWVDb2xvcgAAAAAAAUZvbnRUaW50QW5kU2hhZGUAAAAAAAAAAAADUGF0dGVybkNvbG9yAFUAAAAQQQAAAAAAEFIAAAAAABBHAAAAAAAQQgAAAAAAAVNjQQAAAAAAAAAAAAFTY1IAAAAAAAAAAAABU2NHAAAAAAAAAAAAAVNjQgAAAAAAAAAAAAAQUGF0dGVyblRoZW1lQ29sb3IAAAAAAAFQYXR0ZXJuVGludEFuZFNoYWRlAAAAAAAAAAAAA0RhdGFTdHlsZUZvbnRDb2xvclZhbHVlAFUAAAAQQQD/AAAAEFIAEAAAABBHADgAAAAQQgBPAAAAAVNjQQAAAAAAAADwPwFTY1IAAAAA4DY5dT8BU2NHAAAAAIBnP6Q/AVNjQgAAAABgFwS0PwAIRGF0YVN0eWxlRm9udENvbG9ySGFzVmFsdWUAAQFIZWlnaHQAAAAAAAAAAAACRGFzaFN0eWxlAA0AAABtc29MaW5lU29saWQACEhhc1dpc2hGaWxsQ29sb3IAAANGaWxsQ29sb3IAVQAAABBBAP8AAAAQUgAAAAAAEEcAAAAAABBCAAAAAAABU2NBAAAAAAAAAPA/AVNjUgAAAAAAAAAAAAFTY0cAAAAAAAAAAAABU2NCAAAAAAAAAAAAABBGaWxsU2NoZW1lQ29sb3IAAAAAABBGaWxsVGhlbWVDb2xvcgAAAAAAAUZpbGxUaW50QW5kU2hhZGUAAAAAAAAAAAADQm9yZGVyQ29sb3IAVQAAABBBAAAAAAAQUgAAAAAAEEcAAAAAABBCAAAAAAABU2NBAAAAAAAAAAAAAVNjUgAAAAAAAAAAAAFTY0cAAAAAAAAAAAABU2NCAAAAAAAAAAAAABBCb3JkZXJUaGVtZUNvbG9yAAAAAAABQm9yZGVyVGludEFuZFNoYWRlAAAAAAAAAAAACElzRmlsbGVkAAECUGF0dGVybgAQAAAAbXNvUGF0dGVybk1peGVkAAJTaGFwZVR5cGUADgAAAG1zb1NoYXBlTWl4ZWQAA0xhYmVsT2Zmc2V0AEIAAAABWAAAAAAAAAAAAAFZAAAAAAAAAAAAAUxlbmd0aAAAAAAAAAAAAAFMZW5ndGhTcXVhcmVkAAAAAAAAAAAAAAhJc0ZvbnRCb2xkAAAISXNGb250SXRhbGljAAAISXNGb250VW5kZXJsaW5lZAAACExhYmVsSGFzQmFja2dyb3VuZAAAAlRleHRBbGlnbm1lbnQABQAAAExlZnQAAAhIYXJ2ZXlCYWxsVmlzaWJsZQABEEhhcnZleUJhbGxWYWx1ZQAAAAAAAkNoZWNrQm94U3RhdGUABQAAAE5vbmUAAlRyYWZmaWNMaWdodFN0YXRlAAQAAABPZmYAAANSaWdodE5vdGVzAMcEAAADVGV4dFN0eWxlAFsEAAABRGVmYXVsdEZvbnRTaXplAAAAAAAAACRAAUZvbnRTaXplAAAAAAAAACRAA0ZvbnRDb2xvcgBVAAAAEEEA/wAAABBSABAAAAAQRwA4AAAAEEIATwAAAAFTY0EAAAAAAAAA8D8BU2NSAAAAAOA2OXU/AVNjRwAAAACAZz+kPwFTY0IAAAAAYBcEtD8AEEZvbnRUaGVtZUNvbG9yAAAAAAAQRm9udFNjaGVtZUNvbG9yAAAAAAABRm9udFRpbnRBbmRTaGFkZQAAAAAAAAAAAANQYXR0ZXJuQ29sb3IAVQAAABBBAAAAAAAQUgAAAAAAEEcAAAAAABBCAAAAAAABU2NBAAAAAAAAAAAAAVNjUgAAAAAAAAAAAAFTY0cAAAAAAAAAAAABU2NCAAAAAAAAAAAAABBQYXR0ZXJuVGhlbWVDb2xvcgAAAAAAAVBhdHRlcm5UaW50QW5kU2hhZGUAAAAAAAAAAAADRGF0YVN0eWxlRm9udENvbG9yVmFsdWUAVQAAABBBAP8AAAAQUgAQAAAAEEcAOAAAABBCAE8AAAABU2NBAAAAAAAAAPA/AVNjUgAAAADgNjl1PwFTY0cAAAAAgGc/pD8BU2NCAAAAAGAXBLQ/AAhEYXRhU3R5bGVGb250Q29sb3JIYXNWYWx1ZQABAUhlaWdodAAAAAAAAAAAAAJEYXNoU3R5bGUADQAAAG1zb0xpbmVTb2xpZAAISGFzV2lzaEZpbGxDb2xvcgAAA0ZpbGxDb2xvcgBVAAAAEEEA/wAAABBSAAAAAAAQRwAAAAAAEEIAAAAAAAFTY0EAAAAAAAAA8D8BU2NSAAAAAAAAAAAAAVNjRwAAAAAAAAAAAAFTY0IAAAAAAAAAAAAAEEZpbGxTY2hlbWVDb2xvcgAAAAAAEEZpbGxUaGVtZUNvbG9yAAAAAAABRmlsbFRpbnRBbmRTaGFkZQAAAAAAAAAAAANCb3JkZXJDb2xvcgBVAAAAEEEAAAAAABBSAAAAAAAQRwAAAAAAEEIAAAAAAAFTY0EAAAAAAAAAAAABU2NSAAAAAAAAAAAAAVNjRwAAAAAAAAAAAAFTY0IAAAAAAAAAAAAAEEJvcmRlclRoZW1lQ29sb3IAAAAAAAFCb3JkZXJUaW50QW5kU2hhZGUAAAAAAAAAAAAISXNGaWxsZWQAAQJQYXR0ZXJuABAAAABtc29QYXR0ZXJuTWl4ZWQAAlNoYXBlVHlwZQAOAAAAbXNvU2hhcGVNaXhlZAADTGFiZWxPZmZzZXQAQgAAAAFYAAAAAAAAAAAAAVkAAAAAAAAAAAABTGVuZ3RoAAAAAAAAAAAAAUxlbmd0aFNxdWFyZWQAAAAAAAAAAAAACElzRm9udEJvbGQAAAhJc0ZvbnRJdGFsaWMAAAhJc0ZvbnRVbmRlcmxpbmVkAAAITGFiZWxIYXNCYWNrZ3JvdW5kAAACVGV4dEFsaWdubWVudAAFAAAATGVmdAAACEhhcnZleUJhbGxWaXNpYmxlAAEQSGFydmV5QmFsbFZhbHVlAAAAAAACQ2hlY2tCb3hTdGF0ZQAFAAAATm9uZQACVHJhZmZpY0xpZ2h0U3RhdGUABAAAAE9mZgAAA0xlZnROb3Rlc1JlbmRlckluZm8AYRQAAANMYWJlbAB0BgAABU1hbmFnZWRJZAAQAAAABOSX3y/MJ4VCvQ6bcfc26RoISGFzQ2hhbmdlcwABCFVzZU5hbWVJbnN0ZWFkT2ZUYWdBc0lkAAAIU2hhcGVQcmV2aW91c2x5Q3JlYXRlZAAKAQAABQkBAAANAQAA5w8AAAAAAAAAAAAAAA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AAkZpbGxQYXR0ZXJuABAAAABtc29QYXR0ZXJuTWl4ZWQAAlRleHQAAQAAA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kRpc3BsYXlUZXh0AAEAAAAAAUhlaWdodAAAAAAAAADwPwFXaWR0aAAAAAAAAADwPwFUb3AAAAAAAIyWcUABTGVmdAAAAABAZfaNQAhGbGlwSG9yaXpvbnRhbGx5AAAIRmxpcEhvcml6b250YWxseUFwcGxpZWQAAAhGbGlwVmVydGljYWxseQAACEZsaXBWZXJ0aWNhbGx5QXBwbGllZAAAAVJvdGF0aW9uAAAAAAAAAAAAAVpPcmRlcgAAAAAAAAAAA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2VwYXJhdG9yTGluZQDhBgAAA1N0YXJ0ABsAAAABWADNzMwWMvONQAFZAAAAAKC3/XlAAANFbmQAGwAAAAFYADMzM32Y+Y1AAVkAAAAAoLf9eUAAAlN0YXJ0QXJyb3dIZWFkABEAAABtc29BcnJvd2hlYWROb25lAAJFbmRBcnJvd0hlYWQAEQAAAG1zb0Fycm93aGVhZE5vbmUABU1hbmFnZWRJZAAQAAAABLyOYV6l2e9DvYTti133oukISGFzQ2hhbmdlcwABCFVzZU5hbWVJbnN0ZWFkT2ZUYWdBc0lkAAAIU2hhcGVQcmV2aW91c2x5Q3JlYXRlZAAA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CgmZnpPwFUb3AAAAAAoLf9eUABTGVmdAAAAAAgMvONQAhGbGlwSG9yaXpvbnRhbGx5AAAIRmxpcEhvcml6b250YWxseUFwcGxpZWQAAAhGbGlwVmVydGljYWxseQAACEZsaXBWZXJ0aWNhbGx5QXBwbGllZAAAAVJvdGF0aW9uAAAAAAAAAAAAAVpPcmRlcgAAAAAAAIBVQANCb3JkZXJDb2xvcgBVAAAAEEEA/wAAABBSAOMAAAAQRwDjAAAAEEIA4wAAAAFTY0EAAAAAAAAA8D8BU2NSAAAAAMCxlOg/AVNjRwAAAADAsZToPwFTY0IAAAAAwLGU6D8AEEJvcmRlclRoZW1lQ29sb3IAAAAAAAFCb3JkZXJUaW50QW5kU2hhZGUAAAAAAAAAAAAQQm9yZGVyU2NoZW1lQ29sb3IAAAAAAAFCb3JkZXJUaGlja25lc3MAAAAAAAAA8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mVjdGFuZ2xlAHQGAAACQXV0b1NoYXBlVHlwZQAKAAAAUmVjdGFuZ2xlAAVNYW5hZ2VkSWQAEAAAAASiCDqPRdj1QKE8X7KhTiKpCEhhc0NoYW5nZXMAAQhVc2VOYW1lSW5zdGVhZE9mVGFnQXNJZAAACFNoYXBlUHJldmlvdXNseUNyZWF0ZWQAAANGaWxsQ29sb3IAVQAAABBBAAAAAAAQUgD/AAAAEEcA/wAAABBCAP8AAAABU2NBAAAAAAAAAAAAAVNjUgAAAAAAAADwPwFTY0cAAAAAAAAA8D8BU2NCAAAAAAAAAPA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A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CwEAAAUHAQAADAEAAOcPAAAAAAAAAAAAAHJlAAAAAAAAAAAAAVNwYWNlV2l0aGluAAAAAAAAAAAAAAACTWlsZXN0b25lTGFiZWxQb3NpdGlvbgAJAAAAVG9wUmlnaHQAEEluZGV4AAIAAAACRGVzY3JpcHRpb24AKAAAADbigIsvMjMvMjAy4oCLNCBIaXN0b3JpemFjacOzbiBkZSBEYXRvcwACTmFtZQAKAAAATWlsZXN0b25lAAhJc0xlYWRlckxpbmVJbkF1dG9Nb2RlAAEJU3RhcnRUaW1lAAATrkOQAQAAAAACTmFtZQAJAAAAU3ByaW50IDMACElzSGlnaGxpZ2h0ZWQAAAhJc1NlcGFyYXRvckxpbmVWaXNpYmxlAAEDU3R5bGUAdAQAAAFEZWZhdWx0Rm9udFNpemUAAAAAAAAAJEABRm9udFNpemUAAAAAAAAAJEADRm9udENvbG9yAFUAAAAQQQD/AAAAEFIAEAAAABBHADgAAAAQQgBPAAAAAVNjQQAAAAAAAADwPwFTY1IAAAAA4DY5dT8BU2NHAAAAAIBnP6Q/AVNjQgAAAABgFwS0PwAQRm9udFRoZW1lQ29sb3IAAAAAABBGb250U2NoZW1lQ29sb3IAAAAAAAFGb250VGludEFuZFNoYWRlAAAAAAAAAAAAA1BhdHRlcm5Db2xvcgBVAAAAEEEAAAAAABBSAAAAAAAQRwAAAAAAEEIAAAAAAAFTY0EAAAAAAAAAAAABU2NSAAAAAAAAAAAAAVNjRwAAAAAAAAAAAAFTY0IAAAAAAAAAAAAAEFBhdHRlcm5UaGVtZUNvbG9yAAAAAAABUGF0dGVyblRpbnRBbmRTaGFkZQAAAAAAAAAAAANEYXRhU3R5bGVGb250Q29sb3JWYWx1ZQBVAAAAEEEA/wAAABBSABAAAAAQRwA4AAAAEEIATwAAAAFTY0EAAAAAAAAA8D8BU2NSAAAAAOA2OXU/AVNjRwAAAACAZz+kPwFTY0IAAAAAYBcEtD8ACERhdGFTdHlsZUZvbnRDb2xvckhhc1ZhbHVlAAEBSGVpZ2h0AAAAAAAAAAAAAkRhc2hTdHlsZQANAAAAbXNvTGluZVNvbGlkAAhIYXNXaXNoRmlsbENvbG9yAAEDRmlsbENvbG9yAFUAAAAQQQAAAAAAEFIA/wAAABBHAP8AAAAQQgD/AAAAAVNjQQAAAAAAAAAAAAFTY1IAAAAAAAAA8D8BU2NHAAAAAAAAAPA/AVNjQgAAAAAAAADwPwAQRmlsbFNjaGVtZUNvbG9yAAAAAAAQRmlsbFRoZW1lQ29sb3IAAAAAAAFGaWxsVGludEFuZFNoYWRlAAAAAAAAAAAAA0JvcmRlckNvbG9yAFUAAAAQQQD/AAAAEFIA4wAAABBHAOMAAAAQQgDjAAAAAVNjQQAAAAAAAADwPwFTY1IAAAAAwLGU6D8BU2NHAAAAAMCxlOg/AVNjQgAAAADAsZToPwAQQm9yZGVyVGhlbWVDb2xvcgAAAAAAAUJvcmRlclRpbnRBbmRTaGFkZQAAAAAAAAAAAAhJc0ZpbGxlZAABAlBhdHRlcm4AEAAAAG1zb1BhdHRlcm5NaXhlZAACU2hhcGVUeXBlAA4AAABtc29TaGFwZU1peGVkAANMYWJlbE9mZnNldABCAAAAAVgAAAAAAAAAAAABWQAAAAAAAAAAAAFMZW5ndGgAAAAAAAAAAAABTGVuZ3RoU3F1YXJlZAAAAAAAAAAAAAABQm9yZGVyVGhpY2tuZXNzAAAAAAAAAPA/CElzRm9udEJvbGQAAAhJc0ZvbnRJdGFsaWMAAAhJc0ZvbnRVbmRlcmxpbmVkAAAITGFiZWxIYXNCYWNrZ3JvdW5kAAACVGV4dEFsaWdubWVudAAFAAAATGVmdAAAAVJvd1RvcAD3KzDFZHV4QAFSb3dIZWlnaHQAbjUqMi0FOUADTGVmdE5vdGVzAMcEAAADVGV4dFN0eWxlAFsEAAABRGVmYXVsdEZvbnRTaXplAAAAAAAAACRAAUZvbnRTaXplAAAAAAAAACRAA0ZvbnRDb2xvcgBVAAAAEEEA/wAAABBSABAAAAAQRwA4AAAAEEIATwAAAAFTY0EAAAAAAAAA8D8BU2NSAAAAAOA2OXU/AVNjRwAAAACAZz+kPwFTY0IAAAAAYBcEtD8AEEZvbnRUaGVtZUNvbG9yAAAAAAAQRm9udFNjaGVtZUNvbG9yAAAAAAABRm9udFRpbnRBbmRTaGFkZQAAAAAAAAAAAANQYXR0ZXJuQ29sb3IAVQAAABBBAAAAAAAQUgAAAAAAEEcAAAAAABBCAAAAAAABU2NBAAAAAAAAAAAAAVNjUgAAAAAAAAAAAAFTY0cAAAAAAAAAAAABU2NCAAAAAAAAAAAAABBQYXR0ZXJuVGhlbWVDb2xvcgAAAAAAAVBhdHRlcm5UaW50QW5kU2hhZGUAAAAAAAAAAAADRGF0YVN0eWxlRm9udENvbG9yVmFsdWUAVQAAABBBAP8AAAAQUgAQAAAAEEcAOAAAABBCAE8AAAABU2NBAAAAAAAAAPA/AVNjUgAAAADgNjl1PwFTY0cAAAAAgGc/pD8BU2NCAAAAAGAXBLQ/AAhEYXRhU3R5bGVGb250Q29sb3JIYXNWYWx1ZQABAUhlaWdodAAAAAAAAAAAAAJEYXNoU3R5bGUADQAAAG1zb0xpbmVTb2xpZAAISGFzV2lzaEZpbGxDb2xvcgAAA0ZpbGxDb2xvcgBVAAAAEEEA/wAAABBSAAAAAAAQRwAAAAAAEEIAAAAAAAFTY0EAAAAAAAAA8D8BU2NSAAAAAAAAAAAAAVNjRwAAAAAAAAAAAAFTY0IAAAAAAAAAAAAAEEZpbGxTY2hlbWVDb2xvcgAAAAAAEEZpbGxUaGVtZUNvbG9yAAAAAAABRmlsbFRpbnRBbmRTaGFkZQAAAAAAAAAAAANCb3JkZXJDb2xvcgBVAAAAEEEAAAAAABBSAAAAAAAQRwAAAAAAEEIAAAAAAAFTY0EAAAAAAAAAAAABU2NSAAAAAAAAAAAAAVNjRwAAAAAAAAAAAAFTY0IAAAAAAAAAAAAAEEJvcmRlclRoZW1lQ29sb3IAAAAAAAFCb3JkZXJUaW50QW5kU2hhZGUAAAAAAAAAAAAISXNGaWxsZWQAAQJQYXR0ZXJuABAAAABtc29QYXR0ZXJuTWl4ZWQAAlNoYXBlVHlwZQAOAAAAbXNvU2hhcGVNaXhlZAADTGFiZWxPZmZzZXQAQgAAAAFYAAAAAAAAAAAAAVkAAAAAAAAAAAABTGVuZ3RoAAAAAAAAAAAAAUxlbmd0aFNxdWFyZWQAAAAAAAAAAAAACElzRm9udEJvbGQAAAhJc0ZvbnRJdGFsaWMAAAhJc0ZvbnRVbmRlcmxpbmVkAAAITGFiZWxIYXNCYWNrZ3JvdW5kAAACVGV4dEFsaWdubWVudAAFAAAATGVmdAAACEhhcnZleUJhbGxWaXNpYmxlAAEQSGFydmV5QmFsbFZhbHVlAAAAAAACQ2hlY2tCb3hTdGF0ZQAFAAAATm9uZQACVHJhZmZpY0xpZ2h0U3RhdGUABAAAAE9mZgAAA1JpZ2h0Tm90ZXMAxwQAAANUZXh0U3R5bGUAWwQAAAFEZWZhdWx0Rm9udFNpemUAAAAAAAAAJEABRm9udFNpemUAAAAAAAAAJEADRm9udENvbG9yAFUAAAAQQQD/AAAAEFIAEAAAABBHADgAAAAQQgBPAAAAAVNjQQAAAAAAAADwPwFTY1IAAAAA4DY5dT8BU2NHAAAAAIBnP6Q/AVNjQgAAAABgFwS0PwAQRm9udFRoZW1lQ29sb3IAAAAAABBGb250U2NoZW1lQ29sb3IAAAAAAAFGb250VGludEFuZFNoYWRlAAAAAAAAAAAAA1BhdHRlcm5Db2xvcgBVAAAAEEEAAAAAABBSAAAAAAAQRwAAAAAAEEIAAAAAAAFTY0EAAAAAAAAAAAABU2NSAAAAAAAAAAAAAVNjRwAAAAAAAAAAAAFTY0IAAAAAAAAAAAAAEFBhdHRlcm5UaGVtZUNvbG9yAAAAAAABUGF0dGVyblRpbnRBbmRTaGFkZQAAAAAAAAAAAANEYXRhU3R5bGVGb250Q29sb3JWYWx1ZQBVAAAAEEEA/wAAABBSABAAAAAQRwA4AAAAEEIATwAAAAFTY0EAAAAAAAAA8D8BU2NSAAAAAOA2OXU/AVNjRwAAAACAZz+kPwFTY0IAAAAAYBcEtD8ACERhdGFTdHlsZUZvbnRDb2xvckhhc1ZhbHVlAAEBSGVpZ2h0AAAAAAAAAAAAAkRhc2hTdHlsZQANAAAAbXNvTGluZVNvbGlkAAhIYXNXaXNoRmlsbENvbG9yAAADRmlsbENvbG9yAFUAAAAQQQD/AAAAEFIAAAAAABBHAAAAAAAQQgAAAAAAAVNjQQAAAAAAAADwPwFTY1IAAAAAAAAAAAABU2NHAAAAAAAAAAAAAVNjQgAAAAAAAAAAAAAQRmlsbFNjaGVtZUNvbG9yAAAAAAAQRmlsbFRoZW1lQ29sb3IAAAAAAAFGaWxsVGludEFuZFNoYWRlAAAAAAAAAAAAA0JvcmRlckNvbG9yAFUAAAAQQQAAAAAAEFIAAAAAABBHAAAAAAAQQgAAAAAAAVNjQQAAAAAAAAAAAAFTY1IAAAAAAAAAAAABU2NHAAAAAAAAAAAAAVNjQgAAAAAAAAAAAAAQQm9yZGVyVGhlbWVDb2xvcgAAAAAAAUJvcmRlclRpbnRBbmRTaGFkZQAAAAAAAAAAAAhJc0ZpbGxlZAABAlBhdHRlcm4AEAAAAG1zb1BhdHRlcm5NaXhlZAACU2hhcGVUeXBlAA4AAABtc29TaGFwZU1peGVkAANMYWJlbE9mZnNldABCAAAAAVgAAAAAAAAAAAABWQAAAAAAAAAAAAFMZW5ndGgAAAAAAAAAAAABTGVuZ3RoU3F1YXJlZAAAAAAAAAAAAAAISXNGb250Qm9sZAAACElzRm9udEl0YWxpYwAACElzRm9udFVuZGVybGluZWQAAAhMYWJlbEhhc0JhY2tncm91bmQAAAJUZXh0QWxpZ25tZW50AAUAAABMZWZ0AAAISGFydmV5QmFsbFZpc2libGUAARBIYXJ2ZXlCYWxsVmFsdWUAAAAAAAJDaGVja0JveFN0YXRlAAUAAABOb25lAAJUcmFmZmljTGlnaHRTdGF0ZQAEAAAAT2ZmAAADTGVmdE5vdGVzUmVuZGVySW5mbwBhFAAAA0xhYmVsAHQGAAAFTWFuYWdlZElkABAAAAAE5JffL8wnhUK9Dptx9zbpGghIYXNDaGFuZ2VzAAEIVXNlTmFtZUluc3RlYWRPZlRhZ0FzSWQAAAhTaGFwZVByZXZpb3VzbHlDcmVhdGVkAAADRmlsbENvbG9yAFUAAAAQQQAAAAAAEAwBAAAFCwEAAA8BAADnDwAAAAAAAAAAAA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ACRmlsbFBhdHRlcm4AEAAAAG1zb1BhdHRlcm5NaXhlZAACVGV4dAABAAAA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CRGlzcGxheVRleHQAAQAAAAABSGVpZ2h0AAAAAAAAAPA/AVdpZHRoAAAAAAAAAPA/AVRvcAAAAAAAjJZxQAFMZWZ0AAAAAEBl9o1ACEZsaXBIb3Jpem9udGFsbHkAAAhGbGlwSG9yaXpvbnRhbGx5QXBwbGllZAAACEZsaXBWZXJ0aWNhbGx5AAAIRmxpcFZlcnRpY2FsbHlBcHBsaWVkAAABUm90YXRpb24AAAAAAAAAAAABWk9yZGVyAAAAAAAAAAA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TZXBhcmF0b3JMaW5lAOEGAAADU3RhcnQAGwAAAAFYAM3MzBYy841AAVkAAAAAoLf9eUAAA0VuZAAbAAAAAVgAMzMzfZj5jUABWQAAAACgt/15QAACU3RhcnRBcnJvd0hlYWQAEQAAAG1zb0Fycm93aGVhZE5vbmUAAkVuZEFycm93SGVhZAARAAAAbXNvQXJyb3doZWFkTm9uZQAFTWFuYWdlZElkABAAAAAEvI5hXqXZ70O9hO2LXfei6QhIYXNDaGFuZ2VzAAEIVXNlTmFtZUluc3RlYWRPZlRhZ0FzSWQAAAhTaGFwZVByZXZpb3VzbHlDcmVhdGVkAAA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AAAAAAAAVdpZHRoAAAAAKCZmek/AVRvcAAAAACgt/15QAFMZWZ0AAAAACAy841ACEZsaXBIb3Jpem9udGFsbHkAAAhGbGlwSG9yaXpvbnRhbGx5QXBwbGllZAAACEZsaXBWZXJ0aWNhbGx5AAAIRmxpcFZlcnRpY2FsbHlBcHBsaWVkAAABUm90YXRpb24AAAAAAAAAAAABWk9yZGVyAAAAAAAAgFVAA0JvcmRlckNvbG9yAFUAAAAQQQD/AAAAEFIA4wAAABBHAOMAAAAQQgDjAAAAAVNjQQAAAAAAAADwPwFTY1IAAAAAwLGU6D8BU2NHAAAAAMCxlOg/AVNjQgAAAADAsZToPwAQQm9yZGVyVGhlbWVDb2xvcgAAAAAAAUJvcmRlclRpbnRBbmRTaGFkZQAAAAAAAAAAABBCb3JkZXJTY2hlbWVDb2xvcgAAAAAAAUJvcmRlclRoaWNrbmVzcwAAAAAAAADw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SZWN0YW5nbGUAdAYAAAJBdXRvU2hhcGVUeXBlAAoAAABSZWN0YW5nbGUABU1hbmFnZWRJZAAQAAAABKIIOo9F2PVAoTxfsqFOIqkISGFzQ2hhbmdlcwABCFVzZU5hbWVJbnN0ZWFkT2ZUYWdBc0lkAAAIU2hhcGVQcmV2aW91c2x5Q3JlYXRlZAAAA0ZpbGxDb2xvcgBVAAAAEEEAAAAAABBSAP8AAAAQRwD/AAAAEEIA/wAAAAFTY0EAAAAAAAAAAAABU2NSAAAAAAAAAPA/AVNjRwAAAAAAAADwPwFTY0IAAAAAAAAA8D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A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4NAQAABQoBAAAOAQAA5w8AAAAAAAAA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QC0FOEABV2lkdGgAAAAAAAAAAAABVG9wAAAAAMBkfXhAAUxlZnQAAAAAQGXujUAIRmxpcEhvcml6b250YWxseQAACEZsaXBIb3Jpem9udGFsbHlBcHBsaWVkAAAIRmxpcFZlcnRpY2FsbHkAAAhGbGlwVmVydGljYWxseUFwcGxpZWQAAAFSb3RhdGlvbgAAAAAAAAAAAAFaT3JkZXIAAAAAAABAVU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BFRyYWZmaWNMaWdodERhdGEABQAAAAAESGFydmV5QmFsbERhdGEABQAAAAACVHJhZmZpY0xpZ2h0U3RhdGUABAAAAE9mZgAEQ2hlY2tCb3hEYXRhAAUAAAAAAkNoZWNrQm94U3RhdGUABQAAAE5vbmUAAANSaWdodE5vdGVzUmVuZGVySW5mbwBhFAAAA0xhYmVsAHQGAAAFTWFuYWdlZElkABAAAAAEIQpG6qV2FEG+B+6W9p7khwhIYXNDaGFuZ2VzAAEIVXNlTmFtZUluc3RlYWRPZlRhZ0FzSWQAAAhTaGFwZVByZXZpb3VzbHlDcmVhdGVkAAA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AJGaWxsUGF0dGVybgAQAAAAbXNvUGF0dGVybk1peGVkAAJUZXh0AAEAAAA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JEaXNwbGF5VGV4dAABAAAAAAFIZWlnaHQAAAAAAAAA8D8BV2lkdGgAAAAAAAAA8D8BVG9wAAAAAACMlnFAAUxlZnQAAAAAQGX2jU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NlcGFyYXRvckxpbmUA4QYAAANTdGFydAAbAAAAAVgAzczMFjLzjUABWQAAAACgt/15QAADRW5kABsAAAABWAAzMzN9mPmNQAFZAAAAAKC3/XlAAAJTdGFydEFycm93SGVhZAARAAAAbXNvQXJyb3doZWFkTm9uZQACRW5kQXJyb3dIZWFkABEAAABtc29BcnJvd2hlYWROb25lAAVNYW5hZ2VkSWQAEAAAAATaI/NGnvV+Rr0Xzj8nK3I2CEhhc0NoYW5nZXMAAQhVc2VOYW1lSW5zdGVhZE9mVGFnQXNJZAAACFNoYXBlUHJldmlvdXNseUNyZWF0ZWQAAA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oJmZ6T8BVG9wAAAAAKC3/XlAAUxlZnQAAAAAIDLzjUAIRmxpcEhvcml6b250YWxseQAACEZsaXBIb3Jpem9udGFsbHlBcHBsaWVkAAAIRmxpcFZlcnRpY2FsbHkAAAhGbGlwVmVydGljYWxseUFwcGxpZWQAAAFSb3RhdGlvbgAAAAAAAAAAAAFaT3JkZXIAAAAAAACAVUADQm9yZGVyQ29sb3IAVQAADgEAAAUNAQAAEQEAAOcPAAAAAAAAAAAAAAAQQQD/AAAAEFIA4wAAABBHAOMAAAAQQgDjAAAAAVNjQQAAAAAAAADwPwFTY1IAAAAAwLGU6D8BU2NHAAAAAMCxlOg/AVNjQgAAAADAsZToPwAQQm9yZGVyVGhlbWVDb2xvcgAAAAAAAUJvcmRlclRpbnRBbmRTaGFkZQAAAAAAAAAAABBCb3JkZXJTY2hlbWVDb2xvcgAAAAAAAUJvcmRlclRoaWNrbmVzcwAAAAAAAADw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SZWN0YW5nbGUAdAYAAAJBdXRvU2hhcGVUeXBlAAoAAABSZWN0YW5nbGUABU1hbmFnZWRJZAAQAAAABFrHrNxsaAhFsHcpgJkUyHAISGFzQ2hhbmdlcwABCFVzZU5hbWVJbnN0ZWFkT2ZUYWdBc0lkAAAIU2hhcGVQcmV2aW91c2x5Q3JlYXRlZAAAA0ZpbGxDb2xvcgBVAAAAEEEAAAAAABBSAP8AAAAQRwD/AAAAEEIA/wAAAAFTY0EAAAAAAAAAAAABU2NSAAAAAAAAAPA/AVNjRwAAAAAAAADwPwFTY0IAAAAAAAAA8D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A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BALQU4QAFXaWR0aAAAAAAAAAAAAAFUb3AAAAAAwGR9eEABTGVmdAAAAABAZe6NQAhGbGlwSG9yaXpvbnRhbGx5AAAIRmxpcEhvcml6b250YWxseUFwcGxpZWQAAAhGbGlwVmVydGljYWxseQAACEZsaXBWZXJ0aWNhbGx5QXBwbGllZAAAAVJvdGF0aW9uAAAAAAAAAAAAAVpPcmRlcgAAAAAAAEBV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EVHJhZmZpY0xpZ2h0RGF0YQAFAAAAAARIYXJ2ZXlCYWxsRGF0YQAFAAAAAAJUcmFmZmljTGlnaHRTdGF0ZQAEAAAAT2ZmAARDaGVja0JveERhdGEABQAAAAACQ2hlY2tCb3hTdGF0ZQAFAAAATm9uZQAAA0xlZnRTaWRlUmVuZGVySW5mbwAhFAAAA0xhYmVsAKYGAAAFTWFuYWdlZElkABAAAAAEbOBnoPaPHEaFdscjRUzIfwhIYXNDaGFuZ2VzAAAIVXNlTmFtZUluc3RlYWRPZlRhZ0FzSWQAAAhTaGFwZVByZXZpb3VzbHlDcmVhdGVkAAE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AAkAAABTcHJpbnQgMwACVGV4dEhvcml6b250YWxBbGlnbm1lbnQADgAAAG1zb0FuY2hvck5vbmUAAlBhcmFncmFwaEFsaWdubWVudAANAAAAbXNvQWxpZ25MZWZ0AAJUZXh0VmVydGljYWxBbGlnbm1lbnQAEAAAAG1zb0FuY2hvck1pZGRsZQADRm9udFN0eWxlAEABAAAQRm9udEJhY2tncm91bmQAAAAAAAhGb250Qm9sZAAAA0ZvbnRDb2xvcgBVAAAAEEEA/wAAABBSABAAAAAQRwA4AAAAEEIATwAAAAFTY0EAAAAAAAAA8D8BU2NSAAAAAOA2OXU/AVNjRwAAAACAZz+kPwFTY0IAAAAAYBcEtD8AEEZvbnRUaGVtZUNvbG9yAAAAAAABRm9udFRpbnRBbmRTaGFkZQAAAAAAAAAAABBGb250U2NoZW1lQ29sb3IAAAAAAAhGb250SXRhbGljAAACRm9udE5hbWUABgAAAEFyaWFsAAFGb250U2l6ZQAAAAAAAAAkQAhGb250U3RyaWtldGhyb3VnaAAACEZvbnRTdWJzY3JpcHQAAAhGb250U3VwZXJzY3JpcHQAAAhGb250VW5kZXJsaW5lAAAACFNpemVUb1RleHRXaWR0aAAACFNpemVUb1RleHRIZWlnaHQAAANUZXh0TWFyZ2luAD8AAAABTGVmdAAAAAAAAAAAAAFUb3AAAAAAAAAAAAABUmlnaHQAAAAAAAAAAAABQm90dG9tAAAAAAAAAAAAAAJEaXNwbGF5VGV4dAAJAAAAU3ByaW50IDMAAUhlaWdodAAAAABg3wsnQAFXaWR0aAAAAAAAdHpDQAFUb3AAAAAAwF7heEABTGVmdAAAAABASVw3QAhGbGlwSG9yaXpvbnRhbGx5AAAIRmxpcEhvcml6b250YWxseUFwcGxpZWQAAAhGbGlwVmVydGljYWxseQAACEZsaXBWZXJ0aWNhbGx5QXBwbGllZAAAAVJvdGF0aW9uAAAAAAAAAAAAAVpPcmRlcgAAAAAAAAA+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mVjdGFuZ2xlAHQGAAACQXV0b1NoYXBlVHlwZQAKAAAAUmVjdGFuZ2xlAAVNYW5hZ2VkSWQAEAAAAAQ5spr9vhqlSKesqUUvsOl0CEhhc0NoYW5nZXMAAAhVc2VOYW1lSW5zdGVhZE9mVGFnQXNJZAAACFNoYXBlUHJldmlvdXNseUNyZQ8BAAAFDAEAABABAADnDwAAAAAAAAAAAAB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BALQU4QAFXaWR0aAAAAAAAAAAAAAFUb3AAAAAAwGR9eEABTGVmdAAAAABAZe6NQAhGbGlwSG9yaXpvbnRhbGx5AAAIRmxpcEhvcml6b250YWxseUFwcGxpZWQAAAhGbGlwVmVydGljYWxseQAACEZsaXBWZXJ0aWNhbGx5QXBwbGllZAAAAVJvdGF0aW9uAAAAAAAAAAAAAVpPcmRlcgAAAAAAAEBV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EVHJhZmZpY0xpZ2h0RGF0YQAFAAAAAARIYXJ2ZXlCYWxsRGF0YQAFAAAAAAJUcmFmZmljTGlnaHRTdGF0ZQAEAAAAT2ZmAARDaGVja0JveERhdGEABQAAAAACQ2hlY2tCb3hTdGF0ZQAFAAAATm9uZQAAA1JpZ2h0Tm90ZXNSZW5kZXJJbmZvAGEUAAADTGFiZWwAdAYAAAVNYW5hZ2VkSWQAEAAAAAQhCkbqpXYUQb4H7pb2nuSHCEhhc0NoYW5nZXMAAQhVc2VOYW1lSW5zdGVhZE9mVGFnQXNJZAAACFNoYXBlUHJldmlvdXNseUNyZWF0ZWQAAA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AAkZpbGxQYXR0ZXJuABAAAABtc29QYXR0ZXJuTWl4ZWQAAlRleHQAAQAAA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kRpc3BsYXlUZXh0AAEAAAAAAUhlaWdodAAAAAAAAADwPwFXaWR0aAAAAAAAAADwPwFUb3AAAAAAAIyWcUABTGVmdAAAAABAZfaNQAhGbGlwSG9yaXpvbnRhbGx5AAAIRmxpcEhvcml6b250YWxseUFwcGxpZWQAAAhGbGlwVmVydGljYWxseQAACEZsaXBWZXJ0aWNhbGx5QXBwbGllZAAAAVJvdGF0aW9uAAAAAAAAAAAAAVpPcmRlcgAAAAAAAAAAA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2VwYXJhdG9yTGluZQDhBgAAA1N0YXJ0ABsAAAABWADNzMwWMvONQAFZAAAAAKC3/XlAAANFbmQAGwAAAAFYADMzM32Y+Y1AAVkAAAAAoLf9eUAAAlN0YXJ0QXJyb3dIZWFkABEAAABtc29BcnJvd2hlYWROb25lAAJFbmRBcnJvd0hlYWQAEQAAAG1zb0Fycm93aGVhZE5vbmUABU1hbmFnZWRJZAAQAAAABNoj80ae9X5GvRfOPycrcjYISGFzQ2hhbmdlcwABCFVzZU5hbWVJbnN0ZWFkT2ZUYWdBc0lkAAAIU2hhcGVQcmV2aW91c2x5Q3JlYXRlZAAA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CgmZnpPwFUb3AAAAAAoLf9eUABTGVmdAAAAAAgMvONQAhGbGlwSG9yaXpvbnRhbGx5AAAIRmxpcEhvcml6b250YWxseUFwcGxpZWQAAAhGbGlwVmVydGljYWxseQAACEZsaXBWZXJ0aWNhbGx5QXBwbGllZAAAAVJvdGF0aW9uAAAAAAAAAAAAAVpPcmRlcgAAAAAAAIBVQANCb3JkZXJDb2xvcgBVAAAAEEEA/wAAABBSAOMAAAAQRwDjAAAAEEIQAQAABQ8BAAASAQAA5w8AAAAAAAAAAAAAAOMAAAABU2NBAAAAAAAAAPA/AVNjUgAAAADAsZToPwFTY0cAAAAAwLGU6D8BU2NCAAAAAMCxlOg/ABBCb3JkZXJUaGVtZUNvbG9yAAAAAAABQm9yZGVyVGludEFuZFNoYWRlAAAAAAAAAAAAEEJvcmRlclNjaGVtZUNvbG9yAAAAAAABQm9yZGVyVGhpY2tuZXNzAAAAAAAAAPA/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JlY3RhbmdsZQB0BgAAAkF1dG9TaGFwZVR5cGUACgAAAFJlY3RhbmdsZQAFTWFuYWdlZElkABAAAAAEWses3GxoCEWwdymAmRTIcAhIYXNDaGFuZ2VzAAEIVXNlTmFtZUluc3RlYWRPZlRhZ0FzSWQAAAhTaGFwZVByZXZpb3VzbHlDcmVhdGVkAAADRmlsbENvbG9yAFUAAAAQQQAAAAAAEFIA/wAAABBHAP8AAAAQQgD/AAAAAVNjQQAAAAAAAAAAAAFTY1IAAAAAAAAA8D8BU2NHAAAAAAAAAPA/AVNjQgAAAAAAAADwP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A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EAtBThAAVdpZHRoAAAAAAAAAAAAAVRvcAAAAADAZH14QAFMZWZ0AAAAAEBl7o1ACEZsaXBIb3Jpem9udGFsbHkAAAhGbGlwSG9yaXpvbnRhbGx5QXBwbGllZAAACEZsaXBWZXJ0aWNhbGx5AAAIRmxpcFZlcnRpY2FsbHlBcHBsaWVkAAABUm90YXRpb24AAAAAAAAAAAABWk9yZGVyAAAAAAAAQFV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RUcmFmZmljTGlnaHREYXRhAAUAAAAABEhhcnZleUJhbGxEYXRhAAUAAAAAAlRyYWZmaWNMaWdodFN0YXRlAAQAAABPZmYABENoZWNrQm94RGF0YQAFAAAAAAJDaGVja0JveFN0YXRlAAUAAABOb25lAAADTGVmdFNpZGVSZW5kZXJJbmZvACEUAAADTGFiZWwApgYAAAVNYW5hZ2VkSWQAEAAAAARs4Geg9o8cRoV2xyNFTMh/CEhhc0NoYW5nZXMAAAhVc2VOYW1lSW5zdGVhZE9mVGFnQXNJZAAACFNoYXBlUHJldmlvdXNseUNyZWF0ZWQAAQ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QACQAAAFNwcmludCAzAAJUZXh0SG9yaXpvbnRhbEFsaWdubWVudAAOAAAAbXNvQW5jaG9yTm9uZQACUGFyYWdyYXBoQWxpZ25tZW50AA0AAABtc29BbGlnbkxlZnQAAlRleHRWZXJ0aWNhbEFsaWdubWVudAAQAAAAbXNvQW5jaG9yTWlkZGxlAANGb250U3R5bGUAQAEAABBGb250QmFja2dyb3VuZAAAAAAACEZvbnRCb2xkAAADRm9udENvbG9yAFUAAAAQQQD/AAAAEFIAEAAAABBHADgAAAAQQgBPAAAAAVNjQQAAAAAAAADwPwFTY1IAAAAA4DY5dT8BU2NHAAAAAIBnP6Q/AVNjQgAAAABgFwS0PwAQRm9udFRoZW1lQ29sb3IAAAAAAAFGb250VGludEFuZFNoYWRlAAAAAAAAAAAAEEZvbnRTY2hlbWVDb2xvcgAAAAAACEZvbnRJdGFsaWMAAAJGb250TmFtZQAGAAAAQXJpYWwAAUZvbnRTaXplAAAAAAAAACRACEZvbnRTdHJpa2V0aHJvdWdoAAAIRm9udFN1YnNjcmlwdAAACEZvbnRTdXBlcnNjcmlwdAAACEZvbnRVbmRlcmxpbmUAAAAIU2l6ZVRvVGV4dFdpZHRoAAAIU2l6ZVRvVGV4dEhlaWdodAAAA1RleHRNYXJnaW4APwAAAAFMZWZ0AAAAAAAAAAAAAVRvcAAAAAAAAAAAAAFSaWdodAAAAAAAAAAAAAFCb3R0b20AAAAAAAAAAAAAAkRpc3BsYXlUZXh0AAkAAABTcHJpbnQgMwABSGVpZ2h0AAAAAGDfCydAAVdpZHRoAAAAAAB0ekNAAVRvcAAAAADAXuF4QAFMZWZ0AAAAAEBJXDdACEZsaXBIb3Jpem9udGFsbHkAAAhGbGlwSG9yaXpvbnRhbGx5QXBwbGllZAAACEZsaXBWZXJ0aWNhbGx5AAAIRmxpcFZlcnRpY2FsbHlBcHBsaWVkAAABUm90YXRpb24AAAAAAAAAAAABWk9yZGVyAAAAAAAAAD5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SZWN0YW5nbGUAdAYAAAJBdXRvU2hhcGVUeXBlAAoAAABSZWN0YW5nbGUABU1hbmFnZWRJZAAQAAAABDmymv2+GqVIp6ypRS+w6XQISGFzQ2hhbmdlcwAACFVzZU5hbWVJbnN0ZWFkT2ZUYWdBc0lkAAAIU2hhcGVQcmV2aW91c2x5Q3JlYXRlZAAAA0ZpbGxDb2xvcgBVAAAAEEEAEQEAAAUOAQAAEwEAAOcPAAAAAAAAAAAAAGF0ZWQAAANGaWxsQ29sb3IAVQAAABBBAAAAAAAQUgD/AAAAEEcA/wAAABBCAP8AAAABU2NBAAAAAAAAAAAAAVNjUgAAAAAAAADwPwFTY0cAAAAAAAAA8D8BU2NCAAAAAAAAAPA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A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QC0FOEABV2lkdGgAAAAAAIPbjUABVG9wAAAAAMBkfXhAAUxlZnQAAAAAAEriCkAIRmxpcEhvcml6b250YWxseQAACEZsaXBIb3Jpem9udGFsbHlBcHBsaWVkAAAIRmxpcFZlcnRpY2FsbHkAAAhGbGlwVmVydGljYWxseUFwcGxpZWQAAAFSb3RhdGlvbgAAAAAAAAAAAAFaT3JkZXIAAAAAAAAAJk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NlcGFyYXRvckxpbmUA4QYAAANTdGFydAAbAAAAAVgAzczMzBavB0ABWQBOz1KYt/15QAADRW5kABsAAAABWAAzMzN9mPmNQAFZAE7PUpi3/XlAAAJTdGFydEFycm93SGVhZAARAAAAbXNvQXJyb3doZWFkTm9uZQACRW5kQXJyb3dIZWFkABEAAABtc29BcnJvd2hlYWROb25lAAVNYW5hZ2VkSWQAEAAAAASHRzvnv5XYQ68DhjLfNbkiCEhhc0NoYW5nZXMAAAhVc2VOYW1lSW5zdGVhZE9mVGFnQXNJZAAACFNoYXBlUHJldmlvdXNseUNyZWF0ZWQAAA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YOnhjUABVG9wAAAAAKC3/XlAAUxlZnQAAAAAwBavB0AIRmxpcEhvcml6b250YWxseQAACEZsaXBIb3Jpem9udGFsbHlBcHBsaWVkAAAIRmxpcFZlcnRpY2FsbHkAAAhGbGlwVmVydGljYWxseUFwcGxpZWQAAAFSb3RhdGlvbgAAAAAAAAAAAAFaT3JkZXIAAAAAAAAAKEADQm9yZGVyQ29sb3IAVQAAABBBAP8AAAAQUgDjAAAAEEcA4wAAABBCAOMAAAABU2NBAAAAAAAAAPA/AVNjUgAAAADAsZToPwFTY0cAAAAAwLGU6D8BU2NCAAAAAMCxlOg/ABBCb3JkZXJUaGVtZUNvbG9yAAAAAAABQm9yZGVyVGludEFuZFNoYWRlAAAAAAAAAAAAEEJvcmRlclNjaGVtZUNvbG9yAAAAAAABQm9yZGVyVGhpY2tuZXNzAAAAAAAAAPA/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AADMwBJaAAAEF9pZAANAAAABEl0ZW1zAJMcAAADMACLHAAAAl90eXBlAEsAAABlbXBvd2VyLkNoYXJ0cy5EYXRhLkdhbnR0LkNocm9ub2xvZ3kuRGF0YS5CYXJUYXNrRGF0YSwgZW1wb3dlci5DaGFydHMuRGF0YQACTGFiZWxQb3NpdGlvbgAHAAAAQ2VudGVyAAhJc0xhYmVsSW5zaWRlQm91bmRzAAEDU3R5bGUAWwQAAAFEZWZhdWx0Rm9udFNpemUAAAAAAAAAJEABRm9udFNpemUAAAAAAAAAIEADRm9udENvbG9yAFUAAAAQQQD/AAAAEFIAEAAAABBHADgAAAAQQgBPAAAAAVNjQQAAAAAAAADwPwFTY1IAAAAA4DY5dT8BU2NHAAAAAIBnP6Q/AVNjQgAAAABgFwS0PwAQRm9udFRoZW1lQ29sb3IAAAAAABBGb250U2NoZW1lQ29sb3IAAAAAAAFGb250VGludEFuZFNoYWRlAAAAAAAAAAAAA1BhdHRlcm5Db2xvcgBVAAAAEEEAAAAAABBSAAAAAAAQRwAAAAAAEEIAAAAAAAFTY0EAAAAAAAAAAAABU2NSAAAAAAAAAAAAAVNjRwAAAAAAAAAAAAFTY0IAAAAAAAAAAAAAEFBhdHRlcm5UaGVtZUNvbG9yAAAAAAABUGF0dGVyblRpbnRBbmRTaGFkZQAAAAAAAAAAAANEYXRhU3R5bGVGb250Q29sb3JWYWx1ZQBVAAAAEEEAAAAAABBSAAAAAAAQRwAAAAAAEEIAAAAAAAFTY0EAAAAAAAAAAAABU2NSAAAAAAAAAAAAAVNjRwAAAAAAAAAAAAFTY0IAAAAAAAAAAAAACERhdGFTdHlsZUZvbnRDb2xvckhhc1ZhbHVlAAABSGVpZ2h0AAAAAODdMihAAkRhc2hTdHlsZQANAAAAbXNvTGluZVNvbGlkAAhIYXNXaXNoRmlsbENvbG9yAAADRmlsbENvbG9yAFUAAAAQQQD/AAAAEFIAmRIBAAAFEAEAABUBAADnDwAAAAAAAAAAAAAAAAAAEFIA/wAAABBHAP8AAAAQQgD/AAAAAVNjQQAAAAAAAAAAAAFTY1IAAAAAAAAA8D8BU2NHAAAAAAAAAPA/AVNjQgAAAAAAAADwP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A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EAtBThAAVdpZHRoAAAAAACD241AAVRvcAAAAADAZH14QAFMZWZ0AAAAAABK4gpACEZsaXBIb3Jpem9udGFsbHkAAAhGbGlwSG9yaXpvbnRhbGx5QXBwbGllZAAACEZsaXBWZXJ0aWNhbGx5AAAIRmxpcFZlcnRpY2FsbHlBcHBsaWVkAAABUm90YXRpb24AAAAAAAAAAAABWk9yZGVyAAAAAAAAACZ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TZXBhcmF0b3JMaW5lAOEGAAADU3RhcnQAGwAAAAFYAM3MzMwWrwdAAVkATs9SmLf9eUAAA0VuZAAbAAAAAVgAMzMzfZj5jUABWQBOz1KYt/15QAACU3RhcnRBcnJvd0hlYWQAEQAAAG1zb0Fycm93aGVhZE5vbmUAAkVuZEFycm93SGVhZAARAAAAbXNvQXJyb3doZWFkTm9uZQAFTWFuYWdlZElkABAAAAAEh0c757+V2EOvA4Yy3zW5IghIYXNDaGFuZ2VzAAAIVXNlTmFtZUluc3RlYWRPZlRhZ0FzSWQAAAhTaGFwZVByZXZpb3VzbHlDcmVhdGVkAAA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AAAAAAAAVdpZHRoAAAAAGDp4Y1AAVRvcAAAAACgt/15QAFMZWZ0AAAAAMAWrwdACEZsaXBIb3Jpem9udGFsbHkAAAhGbGlwSG9yaXpvbnRhbGx5QXBwbGllZAAACEZsaXBWZXJ0aWNhbGx5AAAIRmxpcFZlcnRpY2FsbHlBcHBsaWVkAAABUm90YXRpb24AAAAAAAAAAAABWk9yZGVyAAAAAAAAAChAA0JvcmRlckNvbG9yAFUAAAAQQQD/AAAAEFIA4wAAABBHAOMAAAAQQgDjAAAAAVNjQQAAAAAAAADwPwFTY1IAAAAAwLGU6D8BU2NHAAAAAMCxlOg/AVNjQgAAAADAsZToPwAQQm9yZGVyVGhlbWVDb2xvcgAAAAAAAUJvcmRlclRpbnRBbmRTaGFkZQAAAAAAAAAAABBCb3JkZXJTY2hlbWVDb2xvcgAAAAAAAUJvcmRlclRoaWNrbmVzcwAAAAAAAADw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AAAzMASWgAABBfaWQADQAAAARJdGVtcwCTHAAAAzAAixwAAAJfdHlwZQBLAAAAZW1wb3dlci5DaGFydHMuRGF0YS5HYW50dC5DaHJvbm9sb2d5LkRhdGEuQmFyVGFza0RhdGEsIGVtcG93ZXIuQ2hhcnRzLkRhdGEAAkxhYmVsUG9zaXRpb24ABwAAAENlbnRlcgAISXNMYWJlbEluc2lkZUJvdW5kcwABA1N0eWxlAFsEAAABRGVmYXVsdEZvbnRTaXplAAAAAAAAACRAAUZvbnRTaXplAAAAAAAAACBAA0ZvbnRDb2xvcgBVAAAAEEEA/wAAABBSABAAAAAQRwA4AAAAEEIATwAAAAFTY0EAAAAAAAAA8D8BU2NSAAAAAOA2OXU/AVNjRwAAAACAZz+kPwFTY0IAAAAAYBcEtD8AEEZvbnRUaGVtZUNvbG9yAAAAAAAQRm9udFNjaGVtZUNvbG9yAAAAAAABRm9udFRpbnRBbmRTaGFkZQAAAAAAAAAAAANQYXR0ZXJuQ29sb3IAVQAAABBBAAAAAAAQUgAAAAAAEEcAAAAAABBCAAAAAAABU2NBAAAAAAAAAAAAAVNjUgAAAAAAAAAAAAFTY0cAAAAAAAAAAAABU2NCAAAAAAAAAAAAABBQYXR0ZXJuVGhlbWVDb2xvcgAAAAAAAVBhdHRlcm5UaW50QW5kU2hhZGUAAAAAAAAAAAADRGF0YVN0eWxlRm9udENvbG9yVmFsdWUAVQAAABBBAAAAAAAQUgAAAAAAEEcAAAAAABBCAAAAAAABU2NBAAAAAAAAAAAAAVNjUgAAAAAAAAAAAAFTY0cAAAAAAAAAAAABU2NCAAAAAAAAAAAAAAhEYXRhU3R5bGVGb250Q29sb3JIYXNWYWx1ZQAAAUhlaWdodAAAAADg3TIoQAJEYXNoU3R5bGUADQAAAG1zb0xpbmVTb2xpZAAISGFzV2lzaEZpbGxDb2xvcgAAA0ZpbGxDb2xvcgBVAAAAEEEA/wAAABBSAJkAAAAQRwDTAAAAEEIA8gAAAAFTY0EAAAATAQAABREBAAAUAQAA5w8AAAAAAAAAAAAAAAAAEEcA0wAAABBCAPIAAAABU2NBAAAAAAAAAPA/AVNjUgAAAAAgEmPUPwFTY0cAAAAAoFDY5D8BU2NCAAAAAMDdaew/ABBGaWxsU2NoZW1lQ29sb3IAAAAAABBGaWxsVGhlbWVDb2xvcgAAAAAAAUZpbGxUaW50QW5kU2hhZGUAAAAAAAAAAAADQm9yZGVyQ29sb3IAVQAAABBBAAAAAAAQUgAAAAAAEEcAAAAAABBCAAAAAAABU2NBAAAAAAAAAAAAAVNjUgAAAAAAAAAAAAFTY0cAAAAAAAAAAAABU2NCAAAAAAAAAAAAABBCb3JkZXJUaGVtZUNvbG9yAAAAAAABQm9yZGVyVGludEFuZFNoYWRlAAAAAAAAAAAACElzRmlsbGVkAAECUGF0dGVybgAQAAAAbXNvUGF0dGVybk1peGVkAAJTaGFwZVR5cGUADgAAAG1zb1NoYXBlTWl4ZWQAA0xhYmVsT2Zmc2V0AEIAAAABWAAAAAAAAAAAAAFZAAAAAAAAAAAAAUxlbmd0aAAAAAAAAAAAAAFMZW5ndGhTcXVhcmVkAAAAAAAAAAAAAAhJc0ZvbnRCb2xkAAAISXNGb250SXRhbGljAAAISXNGb250VW5kZXJsaW5lZAAACExhYmVsSGFzQmFja2dyb3VuZAAAAlRleHRBbGlnbm1lbnQABQAAAExlZnQAAAhEaXNwbGF5TGFiZWwAAQNSZW5kZXJJbmZvAAUXAAADUmVjdGFuZ2xlRnJlZWZvcm0A/AgAAARWZXJ0aWNlcwCbAgAAAzAALAAAABBJbmRleDAAAAAAABBJbmRleDEAAAAAAAFWYWx1ZQAAAAAgPQF3QAADMQAsAAAAEEluZGV4MAAAAAAAEEluZGV4MQABAAAAAVZhbHVlAAAAAIAVbXpAAAMyACwAAAAQSW5kZXgwAAEAAAAQSW5kZXgxAAAAAAABVmFsdWUAAAAAID0Bd0AAAzMALAAAABBJbmRleDAAAQAAABBJbmRleDEAAQAAAAFWYWx1ZQAAAAAA4c16QAADNAAsAAAAEEluZGV4MAACAAAAEEluZGV4MQAAAAAAAVZhbHVlAAAAACA9AXdAAAM1ACwAAAAQSW5kZXgwAAIAAAAQSW5kZXgxAAEAAAABVmFsdWUAAAAAYKwue0AAAzYALAAAABBJbmRleDAAAwAAABBJbmRleDEAAAAAAAFWYWx1ZQAAAADAq6F9QAADNwAsAAAAEEluZGV4MAADAAAAEEluZGV4MQABAAAAAVZhbHVlAAAAAGCsLntAAAM4ACwAAAAQSW5kZXgwAAQAAAAQSW5kZXgxAAAAAAABVmFsdWUAAAAAwKuhfUAAAzkALAAAABBJbmRleDAABAAAABBJbmRleDEAAQAAAAFWYWx1ZQAAAAAA4c16QAADMTAALAAAABBJbmRleDAABQAAABBJbmRleDEAAAAAAAFWYWx1ZQAAAADAq6F9QAADMTEALAAAABBJbmRleDAABQAAABBJbmRleDEAAQAAAAFWYWx1ZQAAAACAFW16QAADMTIALAAAABBJbmRleDAABgAAABBJbmRleDEAAAAAAAFWYWx1ZQAAAAAgPQF3QAADMTMALAAAABBJbmRleDAABgAAABBJbmRleDEAAQAAAAFWYWx1ZQAAAACAFW16QAAABU1hbmFnZWRJZAAQAAAABKORitP2HCNNidhwVVZ56bkISGFzQ2hhbmdlcwAACFVzZU5hbWVJbnN0ZWFkT2ZUYWdBc0lkAAAIU2hhcGVQcmV2aW91c2x5Q3JlYXRlZAAAA0ZpbGxDb2xvcgBVAAAAEEEA/wAAABBSAJkAAAAQRwDTAAAAEEIA8gAAAAFTY0EAAAAAAAAA8D8BU2NSAAAAACASY9Q/AVNjRwAAAACgUNjkPwFTY0IAAAAAwN1p7D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DA3TIoQAFXaWR0aAAAAADAuoFaQAFUb3AAAAAAgBVtekABTGVmdAAAAAAgPQF3QAhGbGlwSG9yaXpvbnRhbGx5AAAIRmxpcEhvcml6b250YWxseUFwcGxpZWQAAAhGbGlwVmVydGljYWxseQAACEZsaXBWZXJ0aWNhbGx5QXBwbGllZAAAAVJvdGF0aW9uAAAAAAAAAAAAAVpPcmRlcgAAAAAAAIBRQANCb3JkZXJDb2xvcgBVAAAAEEEA/wAAABBSAP8AAAAQRwD/AAAAEEIA/wAAAAFTY0EAAAAAAAAA8D8BU2NSAAAAAAAAAPA/AVNjRwAAAAAAAADwPwFTY0IAAAAAAAAA8D8AEEJvcmRlclRoZW1lQ29sb3IAAAAAAAFCb3JkZXJUaW50QW5kU2hhZGUAAAAAAAAAAAAQQm9yZGVyU2NoZW1lQ29sb3IAAAAAAAFCb3JkZXJUaGlja25lc3MAAAAAAAAA8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QmFyU3R5bGVEYXRhACYAAAACQmFyU3R5bGVTaGFwZVR5cGUACgAAAFJlY3RhbmdsZQAAA0xhYmVsAMIGAAAFTWFuYWdlZElkABAAAAAEVz+XO7N6EkWmuepfnEYIRQhIYXNDaGFuZ2VzAAAIVXNlTmFtZUluc3RlYWRPZlRhZ0FzSWQAAAhTaGFwZVByZXZpb3VzbHlDcmVhdGVkAAEDRmlsbENvbG9yAFUAAAAQQQD/AAAAEFIAmQAAABBHANMAAAAQQgDyAAAAAVNjQQAAAAAAAADwPwFTY1IAAAAAIBJj1D8BU2NHAAAAAKBQ2OQ/AVNjQgAAAADA3WnsP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ABYAAABQcnVlYmFzIEZ1bmNpb25hbGlkYWQAAlRleHRIb3Jpem9udGFsQWxpZ25tZW50AA4AAABtc29BbmNob3JOb25lAAJQYXJhZ3JhcGhBbGlnbm1lbnQADwAAAG1zb0FsaWduQ2VudGVyAAJUZXh0VmVydGljYWxBbGlnbm1lbnQAEAAAAG1zb0FuY2hvck1pZGRsZQADRm9udFN0eWxlAEABAAAQRm9udEJhY2tncm91bmQAAAAAAAhGb250Qm9sZAAAA0ZvbnRDb2xvcgBVAAAAEEEA/wAAABBSABAAAAAQRwA4AAAAEEIATwAAAAFTY0EAAAAAAAAA8D8BU2NSAAAAAOA2OXU/AVNjRwAAAACAZz+kPwFTY0IAAAAAYBcEtD8AEEZvbnRUaGVtZUNvbG9yAAAAAAABRm9udFRpbnRBbmRTaGFkZQAAAAAAAAAAABBGb250U2NoZW1lQ29sb3IAAAAAAAhGb250SXRhbGljAAACRm9udE5hbWUABgAAAEFyaWFsAAFGb250U2l6ZQAAAAAAAAAgQAhGb250U3RyaWtldGhyb3VnaAAACEZvbnRTdWJzY3JpcHQAAAhGb250U3VwZXJzY3JpcHQAAAhGb250VW5kZXJsaW5lAAAACFNpemVUb1RleHRXaWR0aAAACFNpemVUb1RleHRIZWlnaHQAAANUZXh0TWFyZ2luAD8AAAABTGVmdAAAAAAAAAAAAAFUb3AAAAAAAAAAAAABUmlnaHQAAAAAAAAAAAABQm90dG9tAAAAAAAAAAAAAAJEaXNwbGF5VGV4dAAWAAAAUHJ1ZWJhcyBGdW5jaW9uYWxpZGFkAAFIZWlnaHQAAAAAABZcI0ABV2lkdGgAAAAAFAEAAAUTAQAAFwEAAOcPAAAAAAAAAAAAAIDClVRAAVRvcAAAAACgcIB6QAFMZWZ0AAAAACC8vndACEZsaXBIb3Jpem9udGFsbHkAAAhGbGlwSG9yaXpvbnRhbGx5QXBwbGllZAAACEZsaXBWZXJ0aWNhbGx5AAAIRmxpcFZlcnRpY2FsbHlBcHBsaWVkAAABUm90YXRpb24AAAAAAAAAAAABWk9yZGVyAAAAAAAAAFJ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Db25uZWN0b3JMaW5lRGF0YQDhBgAAA1N0YXJ0ABsAAAABWAAAAAAgPQF3QAFZAAAAAIAVbXpAAANFbmQAGwAAAAFYAAAAACA9AXdAAVkAAAAAgBVtekAAAlN0YXJ0QXJyb3dIZWFkABEAAABtc29BcnJvd2hlYWROb25lAAJFbmRBcnJvd0hlYWQAEQAAAG1zb0Fycm93aGVhZE5vbmUABU1hbmFnZWRJZAAQAAAABLZzWPIatzVHrjmBdg9L0nIISGFzQ2hhbmdlcwAACFVzZU5hbWVJbnN0ZWFkT2ZUYWdBc0lkAAAIU2hhcGVQcmV2aW91c2x5Q3JlYXRlZAAA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A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AAAAAAAAFUb3AAAAAAgBVtekABTGVmdAAAAAAgPQF3QAhGbGlwSG9yaXpvbnRhbGx5AAAIRmxpcEhvcml6b250YWxseUFwcGxpZWQAAAhGbGlwVmVydGljYWxseQAACEZsaXBWZXJ0aWNhbGx5QXBwbGllZAAAAVJvdGF0aW9uAAAAAAAAAAAAAVpPcmRlcgAAAAAAAMBRQANCb3JkZXJDb2xvcgBVAAAAEEEA/wAAABBSAJkAAAAQRwDTAAAAEEIA8gAAAAFTY0EAAAAAAAAA8D8BU2NSAAAAACASY9Q/AVNjRwAAAACgUNjkPwFTY0IAAAAAwN1p7D8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ACUVuZFRpbWUAABOuQ5ABAAAQSW5kZXgAAQAAAAJEZXNjcmlwdGlvbgAWAAAAUHJ1ZWJhcyBGdW5jaW9uYWxpZGFkAAJOYW1lAAUAAABUYXNrAAhJc0xlYWRlckxpbmVJbkF1dG9Nb2RlAAEJU3RhcnRUaW1lAADjrtyPAQAAAAACTmFtZQAJAAAAU3ByaW50IDQACElzSGlnaGxpZ2h0ZWQAAAhJc1NlcGFyYXRvckxpbmVWaXNpYmxlAAEDU3R5bGUAdAQAAAFEZWZhdWx0Rm9udFNpemUAAAAAAAAAJEABRm9udFNpemUAAAAAAAAAJEADRm9udENvbG9yAFUAAAAQQQD/AAAAEFIAEAAAABBHADgAAAAQQgBPAAAAAVNjQQAAAAAAAADwPwFTY1IAAAAA4DY5dT8BU2NHAAAAAIBnP6Q/AVNjQgAAAABgFwS0PwAQRm9udFRoZW1lQ29sb3IAAAAAABBGb250U2NoZW1lQ29sb3IAAAAAAAFGb250VGludEFuZFNoYWRlAAAAAAAAAAAAA1BhdHRlcm5Db2xvcgBVAAAAEEEAAAAAABBSAAAAAAAQRwAAAAAAEEIAAAAAAAFTY0EAAAAAAAAAAAABU2NSAAAAAAAAAAAAAVNjRwAAAAAAAAAAAAFTY0IAAAAAAAAAAAAAEFBhdHRlcm5UaGVtZUNvbG9yAAAAAAABUGF0dGVyblRpbnRBbmRTaGFkZQAAAAAAAAAAAANEYXRhU3R5bGVGb250Q29sb3JWYWx1ZQBVAAAAEEEA/wAAABBSABAAAAAQRwA4AAAAEEIATwAAAAFTY0EAAAAAAAAA8D8BU2NSAAAAAOA2OXU/AVNjRwAAAACAZz+kPwFTY0IAAAAAYBcEtD8ACERhdGFTdHlsZUZvbnRDb2xvckhhc1ZhbHVlAAEBSGVpZ2h0AAAAAAAAAAAAAkRhc2hTdHlsZQANAAAAbXNvTGluZVNvbGlkAAhIYXNXaXNoRmlsbENvbG9yAAEDRmlsbENvbG9yAFUAAAAQQQAAAAAAEFIA/wAAABBHAP8AAAAQQgD/AAAAAVNjQQAAAAAAAAAAAAFTY1IAAAAAAAAA8D8BU2NHAAAAAAAAAPA/AVNjQgAAAAAAAADwPwAQRmlsbFNjaGVtZUNvbG9yAAAAAAAQRmlsbFRoZW1lQ29sb3IAAAAAAAFGaWxsVGludEFuZFNoYWRlAAAAAAAAAAAAA0JvcmRlckNvbG9yAFUAAAAQQQD/AAAAEFIA4wAAABBHAOMAAAAQQgDjAAAAAVNjQQAAAAAAAADwPwFTY1IAAAAAwLGU6D8BU2NHAAAAAMCxlOg/AVNjQgAAAADAsZToPwAQQm9yZGVyVGhlbWVDb2xvcgAAAAAAAUJvcmRlclRpbnRBbmRTaGFkZQAAAAAAAAAAAAhJc0ZpbGxlZAABAlBhdHRlcm4AEAAAAG1zb1BhdHRlcm5NaXhlZAACU2hhcGVUeXBlAA4AAABtc29TaGFwZU1peGVkAANMYWJlbE9mZnNldABCAAAAAVgAAAAAAAAAAAABWQAAAAAAAAAAAAFMZW5ndGgAAAAAAAAAAAABTGVuZ3RoU3F1YXJlZAAAAAAAAAAAAAABQm9yZGVyVGhpY2tuZXNzAAAAAAAAAPA/CElzRm9udEJvbGQAAAhJc0ZvbnRJdGFsaWMAAAhJc0ZvbnRVbmRlcmxpbmVkAAAITGFiZWxIYXNCYWNrZ3JvdW5kAAACVGV4dEFsaWdubWVudAAFAAAATGVmdAAAAVJvd1RvcABOz1KYtwV6QAFSb3dIZWlnaHQAbjUqMi0FOUADTGVmdE5vdGVzAMcEAAADVGV4dFN0eWxlAFsEAAABRGVmYXVsdEZvbnRTaXplAAAAAAAAACRAAUZvbnRTaXplAAAAAAAAACRAA0ZvbnRDb2xvcgBVAAAAEEEA/wAAABBSABAAAAAQRwA4AAAAEEIATwAAAAFTY0EAAAAAAAAA8D8BU2NSAAAAAOA2OXU/AVNjRwAAAACAZz+kPwFTY0IAAAAAYBcEtD8AEEZvbnRUaGVtZUNvbG9yAAAAAAAQRm9udFNjaGVtZUNvbG9yAAAAAAABRm9udFRpbnRBbmRTaGFkZQAAAAAAAAAAAANQYXR0ZXJuQ29sb3IAVQAAABBBAAAAAAAQUgAAAAAAEEcAAAAAABBCAAAAAAABU2NBAAAAAAAAAAAAAVNjUgAAAAAAAAAAAAFTY0cAAAAAAAAAAAABU2NCABUBAAAFEgEAABYBAADnDwAAAAAAAAAAAAAAAAAA8D8BU2NSAAAAACASY9Q/AVNjRwAAAACgUNjkPwFTY0IAAAAAwN1p7D8AEEZpbGxTY2hlbWVDb2xvcgAAAAAAEEZpbGxUaGVtZUNvbG9yAAAAAAABRmlsbFRpbnRBbmRTaGFkZQAAAAAAAAAAAANCb3JkZXJDb2xvcgBVAAAAEEEAAAAAABBSAAAAAAAQRwAAAAAAEEIAAAAAAAFTY0EAAAAAAAAAAAABU2NSAAAAAAAAAAAAAVNjRwAAAAAAAAAAAAFTY0IAAAAAAAAAAAAAEEJvcmRlclRoZW1lQ29sb3IAAAAAAAFCb3JkZXJUaW50QW5kU2hhZGUAAAAAAAAAAAAISXNGaWxsZWQAAQJQYXR0ZXJuABAAAABtc29QYXR0ZXJuTWl4ZWQAAlNoYXBlVHlwZQAOAAAAbXNvU2hhcGVNaXhlZAADTGFiZWxPZmZzZXQAQgAAAAFYAAAAAAAAAAAAAVkAAAAAAAAAAAABTGVuZ3RoAAAAAAAAAAAAAUxlbmd0aFNxdWFyZWQAAAAAAAAAAAAACElzRm9udEJvbGQAAAhJc0ZvbnRJdGFsaWMAAAhJc0ZvbnRVbmRlcmxpbmVkAAAITGFiZWxIYXNCYWNrZ3JvdW5kAAACVGV4dEFsaWdubWVudAAFAAAATGVmdAAACERpc3BsYXlMYWJlbAABA1JlbmRlckluZm8ABRcAAANSZWN0YW5nbGVGcmVlZm9ybQD8CAAABFZlcnRpY2VzAJsCAAADMAAsAAAAEEluZGV4MAAAAAAAEEluZGV4MQAAAAAAAVZhbHVlAAAAACA9AXdAAAMxACwAAAAQSW5kZXgwAAAAAAAQSW5kZXgxAAEAAAABVmFsdWUAAAAAgBVtekAAAzIALAAAABBJbmRleDAAAQAAABBJbmRleDEAAAAAAAFWYWx1ZQAAAAAgPQF3QAADMwAsAAAAEEluZGV4MAABAAAAEEluZGV4MQABAAAAAVZhbHVlAAAAAADhzXpAAAM0ACwAAAAQSW5kZXgwAAIAAAAQSW5kZXgxAAAAAAABVmFsdWUAAAAAID0Bd0AAAzUALAAAABBJbmRleDAAAgAAABBJbmRleDEAAQAAAAFWYWx1ZQAAAABgrC57QAADNgAsAAAAEEluZGV4MAADAAAAEEluZGV4MQAAAAAAAVZhbHVlAAAAAMCroX1AAAM3ACwAAAAQSW5kZXgwAAMAAAAQSW5kZXgxAAEAAAABVmFsdWUAAAAAYKwue0AAAzgALAAAABBJbmRleDAABAAAABBJbmRleDEAAAAAAAFWYWx1ZQAAAADAq6F9QAADOQAsAAAAEEluZGV4MAAEAAAAEEluZGV4MQABAAAAAVZhbHVlAAAAAADhzXpAAAMxMAAsAAAAEEluZGV4MAAFAAAAEEluZGV4MQAAAAAAAVZhbHVlAAAAAMCroX1AAAMxMQAsAAAAEEluZGV4MAAFAAAAEEluZGV4MQABAAAAAVZhbHVlAAAAAIAVbXpAAAMxMgAsAAAAEEluZGV4MAAGAAAAEEluZGV4MQAAAAAAAVZhbHVlAAAAACA9AXdAAAMxMwAsAAAAEEluZGV4MAAGAAAAEEluZGV4MQABAAAAAVZhbHVlAAAAAIAVbXpAAAAFTWFuYWdlZElkABAAAAAEo5GK0/YcI02J2HBVVnnpuQhIYXNDaGFuZ2VzAAAIVXNlTmFtZUluc3RlYWRPZlRhZ0FzSWQAAAhTaGFwZVByZXZpb3VzbHlDcmVhdGVkAAADRmlsbENvbG9yAFUAAAAQQQD/AAAAEFIAmQAAABBHANMAAAAQQgDyAAAAAVNjQQAAAAAAAADwPwFTY1IAAAAAIBJj1D8BU2NHAAAAAKBQ2OQ/AVNjQgAAAADA3WnsP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MDdMihAAVdpZHRoAAAAAMC6gVpAAVRvcAAAAACAFW16QAFMZWZ0AAAAACA9AXdACEZsaXBIb3Jpem9udGFsbHkAAAhGbGlwSG9yaXpvbnRhbGx5QXBwbGllZAAACEZsaXBWZXJ0aWNhbGx5AAAIRmxpcFZlcnRpY2FsbHlBcHBsaWVkAAABUm90YXRpb24AAAAAAAAAAAABWk9yZGVyAAAAAAAAgFFAA0JvcmRlckNvbG9yAFUAAAAQQQD/AAAAEFIA/wAAABBHAP8AAAAQQgD/AAAAAVNjQQAAAAAAAADwPwFTY1IAAAAAAAAA8D8BU2NHAAAAAAAAAPA/AVNjQgAAAAAAAADwPwAQQm9yZGVyVGhlbWVDb2xvcgAAAAAAAUJvcmRlclRpbnRBbmRTaGFkZQAAAAAAAAAAABBCb3JkZXJTY2hlbWVDb2xvcgAAAAAAAUJvcmRlclRoaWNrbmVzcwAAAAAAAADw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CYXJTdHlsZURhdGEAJgAAAAJCYXJTdHlsZVNoYXBlVHlwZQAKAAAAUmVjdGFuZ2xlAAADTGFiZWwAwgYAAAVNYW5hZ2VkSWQAEAAAAARXP5c7s3oSRaa56l+cRghFCEhhc0NoYW5nZXMAAAhVc2VOYW1lSW5zdGVhZE9mVGFnQXNJZAAACFNoYXBlUHJldmlvdXNseUNyZWF0ZWQAAQNGaWxsQ29sb3IAVQAAABBBAP8AAAAQUgCZAAAAEEcA0wAAABBCAPIAAAABU2NBAAAAAAAAAPA/AVNjUgAAAAAgEmPUPwFTY0cAAAAAoFDY5D8BU2NCAAAAAMDdaew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QAFgAAAFBydWViYXMgRnVuY2lvbmFsaWRhZAACVGV4dEhvcml6b250YWxBbGlnbm1lbnQADgAAAG1zb0FuY2hvck5vbmUAAlBhcmFncmFwaEFsaWdubWVudAAPAAAAbXNvQWxpZ25DZW50ZXIAAlRleHRWZXJ0aWNhbEFsaWdubWVudAAQAAAAbXNvQW5jaG9yTWlkZGxlAANGb250U3R5bGUAQAEAABBGb250QmFja2dyb3VuZAAAAAAACEZvbnRCb2xkAAADRm9udENvbG9yAFUAAAAQQQD/AAAAEFIAEAAAABBHADgAAAAQQgBPAAAAAVNjQQAAAAAAAADwPwFTY1IAAAAA4DY5dT8BU2NHAAAAAIBnP6Q/AVNjQgAAAABgFwS0PwAQRm9udFRoZW1lQ29sb3IAAAAAAAFGb250VGludEFuZFNoYWRlAAAAAAAAAAAAEEZvbnRTY2hlbWVDb2xvcgAAAAAACEZvbnRJdGFsaWMAAAJGb250TmFtZQAGAAAAQXJpYWwAAUZvbnRTaXplAAAAAAAAACBACEZvbnRTdHJpa2V0aHJvdWdoAAAIRm9udFN1YnNjcmlwdAAACEZvbnRTdXBlcnNjcmlwdAAACEZvbnRVbmRlcmxpbmUAAAAIU2l6ZVRvVGV4dFdpZHRoAAAIU2l6ZVRvVGV4dEhlaWdodAAAA1RleHRNYXJnaW4APwAAAAFMZWZ0AAAAAAAAAAAAAVRvcAAAAAAAAAAAAAFSaWdodAAAAAAAAAAAAAFCb3R0b20AAAAAAAAAAAAAAkRpc3BsYXlUZXh0ABYAAABQcnVlYmFzIEZ1bmNpb25hbGlkYWQAAUhlaWdodAAAAAAAFlwjQAFXaWR0aAAAAACAwpVUQAFUb3AAAAAAoHCAekABTGVmdAAWAQAABRUBAAAdAQAA5w8AAAAAAAAAAAAAAAAAILy+d0AIRmxpcEhvcml6b250YWxseQAACEZsaXBIb3Jpem9udGFsbHlBcHBsaWVkAAAIRmxpcFZlcnRpY2FsbHkAAAhGbGlwVmVydGljYWxseUFwcGxpZWQAAAFSb3RhdGlvbgAAAAAAAAAAAAFaT3JkZXIAAAAAAAAAUk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Nvbm5lY3RvckxpbmVEYXRhAOEGAAADU3RhcnQAGwAAAAFYAAAAACA9AXdAAVkAAAAAgBVtekAAA0VuZAAbAAAAAVgAAAAAID0Bd0ABWQAAAACAFW16QAACU3RhcnRBcnJvd0hlYWQAEQAAAG1zb0Fycm93aGVhZE5vbmUAAkVuZEFycm93SGVhZAARAAAAbXNvQXJyb3doZWFkTm9uZQAFTWFuYWdlZElkABAAAAAEtnNY8hq3NUeuOYF2D0vScghIYXNDaGFuZ2VzAAAIVXNlTmFtZUluc3RlYWRPZlRhZ0FzSWQAAAhTaGFwZVByZXZpb3VzbHlDcmVhdGVkAAA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A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AAAAAAAAVdpZHRoAAAAAAAAAAAAAVRvcAAAAACAFW16QAFMZWZ0AAAAACA9AXdACEZsaXBIb3Jpem9udGFsbHkAAAhGbGlwSG9yaXpvbnRhbGx5QXBwbGllZAAACEZsaXBWZXJ0aWNhbGx5AAAIRmxpcFZlcnRpY2FsbHlBcHBsaWVkAAABUm90YXRpb24AAAAAAAAAAAABWk9yZGVyAAAAAAAAwFFAA0JvcmRlckNvbG9yAFUAAAAQQQD/AAAAEFIAmQAAABBHANMAAAAQQgDyAAAAAVNjQQAAAAAAAADwPwFTY1IAAAAAIBJj1D8BU2NHAAAAAKBQ2OQ/AVNjQgAAAADA3WnsPw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AJRW5kVGltZQAAE65DkAEAABBJbmRleAABAAAAAkRlc2NyaXB0aW9uABYAAABQcnVlYmFzIEZ1bmNpb25hbGlkYWQAAk5hbWUABQAAAFRhc2sACElzTGVhZGVyTGluZUluQXV0b01vZGUAAQlTdGFydFRpbWUAAOOu3I8BAAAAAAJOYW1lAAkAAABTcHJpbnQgNAAISXNIaWdobGlnaHRlZAAACElzU2VwYXJhdG9yTGluZVZpc2libGUAAQNTdHlsZQB0BAAAAURlZmF1bHRGb250U2l6ZQAAAAAAAAAkQAFGb250U2l6ZQAAAAAAAAAkQANGb250Q29sb3IAVQAAABBBAP8AAAAQUgAQAAAAEEcAOAAAABBCAE8AAAABU2NBAAAAAAAAAPA/AVNjUgAAAADgNjl1PwFTY0cAAAAAgGc/pD8BU2NCAAAAAGAXBLQ/ABBGb250VGhlbWVDb2xvcgAAAAAAEEZvbnRTY2hlbWVDb2xvcgAAAAAAAUZvbnRUaW50QW5kU2hhZGUAAAAAAAAAAAADUGF0dGVybkNvbG9yAFUAAAAQQQAAAAAAEFIAAAAAABBHAAAAAAAQQgAAAAAAAVNjQQAAAAAAAAAAAAFTY1IAAAAAAAAAAAABU2NHAAAAAAAAAAAAAVNjQgAAAAAAAAAAAAAQUGF0dGVyblRoZW1lQ29sb3IAAAAAAAFQYXR0ZXJuVGludEFuZFNoYWRlAAAAAAAAAAAAA0RhdGFTdHlsZUZvbnRDb2xvclZhbHVlAFUAAAAQQQD/AAAAEFIAEAAAABBHADgAAAAQQgBPAAAAAVNjQQAAAAAAAADwPwFTY1IAAAAA4DY5dT8BU2NHAAAAAIBnP6Q/AVNjQgAAAABgFwS0PwAIRGF0YVN0eWxlRm9udENvbG9ySGFzVmFsdWUAAQFIZWlnaHQAAAAAAAAAAAACRGFzaFN0eWxlAA0AAABtc29MaW5lU29saWQACEhhc1dpc2hGaWxsQ29sb3IAAQNGaWxsQ29sb3IAVQAAABBBAAAAAAAQUgD/AAAAEEcA/wAAABBCAP8AAAABU2NBAAAAAAAAAAAAAVNjUgAAAAAAAADwPwFTY0cAAAAAAAAA8D8BU2NCAAAAAAAAAPA/ABBGaWxsU2NoZW1lQ29sb3IAAAAAABBGaWxsVGhlbWVDb2xvcgAAAAAAAUZpbGxUaW50QW5kU2hhZGUAAAAAAAAAAAADQm9yZGVyQ29sb3IAVQAAABBBAP8AAAAQUgDjAAAAEEcA4wAAABBCAOMAAAABU2NBAAAAAAAAAPA/AVNjUgAAAADAsZToPwFTY0cAAAAAwLGU6D8BU2NCAAAAAMCxlOg/ABBCb3JkZXJUaGVtZUNvbG9yAAAAAAABQm9yZGVyVGludEFuZFNoYWRlAAAAAAAAAAAACElzRmlsbGVkAAECUGF0dGVybgAQAAAAbXNvUGF0dGVybk1peGVkAAJTaGFwZVR5cGUADgAAAG1zb1NoYXBlTWl4ZWQAA0xhYmVsT2Zmc2V0AEIAAAABWAAAAAAAAAAAAAFZAAAAAAAAAAAAAUxlbmd0aAAAAAAAAAAAAAFMZW5ndGhTcXVhcmVkAAAAAAAAAAAAAAFCb3JkZXJUaGlja25lc3MAAAAAAAAA8D8ISXNGb250Qm9sZAAACElzRm9udEl0YWxpYwAACElzRm9udFVuZGVybGluZWQAAAhMYWJlbEhhc0JhY2tncm91bmQAAAJUZXh0QWxpZ25tZW50AAUAAABMZWZ0AAABUm93VG9wAE7PUpi3BXpAAVJvd0hlaWdodABuNSoyLQU5QANMZWZ0Tm90ZXMAxwQAAANUZXh0U3R5bGUAWwQAAAFEZWZhdWx0Rm9udFNpemUAAAAAAAAAJEABRm9udFNpemUAAAAAAAAAJEADRm9udENvbG9yAFUAAAAQQQD/AAAAEFIAEAAAABBHADgAAAAQQgBPAAAAAVNjQQAAAAAAAADwPwFTY1IAAAAA4DY5dT8BU2NHAAAAAIBnP6Q/AVNjQgAAAABgFwS0PwAQRm9udFRoZW1lQ29sb3IAAAAAABBGb250U2NoZW1lQ29sb3IAAAAAAAFGb250VGludEFuZFNoYWRlAAAAAAAAAAAAA1BhdHRlcm5Db2xvcgBVAAAAEEEAAAAAABBSAAAAAAAQRwAAAAAAEEIAAAAAAAFTY0EAAAAAAAAAAAABU2NSAAAAAAAAAAAAAVNjRwAAAAAAAAAAAAFTY0IAAAAAAAAAAAAAEFBhdHRlcm5UaGVtZUNvFwEAAAUUAQAAGAEAAOcPAAAAAAAAAAAAAAAAAAAAAAAAABBQYXR0ZXJuVGhlbWVDb2xvcgAAAAAAAVBhdHRlcm5UaW50QW5kU2hhZGUAAAAAAAAAAAADRGF0YVN0eWxlRm9udENvbG9yVmFsdWUAVQAAABBBAP8AAAAQUgAQAAAAEEcAOAAAABBCAE8AAAABU2NBAAAAAAAAAPA/AVNjUgAAAADgNjl1PwFTY0cAAAAAgGc/pD8BU2NCAAAAAGAXBLQ/AAhEYXRhU3R5bGVGb250Q29sb3JIYXNWYWx1ZQABAUhlaWdodAAAAAAAAAAAAAJEYXNoU3R5bGUADQAAAG1zb0xpbmVTb2xpZAAISGFzV2lzaEZpbGxDb2xvcgAAA0ZpbGxDb2xvcgBVAAAAEEEA/wAAABBSAAAAAAAQRwAAAAAAEEIAAAAAAAFTY0EAAAAAAAAA8D8BU2NSAAAAAAAAAAAAAVNjRwAAAAAAAAAAAAFTY0IAAAAAAAAAAAAAEEZpbGxTY2hlbWVDb2xvcgAAAAAAEEZpbGxUaGVtZUNvbG9yAAAAAAABRmlsbFRpbnRBbmRTaGFkZQAAAAAAAAAAAANCb3JkZXJDb2xvcgBVAAAAEEEAAAAAABBSAAAAAAAQRwAAAAAAEEIAAAAAAAFTY0EAAAAAAAAAAAABU2NSAAAAAAAAAAAAAVNjRwAAAAAAAAAAAAFTY0IAAAAAAAAAAAAAEEJvcmRlclRoZW1lQ29sb3IAAAAAAAFCb3JkZXJUaW50QW5kU2hhZGUAAAAAAAAAAAAISXNGaWxsZWQAAQJQYXR0ZXJuABAAAABtc29QYXR0ZXJuTWl4ZWQAAlNoYXBlVHlwZQAOAAAAbXNvU2hhcGVNaXhlZAADTGFiZWxPZmZzZXQAQgAAAAFYAAAAAAAAAAAAAVkAAAAAAAAAAAABTGVuZ3RoAAAAAAAAAAAAAUxlbmd0aFNxdWFyZWQAAAAAAAAAAAAACElzRm9udEJvbGQAAAhJc0ZvbnRJdGFsaWMAAAhJc0ZvbnRVbmRlcmxpbmVkAAAITGFiZWxIYXNCYWNrZ3JvdW5kAAACVGV4dEFsaWdubWVudAAFAAAATGVmdAAACEhhcnZleUJhbGxWaXNpYmxlAAEQSGFydmV5QmFsbFZhbHVlAAAAAAACQ2hlY2tCb3hTdGF0ZQAFAAAATm9uZQACVHJhZmZpY0xpZ2h0U3RhdGUABAAAAE9mZgAAA1JpZ2h0Tm90ZXMAxwQAAANUZXh0U3R5bGUAWwQAAAFEZWZhdWx0Rm9udFNpemUAAAAAAAAAJEABRm9udFNpemUAAAAAAAAAJEADRm9udENvbG9yAFUAAAAQQQD/AAAAEFIAEAAAABBHADgAAAAQQgBPAAAAAVNjQQAAAAAAAADwPwFTY1IAAAAA4DY5dT8BU2NHAAAAAIBnP6Q/AVNjQgAAAABgFwS0PwAQRm9udFRoZW1lQ29sb3IAAAAAABBGb250U2NoZW1lQ29sb3IAAAAAAAFGb250VGludEFuZFNoYWRlAAAAAAAAAAAAA1BhdHRlcm5Db2xvcgBVAAAAEEEAAAAAABBSAAAAAAAQRwAAAAAAEEIAAAAAAAFTY0EAAAAAAAAAAAABU2NSAAAAAAAAAAAAAVNjRwAAAAAAAAAAAAFTY0IAAAAAAAAAAAAAEFBhdHRlcm5UaGVtZUNvbG9yAAAAAAABUGF0dGVyblRpbnRBbmRTaGFkZQAAAAAAAAAAAANEYXRhU3R5bGVGb250Q29sb3JWYWx1ZQBVAAAAEEEA/wAAABBSABAAAAAQRwA4AAAAEEIATwAAAAFTY0EAAAAAAAAA8D8BU2NSAAAAAOA2OXU/AVNjRwAAAACAZz+kPwFTY0IAAAAAYBcEtD8ACERhdGFTdHlsZUZvbnRDb2xvckhhc1ZhbHVlAAEBSGVpZ2h0AAAAAAAAAAAAAkRhc2hTdHlsZQANAAAAbXNvTGluZVNvbGlkAAhIYXNXaXNoRmlsbENvbG9yAAADRmlsbENvbG9yAFUAAAAQQQD/AAAAEFIAAAAAABBHAAAAAAAQQgAAAAAAAVNjQQAAAAAAAADwPwFTY1IAAAAAAAAAAAABU2NHAAAAAAAAAAAAAVNjQgAAAAAAAAAAAAAQRmlsbFNjaGVtZUNvbG9yAAAAAAAQRmlsbFRoZW1lQ29sb3IAAAAAAAFGaWxsVGludEFuZFNoYWRlAAAAAAAAAAAAA0JvcmRlckNvbG9yAFUAAAAQQQAAAAAAEFIAAAAAABBHAAAAAAAQQgAAAAAAAVNjQQAAAAAAAAAAAAFTY1IAAAAAAAAAAAABU2NHAAAAAAAAAAAAAVNjQgAAAAAAAAAAAAAQQm9yZGVyVGhlbWVDb2xvcgAAAAAAAUJvcmRlclRpbnRBbmRTaGFkZQAAAAAAAAAAAAhJc0ZpbGxlZAABAlBhdHRlcm4AEAAAAG1zb1BhdHRlcm5NaXhlZAACU2hhcGVUeXBlAA4AAABtc29TaGFwZU1peGVkAANMYWJlbE9mZnNldABCAAAAAVgAAAAAAAAAAAABWQAAAAAAAAAAAAFMZW5ndGgAAAAAAAAAAAABTGVuZ3RoU3F1YXJlZAAAAAAAAAAAAAAISXNGb250Qm9sZAAACElzRm9udEl0YWxpYwAACElzRm9udFVuZGVybGluZWQAAAhMYWJlbEhhc0JhY2tncm91bmQAAAJUZXh0QWxpZ25tZW50AAUAAABMZWZ0AAAISGFydmV5QmFsbFZpc2libGUAARBIYXJ2ZXlCYWxsVmFsdWUAAAAAAAJDaGVja0JveFN0YXRlAAUAAABOb25lAAJUcmFmZmljTGlnaHRTdGF0ZQAEAAAAT2ZmAAADTGVmdE5vdGVzUmVuZGVySW5mbwBhFAAAA0xhYmVsAHQGAAAFTWFuYWdlZElkABAAAAAEa2Fr4LS8LkWAIobB6DpeuQhIYXNDaGFuZ2VzAAEIVXNlTmFtZUluc3RlYWRPZlRhZ0FzSWQAAAhTaGFwZVByZXZpb3VzbHlDcmVhdGVkAAA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AJGaWxsUGF0dGVybgAQAAAAbXNvUGF0dGVybk1peGVkAAJUZXh0AAEAAAA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JEaXNwbGF5VGV4dAABAAAAAAFIZWlnaHQAAAAAAAAA8D8BV2lkdGgAAAAAAAAA8D8BVG9wAAAAAACMlnFAAUxlZnQAAAAAQGX2jU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NlcGFyYXRvckxpbmUA4QYAAANTdGFydAAbAAAAAVgAzczMFjLzjUABWQAAAABgCo57QAADRW5kABsAAAABWAAzMzN9mPmNQAFZAAAAAGAKjntAAAJTdGFydEFycm93SGVhZAARAAAAbXNvQXJyb3doZWFkTm9uZQACRW5kQXJyb3dIZWFkABEAAABtc29BcnJvd2hlYWROb25lAAVNYW5hZ2VkSWQAEAAAAAQgqFtzDRQMTZzbIxKw+eBkCEhhc0NoYW5nZXMAAQhVc2VOYW1lSW5zdGVhZE9mVGFnQXNJZAAACFNoYXBlUHJldmlvdXNseRgBAAAFFwEAABkBAADnDwAAAAAAAAAAAABDcmVhdGVkAAA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AAAAAAAAVdpZHRoAAAAAKCZmek/AVRvcAAAAABgCo57QAFMZWZ0AAAAACAy841ACEZsaXBIb3Jpem9udGFsbHkAAAhGbGlwSG9yaXpvbnRhbGx5QXBwbGllZAAACEZsaXBWZXJ0aWNhbGx5AAAIRmxpcFZlcnRpY2FsbHlBcHBsaWVkAAABUm90YXRpb24AAAAAAAAAAAABWk9yZGVyAAAAAAAAgFVAA0JvcmRlckNvbG9yAFUAAAAQQQD/AAAAEFIA4wAAABBHAOMAAAAQQgDjAAAAAVNjQQAAAAAAAADwPwFTY1IAAAAAwLGU6D8BU2NHAAAAAMCxlOg/AVNjQgAAAADAsZToPwAQQm9yZGVyVGhlbWVDb2xvcgAAAAAAAUJvcmRlclRpbnRBbmRTaGFkZQAAAAAAAAAAABBCb3JkZXJTY2hlbWVDb2xvcgAAAAAAAUJvcmRlclRoaWNrbmVzcwAAAAAAAADw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SZWN0YW5nbGUAdAYAAAJBdXRvU2hhcGVUeXBlAAoAAABSZWN0YW5nbGUABU1hbmFnZWRJZAAQAAAABAJ26nw6L2RMqFnM71Af/v0ISGFzQ2hhbmdlcwABCFVzZU5hbWVJbnN0ZWFkT2ZUYWdBc0lkAAAIU2hhcGVQcmV2aW91c2x5Q3JlYXRlZAAAA0ZpbGxDb2xvcgBVAAAAEEEAAAAAABBSAP8AAAAQRwD/AAAAEEIA/wAAAAFTY0EAAAAAAAAAAAABU2NSAAAAAAAAAPA/AVNjRwAAAAAAAADwPwFTY0IAAAAAAAAA8D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A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BALQU4QAFXaWR0aAAAAAAAAAAAAAFUb3AAAAAAoLcNekABTGVmdAAAAABAZe6NQAhGbGlwSG9yaXpvbnRhbGx5AAAIRmxpcEhvcml6b250YWxseUFwcGxpZWQAAAhGbGlwVmVydGljYWxseQAACEZsaXBWZXJ0aWNhbGx5QXBwbGllZAAAAVJvdGF0aW9uAAAAAAAAAAAAAVpPcmRlcgAAAAAAAEBV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EVHJhZmZpY0xpZ2h0RGF0YQAFAAAAAARIYXJ2ZXlCYWxsRGF0YQAFAAAAAAJUcmFmZmljTGlnaHRTdGF0ZQAEAAAAT2ZmAARDaGVja0JveERhdGEABQAAAAACQ2hlY2tCb3hTdGF0ZQAFAAAATm9uZQAAA1JpZ2h0Tm90ZXNSZW5kZXJJbmZvAGEUAAADTGFiZWwAdAYAAAVNYW5hZ2VkSWQAEAAAAATyO4x0jl2ES4+2TW/TJwZ2CEhhc0NoYW5nZXMAAQhVc2VOYW1lSW5zdGVhZE9mVGFnQXNJZAAACFNoYXBlUHJldmlvdXNseUNyZWF0ZWQAAA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AAkZpbGxQYXR0ZXJuABAAAABtc29QYXR0ZXJuTWl4ZWQAAlRleHQAAQAAA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ZAQAABRgBAAAaAQAA5w8AAAAAAA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JEaXNwbGF5VGV4dAABAAAAAAFIZWlnaHQAAAAAAAAA8D8BV2lkdGgAAAAAAAAA8D8BVG9wAAAAAACMlnFAAUxlZnQAAAAAQGX2jU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NlcGFyYXRvckxpbmUA4QYAAANTdGFydAAbAAAAAVgAzczMFjLzjUABWQAAAABgCo57QAADRW5kABsAAAABWAAzMzN9mPmNQAFZAAAAAGAKjntAAAJTdGFydEFycm93SGVhZAARAAAAbXNvQXJyb3doZWFkTm9uZQACRW5kQXJyb3dIZWFkABEAAABtc29BcnJvd2hlYWROb25lAAVNYW5hZ2VkSWQAEAAAAAQpkHXZSSnoR7TYxh0VwvBzCEhhc0NoYW5nZXMAAQhVc2VOYW1lSW5zdGVhZE9mVGFnQXNJZAAACFNoYXBlUHJldmlvdXNseUNyZWF0ZWQAAA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oJmZ6T8BVG9wAAAAAGAKjntAAUxlZnQAAAAAIDLzjUAIRmxpcEhvcml6b250YWxseQAACEZsaXBIb3Jpem9udGFsbHlBcHBsaWVkAAAIRmxpcFZlcnRpY2FsbHkAAAhGbGlwVmVydGljYWxseUFwcGxpZWQAAAFSb3RhdGlvbgAAAAAAAAAAAAFaT3JkZXIAAAAAAACAVUADQm9yZGVyQ29sb3IAVQAAABBBAP8AAAAQUgDjAAAAEEcA4wAAABBCAOMAAAABU2NBAAAAAAAAAPA/AVNjUgAAAADAsZToPwFTY0cAAAAAwLGU6D8BU2NCAAAAAMCxlOg/ABBCb3JkZXJUaGVtZUNvbG9yAAAAAAABQm9yZGVyVGludEFuZFNoYWRlAAAAAAAAAAAAEEJvcmRlclNjaGVtZUNvbG9yAAAAAAABQm9yZGVyVGhpY2tuZXNzAAAAAAAAAPA/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JlY3RhbmdsZQB0BgAAAkF1dG9TaGFwZVR5cGUACgAAAFJlY3RhbmdsZQAFTWFuYWdlZElkABAAAAAE4fi6PUFxRUi1g3ktJlMwBghIYXNDaGFuZ2VzAAEIVXNlTmFtZUluc3RlYWRPZlRhZ0FzSWQAAAhTaGFwZVByZXZpb3VzbHlDcmVhdGVkAAADRmlsbENvbG9yAFUAAAAQQQAAAAAAEFIA/wAAABBHAP8AAAAQQgD/AAAAAVNjQQAAAAAAAAAAAAFTY1IAAAAAAAAA8D8BU2NHAAAAAAAAAPA/AVNjQgAAAAAAAADwP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A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EAtBThAAVdpZHRoAAAAAAAAAAAAAVRvcAAAAACgtw16QAFMZWZ0AAAAAEBl7o1ACEZsaXBIb3Jpem9udGFsbHkAAAhGbGlwSG9yaXpvbnRhbGx5QXBwbGllZAAACEZsaXBWZXJ0aWNhbGx5AAAIRmxpcFZlcnRpY2FsbHlBcHBsaWVkAAABUm90YXRpb24AAAAAAAAAAAABWk9yZGVyAAAAAAAAQFVAA0JvcmRlckNvbG9yAFUAAAAQQQAAAAAAEFIAAAAAABBHAAAAAAAQQgAAAAAAAVNjQQAAAAAAAAAAAAFTY1IAAAAAAAAAAAABU2NHAAAAAAAAAAAAAVNjQgAAAAAAAAAAAAAQQm9yZGVyVGhlbWVDb2xvcgAAAAAAAUJvcmRlclRpbnRBbmRTaGFkZQAAAAAAAAAAABBCGgEAAAUZAQAAGwEAAOcPAAAAAAAAAAAAAG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EVHJhZmZpY0xpZ2h0RGF0YQAFAAAAAARIYXJ2ZXlCYWxsRGF0YQAFAAAAAAJUcmFmZmljTGlnaHRTdGF0ZQAEAAAAT2ZmAARDaGVja0JveERhdGEABQAAAAACQ2hlY2tCb3hTdGF0ZQAFAAAATm9uZQAAA0xlZnRTaWRlUmVuZGVySW5mbwAhFAAAA0xhYmVsAKYGAAAFTWFuYWdlZElkABAAAAAEFS5TZ/BR8EakfCRlVrPPfAhIYXNDaGFuZ2VzAAAIVXNlTmFtZUluc3RlYWRPZlRhZ0FzSWQAAAhTaGFwZVByZXZpb3VzbHlDcmVhdGVkAAE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AAkAAABTcHJpbnQgNAACVGV4dEhvcml6b250YWxBbGlnbm1lbnQADgAAAG1zb0FuY2hvck5vbmUAAlBhcmFncmFwaEFsaWdubWVudAANAAAAbXNvQWxpZ25MZWZ0AAJUZXh0VmVydGljYWxBbGlnbm1lbnQAEAAAAG1zb0FuY2hvck1pZGRsZQADRm9udFN0eWxlAEABAAAQRm9udEJhY2tncm91bmQAAAAAAAhGb250Qm9sZAAAA0ZvbnRDb2xvcgBVAAAAEEEA/wAAABBSABAAAAAQRwA4AAAAEEIATwAAAAFTY0EAAAAAAAAA8D8BU2NSAAAAAOA2OXU/AVNjRwAAAACAZz+kPwFTY0IAAAAAYBcEtD8AEEZvbnRUaGVtZUNvbG9yAAAAAAABRm9udFRpbnRBbmRTaGFkZQAAAAAAAAAAABBGb250U2NoZW1lQ29sb3IAAAAAAAhGb250SXRhbGljAAACRm9udE5hbWUABgAAAEFyaWFsAAFGb250U2l6ZQAAAAAAAAAkQAhGb250U3RyaWtldGhyb3VnaAAACEZvbnRTdWJzY3JpcHQAAAhGb250U3VwZXJzY3JpcHQAAAhGb250VW5kZXJsaW5lAAAACFNpemVUb1RleHRXaWR0aAAACFNpemVUb1RleHRIZWlnaHQAAANUZXh0TWFyZ2luAD8AAAABTGVmdAAAAAAAAAAAAAFUb3AAAAAAAAAAAAABUmlnaHQAAAAAAAAAAAABQm90dG9tAAAAAAAAAAAAAAJEaXNwbGF5VGV4dAAJAAAAU3ByaW50IDQAAUhlaWdodAAAAABg3wsnQAFXaWR0aAAAAAAAdHpDQAFUb3AAAAAAgLFxekABTGVmdAAAAABASVw3QAhGbGlwSG9yaXpvbnRhbGx5AAAIRmxpcEhvcml6b250YWxseUFwcGxpZWQAAAhGbGlwVmVydGljYWxseQAACEZsaXBWZXJ0aWNhbGx5QXBwbGllZAAAAVJvdGF0aW9uAAAAAAAAAAAAAVpPcmRlcgAAAAAAAAA+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mVjdGFuZ2xlAHQGAAACQXV0b1NoYXBlVHlwZQAKAAAAUmVjdGFuZ2xlAAVNYW5hZ2VkSWQAEAAAAAQS77zd1hNJQK6UhyASe/C5CEhhc0NoYW5nZXMAAAhVc2VOYW1lSW5zdGVhZE9mVGFnQXNJZAAACFNoYXBlUHJldmlvdXNseUNyZWF0ZWQAAANGaWxsQ29sb3IAVQAAABBBAAAAAAAQUgD/AAAAEEcA/wAAABBCAP8AAAABU2NBAAAAAAAAAAAAAVNjUgAAAAAAAADwPwFTY0cAAAAAAAAA8D8BU2NCAAAAAAAAAPA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A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QC0FOEABV2lkdGgAAAAAAIPbjUABVG9wAAAAAKC3DXpAAUxlZnQAAAAAAEriCkAIRmxpcEhvcml6b250YWxseQAACEZsaXBIb3Jpem9udGFsbHlBcHBsaWVkAAAIRmxpcFZlcnRpY2FsbHkAAAhGbGlwVmVydGljYWxseUFwcGxpZWQAAAFSb3RhdGlvbgAAAAAAAAAAAAFaT3JkZXIAAAAAAAAAJk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NlcGFyYXRvckxpbmUA4QYAAANTdGFydAAbAAAAAVgAzczMzBavB0ABWQClcnVrCo57QAADRW5kABsAAAABWAAzMzN9mPmNQAFZAKVydWsKjntAAAJTdGFydEFycm93SGVhZAARAAAAbXNvQXJyb3doZWFkTm9uZQACRW5kQXJyb3dIZWFkABEAAABtc29BcnJvd2hlYWROb25lAAVNYW5hZ2VkSWQAEAAAAARsZWJMlXO3TrPrFIgyhRdACEhhc0NoYW5nZXMAAAhVc2VOYW1lSW5zdGVhZE9mVGFnQXNJZAAACFNoYXBlUHJldmlvdXNseUNyZWF0ZWQAAANGaWxsQ29sb3IAVQAAABsBAAAFGgEAABwBAADnDwAAAAAAAAA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AAAAAAAAVdpZHRoAAAAAGDp4Y1AAVRvcAAAAABgCo57QAFMZWZ0AAAAAMAWrwdACEZsaXBIb3Jpem9udGFsbHkAAAhGbGlwSG9yaXpvbnRhbGx5QXBwbGllZAAACEZsaXBWZXJ0aWNhbGx5AAAIRmxpcFZlcnRpY2FsbHlBcHBsaWVkAAABUm90YXRpb24AAAAAAAAAAAABWk9yZGVyAAAAAAAAAChAA0JvcmRlckNvbG9yAFUAAAAQQQD/AAAAEFIA4wAAABBHAOMAAAAQQgDjAAAAAVNjQQAAAAAAAADwPwFTY1IAAAAAwLGU6D8BU2NHAAAAAMCxlOg/AVNjQgAAAADAsZToPwAQQm9yZGVyVGhlbWVDb2xvcgAAAAAAAUJvcmRlclRpbnRBbmRTaGFkZQAAAAAAAAAAABBCb3JkZXJTY2hlbWVDb2xvcgAAAAAAAUJvcmRlclRoaWNrbmVzcwAAAAAAAADw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AAAzQAYmgAABBfaWQADgAAAARJdGVtcwCsHAAAAzAApBwAAAJfdHlwZQBLAAAAZW1wb3dlci5DaGFydHMuRGF0YS5HYW50dC5DaHJvbm9sb2d5LkRhdGEuQmFyVGFza0RhdGEsIGVtcG93ZXIuQ2hhcnRzLkRhdGEAAkxhYmVsUG9zaXRpb24ACwAAAE91dHNpZGVUb3AACElzTGFiZWxJbnNpZGVCb3VuZHMAAANTdHlsZQBbBAAAAURlZmF1bHRGb250U2l6ZQAAAAAAAAAkQAFGb250U2l6ZQAAAAAAAAAgQANGb250Q29sb3IAVQAAABBBAP8AAAAQUgAQAAAAEEcAOAAAABBCAE8AAAABU2NBAAAAAAAAAPA/AVNjUgAAAADgNjl1PwFTY0cAAAAAgGc/pD8BU2NCAAAAAGAXBLQ/ABBGb250VGhlbWVDb2xvcgAAAAAAEEZvbnRTY2hlbWVDb2xvcgAAAAAAAUZvbnRUaW50QW5kU2hhZGUAAAAAAAAAAAADUGF0dGVybkNvbG9yAFUAAAAQQQAAAAAAEFIAAAAAABBHAAAAAAAQQgAAAAAAAVNjQQAAAAAAAAAAAAFTY1IAAAAAAAAAAAABU2NHAAAAAAAAAAAAAVNjQgAAAAAAAAAAAAAQUGF0dGVyblRoZW1lQ29sb3IAAAAAAAFQYXR0ZXJuVGludEFuZFNoYWRlAAAAAAAAAAAAA0RhdGFTdHlsZUZvbnRDb2xvclZhbHVlAFUAAAAQQQAAAAAAEFIAAAAAABBHAAAAAAAQQgAAAAAAAVNjQQAAAAAAAAAAAAFTY1IAAAAAAAAAAAABU2NHAAAAAAAAAAAAAVNjQgAAAAAAAAAAAAAIRGF0YVN0eWxlRm9udENvbG9ySGFzVmFsdWUAAAFIZWlnaHQAAAAA4N0yKEACRGFzaFN0eWxlAA0AAABtc29MaW5lU29saWQACEhhc1dpc2hGaWxsQ29sb3IAAANGaWxsQ29sb3IAVQAAABBBAP8AAAAQUgCZAAAAEEcA0wAAABBCAPIAAAABU2NBAAAAAAAAAPA/AVNjUgAAAAAgEmPUPwFTY0cAAAAAoFDY5D8BU2NCAAAAAMDdaew/ABBGaWxsU2NoZW1lQ29sb3IAAAAAABBGaWxsVGhlbWVDb2xvcgAAAAAAAUZpbGxUaW50QW5kU2hhZGUAAAAAAAAAAAADQm9yZGVyQ29sb3IAVQAAABBBAAAAAAAQUgAAAAAAEEcAAAAAABBCAAAAAAABU2NBAAAAAAAAAAAAAVNjUgAAAAAAAAAAAAFTY0cAAAAAAAAAAAABU2NCAAAAAAAAAAAAABBCb3JkZXJUaGVtZUNvbG9yAAAAAAABQm9yZGVyVGludEFuZFNoYWRlAAAAAAAAAAAACElzRmlsbGVkAAECUGF0dGVybgAQAAAAbXNvUGF0dGVybk1peGVkAAJTaGFwZVR5cGUADgAAAG1zb1NoYXBlTWl4ZWQAA0xhYmVsT2Zmc2V0AEIAAAABWAAAAAAAAAAAAAFZAAAAAAAAAAAAAUxlbmd0aAAAAAAAAAAAAAFMZW5ndGhTcXVhcmVkAAAAAAAAAAAAAAhJc0ZvbnRCb2xkAAAISXNGb250SXRhbGljAAAISXNGb250VW5kZXJsaW5lZAAACExhYmVsSGFzQmFja2dyb3VuZAAAAlRleHRBbGlnbm1lbnQABQAAAExlZnQAAAhEaXNwbGF5TGFiZWwAAQNSZW5kZXJJbmZvABMXAAADUmVjdGFuZ2xlRnJlZWZvcm0A/AgAAARWZXJ0aWNlcwCbAgAAAzAALAAAABBJbmRleDAAAAAAABBJbmRleDEAAAAAAAFWYWx1ZQAAAADgq6F9QAADMQAsAAAAEEluZGV4MAAAAAAAEEluZGV4MQABAAAAAVZhbHVlAAAAAGBo/XtAAAMyACwAAAAQSW5kZXgwAAEAAAAQSW5kZXgxAAAAAAABVmFsdWUAAAAA4KuhfUAAAzMALAAAABBJbmRleDAAAQAAABBJbmRleDEAAQAAAAFWYWx1ZQAAAADgM158QAADNAAsAAAAEEluZGV4MAACAAAAEEluZGV4MQAAAAAAAVZhbHVlAAAAAOCroX1AAAM1ACwAAAAQSW5kZXgwAAIAAAAQSW5kZXgxAAEAAAABVmFsdWUAAAAAQP++fEAAAzYALAAAABBJbmRleDAAAwAAABBJbmRleDEAAAAAAAFWYWx1ZQAAAABADSGCQAADNwAsAAAAEEluZGV4MAADAAAAEEluZGV4MQABAAAAAVZhbHVlAAAAAED/vnxAAAM4ACwAAAAQSW5kZXgwAAQAAAAQSW5kZXgxAAAAAAABVmFsdWUAAAAAQA0hgkAAAzkALAAAABBJbmRleDAABAAAABBJbmRleDEAAQAAAAFWYWx1ZQAAAADgM158QAADMTAALAAAABBJbmRleDAABQAAABBJbmRleDEAAAAAAAFWYWx1ZQAAAABADSGCQAADMTEALAAAABBJbmRleDAABQAAABBJbmRleDEAAQAAAAFWYWx1ZQAAAABgaP17QAADMTIALAAAABBJbmRleDAABgAAABBJbmRleDEAAAAAAAFWYWx1ZQAAAADgq6F9QAADMTMALAAAABBJbmRleDAABgAAABBJbmRleDEAAQAAAAFWYWx1ZQAAAABgaP17QAAABU1hbmFnZWRJZAAQAAAABJrXLZXrK0JDq30gKDzQ2VYISGFzQ2hhbmdlcwAACFVzZU5hbWVJbnN0ZWFkT2ZUYWdBc0lkAAAIU2hhcGVQcmV2aW91c2x5Q3JlYXRlZAAAA0ZpbGxDb2xvcgBVAAAAEEEA/wAAABBSAJkAAAAQRwDTAAAAEEIA8gAAAAFTY0EAAAAAAAAA8D8BU2NSAAAAACASY9Q/AVNjRwAAAACgUNjkPwFTY0IAAAAAwN1p7D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ECRmlsbFBhdHRlcm4AEAAAAG1zb1BhdHRlcm5NaXhlZAACVGV4dEhvcml6b250YWxBbGlnbm1lbnQADgAAAG1zb0FuY2hvck5vbmUAAlBhcmFncmFwaEFsaWdubWVudAACAAAAMAAcAQAABRsBAAAjAQAA5w8AAAAAAAAAAA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4N0yKEABV2lkdGgAAAAAwLqBWkABVG9wAAAAAGBo/XtAAUxlZnQAAAAA4KuhfUAIRmxpcEhvcml6b250YWxseQAACEZsaXBIb3Jpem9udGFsbHlBcHBsaWVkAAAIRmxpcFZlcnRpY2FsbHkAAAhGbGlwVmVydGljYWxseUFwcGxpZWQAAAFSb3RhdGlvbgAAAAAAAAAAAAFaT3JkZXIAAAAAAACAUUADQm9yZGVyQ29sb3IAVQAAABBBAP8AAAAQUgD/AAAAEEcA/wAAABBCAP8AAAABU2NBAAAAAAAAAPA/AVNjUgAAAAAAAADwPwFTY0cAAAAAAAAA8D8BU2NCAAAAAAAAAPA/ABBCb3JkZXJUaGVtZUNvbG9yAAAAAAABQm9yZGVyVGludEFuZFNoYWRlAAAAAAAAAAAAEEJvcmRlclNjaGVtZUNvbG9yAAAAAAABQm9yZGVyVGhpY2tuZXNzAAAAAAAAAPA/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JhclN0eWxlRGF0YQAmAAAAAkJhclN0eWxlU2hhcGVUeXBlAAoAAABSZWN0YW5nbGUAAANMYWJlbADQBgAABU1hbmFnZWRJZAAQAAAABDLcntEmvaJMqXYkSt67q6kISGFzQ2hhbmdlcwAACFVzZU5hbWVJbnN0ZWFkT2ZUYWdBc0lkAAAIU2hhcGVQcmV2aW91c2x5Q3JlYXRlZAABA0ZpbGxDb2xvcgBVAAAAEEEA/wAAABBSAJkAAAAQRwDTAAAAEEIA8gAAAAFTY0EAAAAAAAAA8D8BU2NSAAAAACASY9Q/AVNjRwAAAACgUNjkPwFTY0IAAAAAwN1p7D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AAdAAAAUmV0cm9hbGltZW50YWNpw7NuIHkgQWp1c3RlcwACVGV4dEhvcml6b250YWxBbGlnbm1lbnQADgAAAG1zb0FuY2hvck5vbmUAAlBhcmFncmFwaEFsaWdubWVudAAPAAAAbXNvQWxpZ25DZW50ZXIAAlRleHRWZXJ0aWNhbEFsaWdubWVudAAQAAAAbXNvQW5jaG9yTWlkZGxlAANGb250U3R5bGUAQAEAABBGb250QmFja2dyb3VuZAAAAAAACEZvbnRCb2xkAAADRm9udENvbG9yAFUAAAAQQQD/AAAAEFIAEAAAABBHADgAAAAQQgBPAAAAAVNjQQAAAAAAAADwPwFTY1IAAAAA4DY5dT8BU2NHAAAAAIBnP6Q/AVNjQgAAAABgFwS0PwAQRm9udFRoZW1lQ29sb3IAAAAAAAFGb250VGludEFuZFNoYWRlAAAAAAAAAAAAEEZvbnRTY2hlbWVDb2xvcgAAAAAACEZvbnRJdGFsaWMAAAJGb250TmFtZQAGAAAAQXJpYWwAAUZvbnRTaXplAAAAAAAAACBACEZvbnRTdHJpa2V0aHJvdWdoAAAIRm9udFN1YnNjcmlwdAAACEZvbnRTdXBlcnNjcmlwdAAACEZvbnRVbmRlcmxpbmUAAAAIU2l6ZVRvVGV4dFdpZHRoAAAIU2l6ZVRvVGV4dEhlaWdodAAAA1RleHRNYXJnaW4APwAAAAFMZWZ0AAAAAAAAAAAAAVRvcAAAAAAAAAAAAAFSaWdodAAAAAAAAAAAAAFCb3R0b20AAAAAAAAAAAAAAkRpc3BsYXlUZXh0AB0AAABSZXRyb2FsaW1lbnRhY2nDs24geSBBanVzdGVzAAFIZWlnaHQAAAAAABZcI0ABV2lkdGgAAAAAgBTOWEABVG9wAAAAAKCHMntAAUxlZnQAAAAAoCDYfUAIRmxpcEhvcml6b250YWxseQAACEZsaXBIb3Jpem9udGFsbHlBcHBsaWVkAAAIRmxpcFZlcnRpY2FsbHkAAAhGbGlwVmVydGljYWxseUFwcGxpZWQAAAFSb3RhdGlvbgAAAAAAAAAAAAFaT3JkZXIAAAAAAAAAUk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Nvbm5lY3RvckxpbmVEYXRhAOEGAAADU3RhcnQAGwAAAAFYAAAAAOCroX1AAVkAAAAAYGj9e0AAA0VuZAAbAAAAAVgAAAAA4KuhfUABWQAAAABgaP17QAACU3RhcnRBcnJvd0hlYWQAEQAAAG1zb0Fycm93aGVhZE5vbmUAAkVuZEFycm93SGVhZAARAAAAbXNvQXJyb3doZWFkTm9uZQAFTWFuYWdlZElkABAAAAAEQHs/EnE/t0yRmoYkuZYm9AhIYXNDaGFuZ2VzAAAIVXNlTmFtZUluc3RlYWRPZlRhZ0FzSWQAAAhTaGFwZVByZXZpb3VzbHlDcmVhdGVkAAA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A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AAAAAAAAVdpZHRoAAAAHQEAAAUWAQAAHgEAAOcPAAAAAAAAAAAAAGxvcgAAAAAAAVBhdHRlcm5UaW50QW5kU2hhZGUAAAAAAAAAAAADRGF0YVN0eWxlRm9udENvbG9yVmFsdWUAVQAAABBBAP8AAAAQUgAQAAAAEEcAOAAAABBCAE8AAAABU2NBAAAAAAAAAPA/AVNjUgAAAADgNjl1PwFTY0cAAAAAgGc/pD8BU2NCAAAAAGAXBLQ/AAhEYXRhU3R5bGVGb250Q29sb3JIYXNWYWx1ZQABAUhlaWdodAAAAAAAAAAAAAJEYXNoU3R5bGUADQAAAG1zb0xpbmVTb2xpZAAISGFzV2lzaEZpbGxDb2xvcgAAA0ZpbGxDb2xvcgBVAAAAEEEA/wAAABBSAAAAAAAQRwAAAAAAEEIAAAAAAAFTY0EAAAAAAAAA8D8BU2NSAAAAAAAAAAAAAVNjRwAAAAAAAAAAAAFTY0IAAAAAAAAAAAAAEEZpbGxTY2hlbWVDb2xvcgAAAAAAEEZpbGxUaGVtZUNvbG9yAAAAAAABRmlsbFRpbnRBbmRTaGFkZQAAAAAAAAAAAANCb3JkZXJDb2xvcgBVAAAAEEEAAAAAABBSAAAAAAAQRwAAAAAAEEIAAAAAAAFTY0EAAAAAAAAAAAABU2NSAAAAAAAAAAAAAVNjRwAAAAAAAAAAAAFTY0IAAAAAAAAAAAAAEEJvcmRlclRoZW1lQ29sb3IAAAAAAAFCb3JkZXJUaW50QW5kU2hhZGUAAAAAAAAAAAAISXNGaWxsZWQAAQJQYXR0ZXJuABAAAABtc29QYXR0ZXJuTWl4ZWQAAlNoYXBlVHlwZQAOAAAAbXNvU2hhcGVNaXhlZAADTGFiZWxPZmZzZXQAQgAAAAFYAAAAAAAAAAAAAVkAAAAAAAAAAAABTGVuZ3RoAAAAAAAAAAAAAUxlbmd0aFNxdWFyZWQAAAAAAAAAAAAACElzRm9udEJvbGQAAAhJc0ZvbnRJdGFsaWMAAAhJc0ZvbnRVbmRlcmxpbmVkAAAITGFiZWxIYXNCYWNrZ3JvdW5kAAACVGV4dEFsaWdubWVudAAFAAAATGVmdAAACEhhcnZleUJhbGxWaXNpYmxlAAEQSGFydmV5QmFsbFZhbHVlAAAAAAACQ2hlY2tCb3hTdGF0ZQAFAAAATm9uZQACVHJhZmZpY0xpZ2h0U3RhdGUABAAAAE9mZgAAA1JpZ2h0Tm90ZXMAxwQAAANUZXh0U3R5bGUAWwQAAAFEZWZhdWx0Rm9udFNpemUAAAAAAAAAJEABRm9udFNpemUAAAAAAAAAJEADRm9udENvbG9yAFUAAAAQQQD/AAAAEFIAEAAAABBHADgAAAAQQgBPAAAAAVNjQQAAAAAAAADwPwFTY1IAAAAA4DY5dT8BU2NHAAAAAIBnP6Q/AVNjQgAAAABgFwS0PwAQRm9udFRoZW1lQ29sb3IAAAAAABBGb250U2NoZW1lQ29sb3IAAAAAAAFGb250VGludEFuZFNoYWRlAAAAAAAAAAAAA1BhdHRlcm5Db2xvcgBVAAAAEEEAAAAAABBSAAAAAAAQRwAAAAAAEEIAAAAAAAFTY0EAAAAAAAAAAAABU2NSAAAAAAAAAAAAAVNjRwAAAAAAAAAAAAFTY0IAAAAAAAAAAAAAEFBhdHRlcm5UaGVtZUNvbG9yAAAAAAABUGF0dGVyblRpbnRBbmRTaGFkZQAAAAAAAAAAAANEYXRhU3R5bGVGb250Q29sb3JWYWx1ZQBVAAAAEEEA/wAAABBSABAAAAAQRwA4AAAAEEIATwAAAAFTY0EAAAAAAAAA8D8BU2NSAAAAAOA2OXU/AVNjRwAAAACAZz+kPwFTY0IAAAAAYBcEtD8ACERhdGFTdHlsZUZvbnRDb2xvckhhc1ZhbHVlAAEBSGVpZ2h0AAAAAAAAAAAAAkRhc2hTdHlsZQANAAAAbXNvTGluZVNvbGlkAAhIYXNXaXNoRmlsbENvbG9yAAADRmlsbENvbG9yAFUAAAAQQQD/AAAAEFIAAAAAABBHAAAAAAAQQgAAAAAAAVNjQQAAAAAAAADwPwFTY1IAAAAAAAAAAAABU2NHAAAAAAAAAAAAAVNjQgAAAAAAAAAAAAAQRmlsbFNjaGVtZUNvbG9yAAAAAAAQRmlsbFRoZW1lQ29sb3IAAAAAAAFGaWxsVGludEFuZFNoYWRlAAAAAAAAAAAAA0JvcmRlckNvbG9yAFUAAAAQQQAAAAAAEFIAAAAAABBHAAAAAAAQQgAAAAAAAVNjQQAAAAAAAAAAAAFTY1IAAAAAAAAAAAABU2NHAAAAAAAAAAAAAVNjQgAAAAAAAAAAAAAQQm9yZGVyVGhlbWVDb2xvcgAAAAAAAUJvcmRlclRpbnRBbmRTaGFkZQAAAAAAAAAAAAhJc0ZpbGxlZAABAlBhdHRlcm4AEAAAAG1zb1BhdHRlcm5NaXhlZAACU2hhcGVUeXBlAA4AAABtc29TaGFwZU1peGVkAANMYWJlbE9mZnNldABCAAAAAVgAAAAAAAAAAAABWQAAAAAAAAAAAAFMZW5ndGgAAAAAAAAAAAABTGVuZ3RoU3F1YXJlZAAAAAAAAAAAAAAISXNGb250Qm9sZAAACElzRm9udEl0YWxpYwAACElzRm9udFVuZGVybGluZWQAAAhMYWJlbEhhc0JhY2tncm91bmQAAAJUZXh0QWxpZ25tZW50AAUAAABMZWZ0AAAISGFydmV5QmFsbFZpc2libGUAARBIYXJ2ZXlCYWxsVmFsdWUAAAAAAAJDaGVja0JveFN0YXRlAAUAAABOb25lAAJUcmFmZmljTGlnaHRTdGF0ZQAEAAAAT2ZmAAADTGVmdE5vdGVzUmVuZGVySW5mbwBhFAAAA0xhYmVsAHQGAAAFTWFuYWdlZElkABAAAAAEa2Fr4LS8LkWAIobB6DpeuQhIYXNDaGFuZ2VzAAEIVXNlTmFtZUluc3RlYWRPZlRhZ0FzSWQAAAhTaGFwZVByZXZpb3VzbHlDcmVhdGVkAAA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AJGaWxsUGF0dGVybgAQAAAAbXNvUGF0dGVybk1peGVkAAJUZXh0AAEAAAA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JEaXNwbGF5VGV4dAABAAAAAAFIZWlnaHQAAAAAAAAA8D8BV2lkdGgAAAAAAAAA8D8BVG9wAAAAAACMlnFAAUxlZnQAAAAAQGX2jU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NlcGFyYXRvckxpbmUA4QYAAANTdGFydAAbAAAAAVgAzczMFjLzjUABWQAAAABgCo57QAADRW5kABsAAAABWAAzMzN9mPmNQAFZAAAAAGAKjntAAAJTdGFydEFycm93SGVhZAARAAAAbXNvQXJyb3doZWFkTm9uZQACRW5kQXJyb3dIZWFkABEAAABtc29BcnJvd2hlYWROb25lAAVNYW5hZ2VkSWQAEAAAAAQgqFtzDRQMTZzbIxKw+eBkCEhhc0NoYW5nZXMAAQhVc2VOYW1lSW5zdGVhZE9mVGFnQXNJZAAACFNoYXBlUHJldmlvdXNseUNyZWF0ZWQAAANGaWxsQ29sb3IAVQAAAB4BAAAFHQEAAB8BAADnDwAAAAAAAAA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AAAAAAAAVdpZHRoAAAAAKCZmek/AVRvcAAAAABgCo57QAFMZWZ0AAAAACAy841ACEZsaXBIb3Jpem9udGFsbHkAAAhGbGlwSG9yaXpvbnRhbGx5QXBwbGllZAAACEZsaXBWZXJ0aWNhbGx5AAAIRmxpcFZlcnRpY2FsbHlBcHBsaWVkAAABUm90YXRpb24AAAAAAAAAAAABWk9yZGVyAAAAAAAAgFVAA0JvcmRlckNvbG9yAFUAAAAQQQD/AAAAEFIA4wAAABBHAOMAAAAQQgDjAAAAAVNjQQAAAAAAAADwPwFTY1IAAAAAwLGU6D8BU2NHAAAAAMCxlOg/AVNjQgAAAADAsZToPwAQQm9yZGVyVGhlbWVDb2xvcgAAAAAAAUJvcmRlclRpbnRBbmRTaGFkZQAAAAAAAAAAABBCb3JkZXJTY2hlbWVDb2xvcgAAAAAAAUJvcmRlclRoaWNrbmVzcwAAAAAAAADw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SZWN0YW5nbGUAdAYAAAJBdXRvU2hhcGVUeXBlAAoAAABSZWN0YW5nbGUABU1hbmFnZWRJZAAQAAAABAJ26nw6L2RMqFnM71Af/v0ISGFzQ2hhbmdlcwABCFVzZU5hbWVJbnN0ZWFkT2ZUYWdBc0lkAAAIU2hhcGVQcmV2aW91c2x5Q3JlYXRlZAAAA0ZpbGxDb2xvcgBVAAAAEEEAAAAAABBSAP8AAAAQRwD/AAAAEEIA/wAAAAFTY0EAAAAAAAAAAAABU2NSAAAAAAAAAPA/AVNjRwAAAAAAAADwPwFTY0IAAAAAAAAA8D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A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BALQU4QAFXaWR0aAAAAAAAAAAAAAFUb3AAAAAAoLcNekABTGVmdAAAAABAZe6NQAhGbGlwSG9yaXpvbnRhbGx5AAAIRmxpcEhvcml6b250YWxseUFwcGxpZWQAAAhGbGlwVmVydGljYWxseQAACEZsaXBWZXJ0aWNhbGx5QXBwbGllZAAAAVJvdGF0aW9uAAAAAAAAAAAAAVpPcmRlcgAAAAAAAEBV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EVHJhZmZpY0xpZ2h0RGF0YQAFAAAAAARIYXJ2ZXlCYWxsRGF0YQAFAAAAAAJUcmFmZmljTGlnaHRTdGF0ZQAEAAAAT2ZmAARDaGVja0JveERhdGEABQAAAAACQ2hlY2tCb3hTdGF0ZQAFAAAATm9uZQAAA1JpZ2h0Tm90ZXNSZW5kZXJJbmZvAGEUAAADTGFiZWwAdAYAAAVNYW5hZ2VkSWQAEAAAAATyO4x0jl2ES4+2TW/TJwZ2CEhhc0NoYW5nZXMAAQhVc2VOYW1lSW5zdGVhZE9mVGFnQXNJZAAACFNoYXBlUHJldmlvdXNseUNyZWF0ZWQAAA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AAkZpbGxQYXR0ZXJuABAAAABtc29QYXR0ZXJuTWl4ZWQAAlRleHQAAQAAA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fAQAABR4BAAAgAQAA5w8AAAAAAAA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JEaXNwbGF5VGV4dAABAAAAAAFIZWlnaHQAAAAAAAAA8D8BV2lkdGgAAAAAAAAA8D8BVG9wAAAAAACMlnFAAUxlZnQAAAAAQGX2jU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NlcGFyYXRvckxpbmUA4QYAAANTdGFydAAbAAAAAVgAzczMFjLzjUABWQAAAABgCo57QAADRW5kABsAAAABWAAzMzN9mPmNQAFZAAAAAGAKjntAAAJTdGFydEFycm93SGVhZAARAAAAbXNvQXJyb3doZWFkTm9uZQACRW5kQXJyb3dIZWFkABEAAABtc29BcnJvd2hlYWROb25lAAVNYW5hZ2VkSWQAEAAAAAQpkHXZSSnoR7TYxh0VwvBzCEhhc0NoYW5nZXMAAQhVc2VOYW1lSW5zdGVhZE9mVGFnQXNJZAAACFNoYXBlUHJldmlvdXNseUNyZWF0ZWQAAA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oJmZ6T8BVG9wAAAAAGAKjntAAUxlZnQAAAAAIDLzjUAIRmxpcEhvcml6b250YWxseQAACEZsaXBIb3Jpem9udGFsbHlBcHBsaWVkAAAIRmxpcFZlcnRpY2FsbHkAAAhGbGlwVmVydGljYWxseUFwcGxpZWQAAAFSb3RhdGlvbgAAAAAAAAAAAAFaT3JkZXIAAAAAAACAVUADQm9yZGVyQ29sb3IAVQAAABBBAP8AAAAQUgDjAAAAEEcA4wAAABBCAOMAAAABU2NBAAAAAAAAAPA/AVNjUgAAAADAsZToPwFTY0cAAAAAwLGU6D8BU2NCAAAAAMCxlOg/ABBCb3JkZXJUaGVtZUNvbG9yAAAAAAABQm9yZGVyVGludEFuZFNoYWRlAAAAAAAAAAAAEEJvcmRlclNjaGVtZUNvbG9yAAAAAAABQm9yZGVyVGhpY2tuZXNzAAAAAAAAAPA/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JlY3RhbmdsZQB0BgAAAkF1dG9TaGFwZVR5cGUACgAAAFJlY3RhbmdsZQAFTWFuYWdlZElkABAAAAAE4fi6PUFxRUi1g3ktJlMwBghIYXNDaGFuZ2VzAAEIVXNlTmFtZUluc3RlYWRPZlRhZ0FzSWQAAAhTaGFwZVByZXZpb3VzbHlDcmVhdGVkAAADRmlsbENvbG9yAFUAAAAQQQAAAAAAEFIA/wAAABBHAP8AAAAQQgD/AAAAAVNjQQAAAAAAAAAAAAFTY1IAAAAAAAAA8D8BU2NHAAAAAAAAAPA/AVNjQgAAAAAAAADwP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A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EAtBThAAVdpZHRoAAAAAAAAAAAAAVRvcAAAAACgtw16QAFMZWZ0AAAAAEBl7o1ACEZsaXBIb3Jpem9udGFsbHkAAAhGbGlwSG9yaXpvbnRhbGx5QXBwbGllZAAACEZsaXBWZXJ0aWNhbGx5AAAIRmxpcFZlcnRpY2FsbHlBcHBsaWVkAAABUm90YXRpb24AAAAAAAAAAAABWk9yZGVyAAAAAAAAQFVAA0JvcmRlckNvbG9yAFUAAAAQQQAAAAAAEFIAAAAAABBHAAAAAAAQQgAAAAAAAVNjQQAAAAAAAAAAAAFTY1IAAAAAAAAAAAABU2NHAAAAAAAAAAAAAVNjQgAAAAAAAAAAAAAQQm9yZGVyVGhlbWVDb2xvcgAAAAAAAUJvcmRlclRpbnRBbmRTaGFkZQAAAAAAAAAAABBCb3JkZXJTY2hlbWVDb2xvcgAAAAAAAUJvIAEAAAUfAQAAIQEAAOcPAAAAAAAAAAAAAH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EVHJhZmZpY0xpZ2h0RGF0YQAFAAAAAARIYXJ2ZXlCYWxsRGF0YQAFAAAAAAJUcmFmZmljTGlnaHRTdGF0ZQAEAAAAT2ZmAARDaGVja0JveERhdGEABQAAAAACQ2hlY2tCb3hTdGF0ZQAFAAAATm9uZQAAA0xlZnRTaWRlUmVuZGVySW5mbwAhFAAAA0xhYmVsAKYGAAAFTWFuYWdlZElkABAAAAAEFS5TZ/BR8EakfCRlVrPPfAhIYXNDaGFuZ2VzAAAIVXNlTmFtZUluc3RlYWRPZlRhZ0FzSWQAAAhTaGFwZVByZXZpb3VzbHlDcmVhdGVkAAE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AAkAAABTcHJpbnQgNAACVGV4dEhvcml6b250YWxBbGlnbm1lbnQADgAAAG1zb0FuY2hvck5vbmUAAlBhcmFncmFwaEFsaWdubWVudAANAAAAbXNvQWxpZ25MZWZ0AAJUZXh0VmVydGljYWxBbGlnbm1lbnQAEAAAAG1zb0FuY2hvck1pZGRsZQADRm9udFN0eWxlAEABAAAQRm9udEJhY2tncm91bmQAAAAAAAhGb250Qm9sZAAAA0ZvbnRDb2xvcgBVAAAAEEEA/wAAABBSABAAAAAQRwA4AAAAEEIATwAAAAFTY0EAAAAAAAAA8D8BU2NSAAAAAOA2OXU/AVNjRwAAAACAZz+kPwFTY0IAAAAAYBcEtD8AEEZvbnRUaGVtZUNvbG9yAAAAAAABRm9udFRpbnRBbmRTaGFkZQAAAAAAAAAAABBGb250U2NoZW1lQ29sb3IAAAAAAAhGb250SXRhbGljAAACRm9udE5hbWUABgAAAEFyaWFsAAFGb250U2l6ZQAAAAAAAAAkQAhGb250U3RyaWtldGhyb3VnaAAACEZvbnRTdWJzY3JpcHQAAAhGb250U3VwZXJzY3JpcHQAAAhGb250VW5kZXJsaW5lAAAACFNpemVUb1RleHRXaWR0aAAACFNpemVUb1RleHRIZWlnaHQAAANUZXh0TWFyZ2luAD8AAAABTGVmdAAAAAAAAAAAAAFUb3AAAAAAAAAAAAABUmlnaHQAAAAAAAAAAAABQm90dG9tAAAAAAAAAAAAAAJEaXNwbGF5VGV4dAAJAAAAU3ByaW50IDQAAUhlaWdodAAAAABg3wsnQAFXaWR0aAAAAAAAdHpDQAFUb3AAAAAAgLFxekABTGVmdAAAAABASVw3QAhGbGlwSG9yaXpvbnRhbGx5AAAIRmxpcEhvcml6b250YWxseUFwcGxpZWQAAAhGbGlwVmVydGljYWxseQAACEZsaXBWZXJ0aWNhbGx5QXBwbGllZAAAAVJvdGF0aW9uAAAAAAAAAAAAAVpPcmRlcgAAAAAAAAA+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mVjdGFuZ2xlAHQGAAACQXV0b1NoYXBlVHlwZQAKAAAAUmVjdGFuZ2xlAAVNYW5hZ2VkSWQAEAAAAAQS77zd1hNJQK6UhyASe/C5CEhhc0NoYW5nZXMAAAhVc2VOYW1lSW5zdGVhZE9mVGFnQXNJZAAACFNoYXBlUHJldmlvdXNseUNyZWF0ZWQAAANGaWxsQ29sb3IAVQAAABBBAAAAAAAQUgD/AAAAEEcA/wAAABBCAP8AAAABU2NBAAAAAAAAAAAAAVNjUgAAAAAAAADwPwFTY0cAAAAAAAAA8D8BU2NCAAAAAAAAAPA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A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QC0FOEABV2lkdGgAAAAAAIPbjUABVG9wAAAAAKC3DXpAAUxlZnQAAAAAAEriCkAIRmxpcEhvcml6b250YWxseQAACEZsaXBIb3Jpem9udGFsbHlBcHBsaWVkAAAIRmxpcFZlcnRpY2FsbHkAAAhGbGlwVmVydGljYWxseUFwcGxpZWQAAAFSb3RhdGlvbgAAAAAAAAAAAAFaT3JkZXIAAAAAAAAAJk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NlcGFyYXRvckxpbmUA4QYAAANTdGFydAAbAAAAAVgAzczMzBavB0ABWQClcnVrCo57QAADRW5kABsAAAABWAAzMzN9mPmNQAFZAKVydWsKjntAAAJTdGFydEFycm93SGVhZAARAAAAbXNvQXJyb3doZWFkTm9uZQACRW5kQXJyb3dIZWFkABEAAABtc29BcnJvd2hlYWROb25lAAVNYW5hZ2VkSWQAEAAAAARsZWJMlXO3TrPrFIgyhRdACEhhc0NoYW5nZXMAAAhVc2VOYW1lSW5zdGVhZE9mVGFnQXNJZAAACFNoYXBlUHJldmlvdXNseUNyZWF0ZWQAAANGaWxsQ29sb3IAVQAAABBBAAAAAAAQUgAAAAAAEEcAAAAAABBCACEBAAAFIAEAACIBAADnDwAAAAAAAAAAAA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AAAAAAAAVdpZHRoAAAAAGDp4Y1AAVRvcAAAAABgCo57QAFMZWZ0AAAAAMAWrwdACEZsaXBIb3Jpem9udGFsbHkAAAhGbGlwSG9yaXpvbnRhbGx5QXBwbGllZAAACEZsaXBWZXJ0aWNhbGx5AAAIRmxpcFZlcnRpY2FsbHlBcHBsaWVkAAABUm90YXRpb24AAAAAAAAAAAABWk9yZGVyAAAAAAAAAChAA0JvcmRlckNvbG9yAFUAAAAQQQD/AAAAEFIA4wAAABBHAOMAAAAQQgDjAAAAAVNjQQAAAAAAAADwPwFTY1IAAAAAwLGU6D8BU2NHAAAAAMCxlOg/AVNjQgAAAADAsZToPwAQQm9yZGVyVGhlbWVDb2xvcgAAAAAAAUJvcmRlclRpbnRBbmRTaGFkZQAAAAAAAAAAABBCb3JkZXJTY2hlbWVDb2xvcgAAAAAAAUJvcmRlclRoaWNrbmVzcwAAAAAAAADw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AAAzQAYmgAABBfaWQADgAAAARJdGVtcwCsHAAAAzAApBwAAAJfdHlwZQBLAAAAZW1wb3dlci5DaGFydHMuRGF0YS5HYW50dC5DaHJvbm9sb2d5LkRhdGEuQmFyVGFza0RhdGEsIGVtcG93ZXIuQ2hhcnRzLkRhdGEAAkxhYmVsUG9zaXRpb24ACwAAAE91dHNpZGVUb3AACElzTGFiZWxJbnNpZGVCb3VuZHMAAANTdHlsZQBbBAAAAURlZmF1bHRGb250U2l6ZQAAAAAAAAAkQAFGb250U2l6ZQAAAAAAAAAgQANGb250Q29sb3IAVQAAABBBAP8AAAAQUgAQAAAAEEcAOAAAABBCAE8AAAABU2NBAAAAAAAAAPA/AVNjUgAAAADgNjl1PwFTY0cAAAAAgGc/pD8BU2NCAAAAAGAXBLQ/ABBGb250VGhlbWVDb2xvcgAAAAAAEEZvbnRTY2hlbWVDb2xvcgAAAAAAAUZvbnRUaW50QW5kU2hhZGUAAAAAAAAAAAADUGF0dGVybkNvbG9yAFUAAAAQQQAAAAAAEFIAAAAAABBHAAAAAAAQQgAAAAAAAVNjQQAAAAAAAAAAAAFTY1IAAAAAAAAAAAABU2NHAAAAAAAAAAAAAVNjQgAAAAAAAAAAAAAQUGF0dGVyblRoZW1lQ29sb3IAAAAAAAFQYXR0ZXJuVGludEFuZFNoYWRlAAAAAAAAAAAAA0RhdGFTdHlsZUZvbnRDb2xvclZhbHVlAFUAAAAQQQAAAAAAEFIAAAAAABBHAAAAAAAQQgAAAAAAAVNjQQAAAAAAAAAAAAFTY1IAAAAAAAAAAAABU2NHAAAAAAAAAAAAAVNjQgAAAAAAAAAAAAAIRGF0YVN0eWxlRm9udENvbG9ySGFzVmFsdWUAAAFIZWlnaHQAAAAA4N0yKEACRGFzaFN0eWxlAA0AAABtc29MaW5lU29saWQACEhhc1dpc2hGaWxsQ29sb3IAAANGaWxsQ29sb3IAVQAAABBBAP8AAAAQUgCZAAAAEEcA0wAAABBCAPIAAAABU2NBAAAAAAAAAPA/AVNjUgAAAAAgEmPUPwFTY0cAAAAAoFDY5D8BU2NCAAAAAMDdaew/ABBGaWxsU2NoZW1lQ29sb3IAAAAAABBGaWxsVGhlbWVDb2xvcgAAAAAAAUZpbGxUaW50QW5kU2hhZGUAAAAAAAAAAAADQm9yZGVyQ29sb3IAVQAAABBBAAAAAAAQUgAAAAAAEEcAAAAAABBCAAAAAAABU2NBAAAAAAAAAAAAAVNjUgAAAAAAAAAAAAFTY0cAAAAAAAAAAAABU2NCAAAAAAAAAAAAABBCb3JkZXJUaGVtZUNvbG9yAAAAAAABQm9yZGVyVGludEFuZFNoYWRlAAAAAAAAAAAACElzRmlsbGVkAAECUGF0dGVybgAQAAAAbXNvUGF0dGVybk1peGVkAAJTaGFwZVR5cGUADgAAAG1zb1NoYXBlTWl4ZWQAA0xhYmVsT2Zmc2V0AEIAAAABWAAAAAAAAAAAAAFZAAAAAAAAAAAAAUxlbmd0aAAAAAAAAAAAAAFMZW5ndGhTcXVhcmVkAAAAAAAAAAAAAAhJc0ZvbnRCb2xkAAAISXNGb250SXRhbGljAAAISXNGb250VW5kZXJsaW5lZAAACExhYmVsSGFzQmFja2dyb3VuZAAAAlRleHRBbGlnbm1lbnQABQAAAExlZnQAAAhEaXNwbGF5TGFiZWwAAQNSZW5kZXJJbmZvABMXAAADUmVjdGFuZ2xlRnJlZWZvcm0A/AgAAARWZXJ0aWNlcwCbAgAAAzAALAAAABBJbmRleDAAAAAAABBJbmRleDEAAAAAAAFWYWx1ZQAAAADgq6F9QAADMQAsAAAAEEluZGV4MAAAAAAAEEluZGV4MQABAAAAAVZhbHVlAAAAAGBo/XtAAAMyACwAAAAQSW5kZXgwAAEAAAAQSW5kZXgxAAAAAAABVmFsdWUAAAAA4KuhfUAAAzMALAAAABBJbmRleDAAAQAAABBJbmRleDEAAQAAAAFWYWx1ZQAAAADgM158QAADNAAsAAAAEEluZGV4MAACAAAAEEluZGV4MQAAAAAAAVZhbHVlAAAAAOCroX1AAAM1ACwAAAAQSW5kZXgwAAIAAAAQSW5kZXgxAAEAAAABVmFsdWUAAAAAQP++fEAAAzYALAAAABBJbmRleDAAAwAAABBJbmRleDEAAAAAAAFWYWx1ZQAAAABADSGCQAADNwAsAAAAEEluZGV4MAADAAAAEEluZGV4MQABAAAAAVZhbHVlAAAAAED/vnxAAAM4ACwAAAAQSW5kZXgwAAQAAAAQSW5kZXgxAAAAAAABVmFsdWUAAAAAQA0hgkAAAzkALAAAABBJbmRleDAABAAAABBJbmRleDEAAQAAAAFWYWx1ZQAAAADgM158QAADMTAALAAAABBJbmRleDAABQAAABBJbmRleDEAAAAAAAFWYWx1ZQAAAABADSGCQAADMTEALAAAABBJbmRleDAABQAAABBJbmRleDEAAQAAAAFWYWx1ZQAAAABgaP17QAADMTIALAAAABBJbmRleDAABgAAABBJbmRleDEAAAAAAAFWYWx1ZQAAAADgq6F9QAADMTMALAAAABBJbmRleDAABgAAABBJbmRleDEAAQAAAAFWYWx1ZQAAAABgaP17QAAABU1hbmFnZWRJZAAQAAAABJrXLZXrK0JDq30gKDzQ2VYISGFzQ2hhbmdlcwAACFVzZU5hbWVJbnN0ZWFkT2ZUYWdBc0lkAAAIU2hhcGVQcmV2aW91c2x5Q3JlYXRlZAAAA0ZpbGxDb2xvcgBVAAAAEEEA/wAAABBSAJkAAAAQRwDTAAAAEEIA8gAAAAFTY0EAAAAAAAAA8D8BU2NSAAAAACASY9Q/AVNjRwAAAACgUNjkPwFTY0IAAAAAwN1p7D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ECRmlsbFBhdHRlcm4AEAAAAG1zb1BhdHRlcm5NaXhlZAACVGV4dEhvcml6b250YWxBbGlnbm1lbnQADgAAAG1zb0FuY2hvck5vbmUAAlBhcmFncmFwaEFsaWdubWVudAACAAAAMAACVGV4dFZlcnRpY2FsQWxpZ25tZW50AA0iAQAABSEBAAAoAQAA5w8AAAAAAAAAAAAA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4N0yKEABV2lkdGgAAAAAwLqBWkABVG9wAAAAAGBo/XtAAUxlZnQAAAAA4KuhfUAIRmxpcEhvcml6b250YWxseQAACEZsaXBIb3Jpem9udGFsbHlBcHBsaWVkAAAIRmxpcFZlcnRpY2FsbHkAAAhGbGlwVmVydGljYWxseUFwcGxpZWQAAAFSb3RhdGlvbgAAAAAAAAAAAAFaT3JkZXIAAAAAAACAUUADQm9yZGVyQ29sb3IAVQAAABBBAP8AAAAQUgD/AAAAEEcA/wAAABBCAP8AAAABU2NBAAAAAAAAAPA/AVNjUgAAAAAAAADwPwFTY0cAAAAAAAAA8D8BU2NCAAAAAAAAAPA/ABBCb3JkZXJUaGVtZUNvbG9yAAAAAAABQm9yZGVyVGludEFuZFNoYWRlAAAAAAAAAAAAEEJvcmRlclNjaGVtZUNvbG9yAAAAAAABQm9yZGVyVGhpY2tuZXNzAAAAAAAAAPA/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JhclN0eWxlRGF0YQAmAAAAAkJhclN0eWxlU2hhcGVUeXBlAAoAAABSZWN0YW5nbGUAAANMYWJlbADQBgAABU1hbmFnZWRJZAAQAAAABDLcntEmvaJMqXYkSt67q6kISGFzQ2hhbmdlcwAACFVzZU5hbWVJbnN0ZWFkT2ZUYWdBc0lkAAAIU2hhcGVQcmV2aW91c2x5Q3JlYXRlZAABA0ZpbGxDb2xvcgBVAAAAEEEA/wAAABBSAJkAAAAQRwDTAAAAEEIA8gAAAAFTY0EAAAAAAAAA8D8BU2NSAAAAACASY9Q/AVNjRwAAAACgUNjkPwFTY0IAAAAAwN1p7D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AAdAAAAUmV0cm9hbGltZW50YWNpw7NuIHkgQWp1c3RlcwACVGV4dEhvcml6b250YWxBbGlnbm1lbnQADgAAAG1zb0FuY2hvck5vbmUAAlBhcmFncmFwaEFsaWdubWVudAAPAAAAbXNvQWxpZ25DZW50ZXIAAlRleHRWZXJ0aWNhbEFsaWdubWVudAAQAAAAbXNvQW5jaG9yTWlkZGxlAANGb250U3R5bGUAQAEAABBGb250QmFja2dyb3VuZAAAAAAACEZvbnRCb2xkAAADRm9udENvbG9yAFUAAAAQQQD/AAAAEFIAEAAAABBHADgAAAAQQgBPAAAAAVNjQQAAAAAAAADwPwFTY1IAAAAA4DY5dT8BU2NHAAAAAIBnP6Q/AVNjQgAAAABgFwS0PwAQRm9udFRoZW1lQ29sb3IAAAAAAAFGb250VGludEFuZFNoYWRlAAAAAAAAAAAAEEZvbnRTY2hlbWVDb2xvcgAAAAAACEZvbnRJdGFsaWMAAAJGb250TmFtZQAGAAAAQXJpYWwAAUZvbnRTaXplAAAAAAAAACBACEZvbnRTdHJpa2V0aHJvdWdoAAAIRm9udFN1YnNjcmlwdAAACEZvbnRTdXBlcnNjcmlwdAAACEZvbnRVbmRlcmxpbmUAAAAIU2l6ZVRvVGV4dFdpZHRoAAAIU2l6ZVRvVGV4dEhlaWdodAAAA1RleHRNYXJnaW4APwAAAAFMZWZ0AAAAAAAAAAAAAVRvcAAAAAAAAAAAAAFSaWdodAAAAAAAAAAAAAFCb3R0b20AAAAAAAAAAAAAAkRpc3BsYXlUZXh0AB0AAABSZXRyb2FsaW1lbnRhY2nDs24geSBBanVzdGVzAAFIZWlnaHQAAAAAABZcI0ABV2lkdGgAAAAAgBTOWEABVG9wAAAAAKCHMntAAUxlZnQAAAAAoCDYfUAIRmxpcEhvcml6b250YWxseQAACEZsaXBIb3Jpem9udGFsbHlBcHBsaWVkAAAIRmxpcFZlcnRpY2FsbHkAAAhGbGlwVmVydGljYWxseUFwcGxpZWQAAAFSb3RhdGlvbgAAAAAAAAAAAAFaT3JkZXIAAAAAAAAAUk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Nvbm5lY3RvckxpbmVEYXRhAOEGAAADU3RhcnQAGwAAAAFYAAAAAOCroX1AAVkAAAAAYGj9e0AAA0VuZAAbAAAAAVgAAAAA4KuhfUABWQAAAABgaP17QAACU3RhcnRBcnJvd0hlYWQAEQAAAG1zb0Fycm93aGVhZE5vbmUAAkVuZEFycm93SGVhZAARAAAAbXNvQXJyb3doZWFkTm9uZQAFTWFuYWdlZElkABAAAAAEQHs/EnE/t0yRmoYkuZYm9AhIYXNDaGFuZ2VzAAAIVXNlTmFtZUluc3RlYWRPZlRhZ0FzSWQAAAhTaGFwZVByZXZpb3VzbHlDcmVhdGVkAAA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A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AAAAAAAAVdpZHRoAAAAAAAAAAAAAVRvcAAAAABgaP17QAFMZWZ0IwEAAAUcAQAAJAEAAOcPAAAAAAAAAAAAAAAAAAAAAAFUb3AAAAAAYGj9e0ABTGVmdAAAAADgq6F9QAhGbGlwSG9yaXpvbnRhbGx5AAAIRmxpcEhvcml6b250YWxseUFwcGxpZWQAAAhGbGlwVmVydGljYWxseQAACEZsaXBWZXJ0aWNhbGx5QXBwbGllZAAAAVJvdGF0aW9uAAAAAAAAAAAAAVpPcmRlcgAAAAAAAMBRQANCb3JkZXJDb2xvcgBVAAAAEEEA/wAAABBSAJkAAAAQRwDTAAAAEEIA8gAAAAFTY0EAAAAAAAAA8D8BU2NSAAAAACASY9Q/AVNjRwAAAACgUNjkPwFTY0IAAAAAwN1p7D8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ACUVuZFRpbWUAAJ/Tr5ABAAAQSW5kZXgAAQAAAAJEZXNjcmlwdGlvbgAdAAAAUmV0cm9hbGltZW50YWNpw7NuIHkgQWp1c3RlcwACTmFtZQAFAAAAVGFzawAISXNMZWFkZXJMaW5lSW5BdXRvTW9kZQABCVN0YXJ0VGltZQAAb9RIkAEAAAAAAk5hbWUACQAAAFNwcmludCA1AAhJc0hpZ2hsaWdodGVkAAAISXNTZXBhcmF0b3JMaW5lVmlzaWJsZQABA1N0eWxlAHQEAAABRGVmYXVsdEZvbnRTaXplAAAAAAAAACRAAUZvbnRTaXplAAAAAAAAACRAA0ZvbnRDb2xvcgBVAAAAEEEA/wAAABBSABAAAAAQRwA4AAAAEEIATwAAAAFTY0EAAAAAAAAA8D8BU2NSAAAAAOA2OXU/AVNjRwAAAACAZz+kPwFTY0IAAAAAYBcEtD8AEEZvbnRUaGVtZUNvbG9yAAAAAAAQRm9udFNjaGVtZUNvbG9yAAAAAAABRm9udFRpbnRBbmRTaGFkZQAAAAAAAAAAAANQYXR0ZXJuQ29sb3IAVQAAABBBAAAAAAAQUgAAAAAAEEcAAAAAABBCAAAAAAABU2NBAAAAAAAAAAAAAVNjUgAAAAAAAAAAAAFTY0cAAAAAAAAAAAABU2NCAAAAAAAAAAAAABBQYXR0ZXJuVGhlbWVDb2xvcgAAAAAAAVBhdHRlcm5UaW50QW5kU2hhZGUAAAAAAAAAAAADRGF0YVN0eWxlRm9udENvbG9yVmFsdWUAVQAAABBBAP8AAAAQUgAQAAAAEEcAOAAAABBCAE8AAAABU2NBAAAAAAAAAPA/AVNjUgAAAADgNjl1PwFTY0cAAAAAgGc/pD8BU2NCAAAAAGAXBLQ/AAhEYXRhU3R5bGVGb250Q29sb3JIYXNWYWx1ZQABAUhlaWdodAAAAAAAAAAAAAJEYXNoU3R5bGUADQAAAG1zb0xpbmVTb2xpZAAISGFzV2lzaEZpbGxDb2xvcgABA0ZpbGxDb2xvcgBVAAAAEEEAAAAAABBSAP8AAAAQRwD/AAAAEEIA/wAAAAFTY0EAAAAAAAAAAAABU2NSAAAAAAAAAPA/AVNjRwAAAAAAAADwPwFTY0IAAAAAAAAA8D8AEEZpbGxTY2hlbWVDb2xvcgAAAAAAEEZpbGxUaGVtZUNvbG9yAAAAAAABRmlsbFRpbnRBbmRTaGFkZQAAAAAAAAAAAANCb3JkZXJDb2xvcgBVAAAAEEEA/wAAABBSAOMAAAAQRwDjAAAAEEIA4wAAAAFTY0EAAAAAAAAA8D8BU2NSAAAAAMCxlOg/AVNjRwAAAADAsZToPwFTY0IAAAAAwLGU6D8AEEJvcmRlclRoZW1lQ29sb3IAAAAAAAFCb3JkZXJUaW50QW5kU2hhZGUAAAAAAAAAAAAISXNGaWxsZWQAAQJQYXR0ZXJuABAAAABtc29QYXR0ZXJuTWl4ZWQAAlNoYXBlVHlwZQAOAAAAbXNvU2hhcGVNaXhlZAADTGFiZWxPZmZzZXQAQgAAAAFYAAAAAAAAAAAAAVkAAAAAAAAAAAABTGVuZ3RoAAAAAAAAAAAAAUxlbmd0aFNxdWFyZWQAAAAAAAAAAAAAAUJvcmRlclRoaWNrbmVzcwAAAAAAAADwPwhJc0ZvbnRCb2xkAAAISXNGb250SXRhbGljAAAISXNGb250VW5kZXJsaW5lZAAACExhYmVsSGFzQmFja2dyb3VuZAAAAlRleHRBbGlnbm1lbnQABQAAAExlZnQAAAFSb3dUb3AApXJ1awqWe0ABUm93SGVpZ2h0AG41KjItBTlAA0xlZnROb3RlcwDHBAAAA1RleHRTdHlsZQBbBAAAAURlZmF1bHRGb250U2l6ZQAAAAAAAAAkQAFGb250U2l6ZQAAAAAAAAAkQANGb250Q29sb3IAVQAAABBBAP8AAAAQUgAQAAAAEEcAOAAAABBCAE8AAAABU2NBAAAAAAAAAPA/AVNjUgAAAADgNjl1PwFTY0cAAAAAgGc/pD8BU2NCAAAAAGAXBLQ/ABBGb250VGhlbWVDb2xvcgAAAAAAEEZvbnRTY2hlbWVDb2xvcgAAAAAAAUZvbnRUaW50QW5kU2hhZGUAAAAAAAAAAAADUGF0dGVybkNvbG9yAFUAAAAQQQAAAAAAEFIAAAAAABBHAAAAAAAQQgAAAAAAAVNjQQAAAAAAAAAAAAFTY1IAAAAAAAAAAAABU2NHAAAAAAAAAAAAAVNjQgAAAAAAAAAAAAAQUGF0dGVyblRoZW1lQ29sb3IAAAAAAAFQYXR0ZXJuVGludEFuZFNoYWRlAAAAAAAAAAAAA0RhdGFTdHlsZUZvbnRDb2xvclZhbHVlAFUAAAAQQQD/AAAAEFIAEAAAABBHADgAAAAQQgBPAAAAAVNjQQAAAAAAAADwPwFTY1IAAAAA4DY5dT8BU2NHAAAAAIBnP6Q/AVNjQgAAAABgFwS0PwAIRGF0YVN0eWxlRm9udENvbG9ySGFzVmFsdWUAAQFIZWlnaHQAAAAAAAAAAAACRGFzaFN0eWxlAA0AAABtc29MaW5lU29saWQACEhhc1dpc2hGaWxsQ29sb3IAAANGaWxsQ29sb3IAVQAAABBBAP8AAAAQUgAAAAAAEEcAAAAAABBCAAAAAAABU2NBAAAAAAAAAPA/AVNjUgAAAAAAAAAAAAFTY0cAAAAAAAAAAAABU2NCAAAAAAAAAAAAABBGaWxsU2NoZW1lQ29sb3IAAAAAABBGaWxsVGhlbWVDb2xvcgAAAAAAAUZpbGxUaW50QW5kU2hhZGUAAAAAAAAAAAADQm9yZGVyQ29sb3IAVQAAABBBAAAAAAAQUgAAAAAAEEcAAAAAABBCAAAAAAABU2NBAAAAAAAAAAAAAVNjUgAAAAAAAAAAAAFTY0cAAAAAAAAAAAABU2NCAAAAAAAAAAAAABBCb3JkZXJUaGVtZUNvbG9yAAAAAAABQm9yZGVyVGludEFuZFNoYWRlAAAAAAAAAAAACElzRmlsbGVkAAECUGF0dGVybgAQAAAAbXNvUGF0dGVybk1peGVkAAJTaGFwZVR5cGUADgAAAG1zb1NoYXBlTWl4ZWQAA0xhYmVsT2Zmc2V0AEIAAAABWAAAAAAAAAAAAAFZAAAAAAAAAAAAAUxlbmd0aAAAAAAAAAAAAAFMZW5ndGhTcXVhcmVkAAAAAAAAAAAAAAhJc0ZvbnRCb2xkAAAISXNGb250SXRhbGljAAAISXNGb250VW5kZXJsaW5lZAAACExhYmVsSGFzQmFja2dyb3VuZAAAAlRleHRBbGlnbm1lbnQABQAAAExlZnQAAAhIYXJ2ZXlCYWxsVmlzaWJsZQABEEhhcnZleUJhbGxWYWx1ZQAAAAAAAkNoZWNrQm94U3RhdGUABQAAAE5vbmUAAlRyYWZmaWNMaWdodFN0YXRlAAQAAABPZmYAAANSaWdodE5vdGVzAMcEAAADVGV4dFN0eWxlAFsEAAABRGVmYXVsdEZvbnRTaXplAAAAAAAAACRAAUZvbnRTaXplAAAAAAAAACRAA0ZvbnRDb2xvcgBVAAAAEEEA/wAAABBSABAAAAAQRwA4AAAAEEIATwAAAAFTY0EAAAAAAAAA8D8BU2NSAAAAAOA2OXU/AVNjRwAAAACAZz+kPwFTY0IAAAAAYBcEtD8AEEZvbnRUaGVtZUNvbG9yAAAAAAAQRm9udFNjaGVtZUNvbG9yAAAAAAABRm9udFRpbnRBbmRTaGFkZQAAAAAAAAAAAANQYXR0ZXJuQ29sb3IAVQAAABBBAAAAAAAQUgAAAAAAEEcAAAAAABBCAAAAAAABU2NBAAAAAAAAAAAAAVNjUgAAAAAAAAAAAAFTY0cAAAAAAAAAAAABU2NCAAAAAAAAAAAAABBQYXR0ZXJuVGhlbWVDb2xvcgAAAAAAAVBhdHRlcm5UaW50QW5kU2hhZGUAAAAAAAAAAAADRGF0YVN0eWxlRm9udENvbG9yVmFsdWUAVQAAABBBAP8AAAAQUgAQAAAAEEcAOAAAABBCAE8AAAABU2NBAAAAAAAAAPA/AVNjUgAAAADgNjl1PwFTY0cAAAAAgGc/pD8BU2NCAAAAAGAXBLQ/AAhEYXRhU3R5bGVGb250Q29sb3JIYXNWYWx1ZQABAUhlaWdodAAAAAAAAAAAAAJEYXNoU3R5bGUADQAAAG1zb0xpbmVTb2xpZAAISGFzV2lzaEZpbGxDb2xvcgAAA0ZpbGxDb2xvcgBVAAAAEEEA/wAAABBSAAAAAAAQRwAAAAAAEEIAAAAAAAFTY0EAAAAAAAAA8D8BU2NSAAAAAAAAAAAAAVNjRwAAAAAAAAAAAAFTY0IAAAAAAAAAAAAAEEZpbGxTY2hlbWVDb2xvcgAAAAAAEEZpbGxUaGVtZUNvbG9yAAAAAAABRmlsbFRpbnRBbmRTaGFkZQAAAAAAAAAAAANCb3JkZXJDb2xvcgBVAAAAEEEAAAAAABBSAAAAAAAQRwAAAAAAEEIAAAAAAAFTY0EAAAAAAAAAAAABU2NSAAAAAAAAAAAAAVNjRwAAAAAAAAAAAAFTY0IAAAAAAAAAAAAAEEJvcmRlclRoZW1lQyQBAAAFIwEAACUBAADnDwAAAAAAAAAAAABvbG9yAAAAAAABQm9yZGVyVGludEFuZFNoYWRlAAAAAAAAAAAACElzRmlsbGVkAAECUGF0dGVybgAQAAAAbXNvUGF0dGVybk1peGVkAAJTaGFwZVR5cGUADgAAAG1zb1NoYXBlTWl4ZWQAA0xhYmVsT2Zmc2V0AEIAAAABWAAAAAAAAAAAAAFZAAAAAAAAAAAAAUxlbmd0aAAAAAAAAAAAAAFMZW5ndGhTcXVhcmVkAAAAAAAAAAAAAAhJc0ZvbnRCb2xkAAAISXNGb250SXRhbGljAAAISXNGb250VW5kZXJsaW5lZAAACExhYmVsSGFzQmFja2dyb3VuZAAAAlRleHRBbGlnbm1lbnQABQAAAExlZnQAAAhIYXJ2ZXlCYWxsVmlzaWJsZQABEEhhcnZleUJhbGxWYWx1ZQAAAAAAAkNoZWNrQm94U3RhdGUABQAAAE5vbmUAAlRyYWZmaWNMaWdodFN0YXRlAAQAAABPZmYAAANMZWZ0Tm90ZXNSZW5kZXJJbmZvAGEUAAADTGFiZWwAdAYAAAVNYW5hZ2VkSWQAEAAAAAQk8fvdiXjJT7VZ3BpsALRgCEhhc0NoYW5nZXMAAQhVc2VOYW1lSW5zdGVhZE9mVGFnQXNJZAAACFNoYXBlUHJldmlvdXNseUNyZWF0ZWQAAA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AAkZpbGxQYXR0ZXJuABAAAABtc29QYXR0ZXJuTWl4ZWQAAlRleHQAAQAAA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kRpc3BsYXlUZXh0AAEAAAAAAUhlaWdodAAAAAAAAADwPwFXaWR0aAAAAAAAAADwPwFUb3AAAAAAAIyWcUABTGVmdAAAAABAZfaNQAhGbGlwSG9yaXpvbnRhbGx5AAAIRmxpcEhvcml6b250YWxseUFwcGxpZWQAAAhGbGlwVmVydGljYWxseQAACEZsaXBWZXJ0aWNhbGx5QXBwbGllZAAAAVJvdGF0aW9uAAAAAAAAAAAAAVpPcmRlcgAAAAAAAAAAA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2VwYXJhdG9yTGluZQDhBgAAA1N0YXJ0ABsAAAABWADNzMwWMvONQAFZAAAAAEBdHn1AAANFbmQAGwAAAAFYADMzM32Y+Y1AAVkAAAAAQF0efUAAAlN0YXJ0QXJyb3dIZWFkABEAAABtc29BcnJvd2hlYWROb25lAAJFbmRBcnJvd0hlYWQAEQAAAG1zb0Fycm93aGVhZE5vbmUABU1hbmFnZWRJZAAQAAAABMRx4Y7IZN9JiWXJoSn9dxwISGFzQ2hhbmdlcwABCFVzZU5hbWVJbnN0ZWFkT2ZUYWdBc0lkAAAIU2hhcGVQcmV2aW91c2x5Q3JlYXRlZAAA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CgmZnpPwFUb3AAAAAAQF0efUABTGVmdAAAAAAgMvONQAhGbGlwSG9yaXpvbnRhbGx5AAAIRmxpcEhvcml6b250YWxseUFwcGxpZWQAAAhGbGlwVmVydGljYWxseQAACEZsaXBWZXJ0aWNhbGx5QXBwbGllZAAAAVJvdGF0aW9uAAAAAAAAAAAAAVpPcmRlcgAAAAAAAIBVQANCb3JkZXJDb2xvcgBVAAAAEEEA/wAAABBSAOMAAAAQRwDjAAAAEEIA4wAAAAFTY0EAAAAAAAAA8D8BU2NSAAAAAMCxlOg/AVNjRwAAAADAsZToPwFTY0IAAAAAwLGU6D8AEEJvcmRlclRoZW1lQ29sb3IAAAAAAAFCb3JkZXJUaW50QW5kU2hhZGUAAAAAAAAAAAAQQm9yZGVyU2NoZW1lQ29sb3IAAAAAAAFCb3JkZXJUaGlja25lc3MAAAAAAAAA8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mVjdGFuZ2xlAHQGAAACQXV0b1NoYXBlVHlwZQAKAAAAUmVjdGFuZ2xlAAVNYW5hZ2VkSWQAEAAAAAQtHz3IQ9daQIOr8FCNlO9MCEhhc0NoYW5nZXMAAQhVc2VOYW1lSW5zdGVhZE9mVGFnQXNJZAAACFNoYXBlUHJldmlvdXNseUNyZWF0ZWQAAANGaWxsQ29sb3IAVQAAABBBAAAAAAAQUgD/AAAAEEcA/wAAABBCAP8AAAABU2NBAAAAAAAAAAAAAVNjUgAAAAAAAADwPwFTY0cAAAAAAAAA8D8BU2NCAAAAAAAAAPA/ABBGaWwlAQAABSQBAAAmAQAA5w8AAAAAAAAAAAAA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A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EAtBThAAVdpZHRoAAAAAAAAAAAAAVRvcAAAAABgCp57QAFMZWZ0AAAAAEBl7o1ACEZsaXBIb3Jpem9udGFsbHkAAAhGbGlwSG9yaXpvbnRhbGx5QXBwbGllZAAACEZsaXBWZXJ0aWNhbGx5AAAIRmxpcFZlcnRpY2FsbHlBcHBsaWVkAAABUm90YXRpb24AAAAAAAAAAAABWk9yZGVyAAAAAAAAQFV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RUcmFmZmljTGlnaHREYXRhAAUAAAAABEhhcnZleUJhbGxEYXRhAAUAAAAAAlRyYWZmaWNMaWdodFN0YXRlAAQAAABPZmYABENoZWNrQm94RGF0YQAFAAAAAAJDaGVja0JveFN0YXRlAAUAAABOb25lAAADUmlnaHROb3Rlc1JlbmRlckluZm8AYRQAAANMYWJlbAB0BgAABU1hbmFnZWRJZAAQAAAABA8ORzd9xppHqhX+0iDqV4QISGFzQ2hhbmdlcwABCFVzZU5hbWVJbnN0ZWFkT2ZUYWdBc0lkAAAIU2hhcGVQcmV2aW91c2x5Q3JlYXRlZAAA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ACRmlsbFBhdHRlcm4AEAAAAG1zb1BhdHRlcm5NaXhlZAACVGV4dAABAAAA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CRGlzcGxheVRleHQAAQAAAAABSGVpZ2h0AAAAAAAAAPA/AVdpZHRoAAAAAAAAAPA/AVRvcAAAAAAAjJZxQAFMZWZ0AAAAAEBl9o1ACEZsaXBIb3Jpem9udGFsbHkAAAhGbGlwSG9yaXpvbnRhbGx5QXBwbGllZAAACEZsaXBWZXJ0aWNhbGx5AAAIRmxpcFZlcnRpY2FsbHlBcHBsaWVkAAABUm90YXRpb24AAAAAAAAAAAABWk9yZGVyAAAAAAAAAAA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TZXBhcmF0b3JMaW5lAOEGAAADU3RhcnQAGwAAAAFYAM3MzBYy841AAVkAAAAAQF0efUAAA0VuZAAbAAAAAVgAMzMzfZj5jUABWQAAAABAXR59QAACU3RhcnRBcnJvd0hlYWQAEQAAAG1zb0Fycm93aGVhZE5vbmUAAkVuZEFycm93SGVhZAARAAAAbXNvQXJyb3doZWFkTm9uZQAFTWFuYWdlZElkABAAAAAEvlZ5kNidpkC+paOzyOL+oQhIYXNDaGFuZ2VzAAEIVXNlTmFtZUluc3RlYWRPZlRhZ0FzSWQAAAhTaGFwZVByZXZpb3VzbHlDcmVhdGVkAAA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JgEAAAUlAQAAJwEAAOcPAA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CgmZnpPwFUb3AAAAAAQF0efUABTGVmdAAAAAAgMvONQAhGbGlwSG9yaXpvbnRhbGx5AAAIRmxpcEhvcml6b250YWxseUFwcGxpZWQAAAhGbGlwVmVydGljYWxseQAACEZsaXBWZXJ0aWNhbGx5QXBwbGllZAAAAVJvdGF0aW9uAAAAAAAAAAAAAVpPcmRlcgAAAAAAAIBVQANCb3JkZXJDb2xvcgBVAAAAEEEA/wAAABBSAOMAAAAQRwDjAAAAEEIA4wAAAAFTY0EAAAAAAAAA8D8BU2NSAAAAAMCxlOg/AVNjRwAAAADAsZToPwFTY0IAAAAAwLGU6D8AEEJvcmRlclRoZW1lQ29sb3IAAAAAAAFCb3JkZXJUaW50QW5kU2hhZGUAAAAAAAAAAAAQQm9yZGVyU2NoZW1lQ29sb3IAAAAAAAFCb3JkZXJUaGlja25lc3MAAAAAAAAA8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mVjdGFuZ2xlAHQGAAACQXV0b1NoYXBlVHlwZQAKAAAAUmVjdGFuZ2xlAAVNYW5hZ2VkSWQAEAAAAAQgeZSDwlHkT66rP5LCqEO9CEhhc0NoYW5nZXMAAQhVc2VOYW1lSW5zdGVhZE9mVGFnQXNJZAAACFNoYXBlUHJldmlvdXNseUNyZWF0ZWQAAANGaWxsQ29sb3IAVQAAABBBAAAAAAAQUgD/AAAAEEcA/wAAABBCAP8AAAABU2NBAAAAAAAAAAAAAVNjUgAAAAAAAADwPwFTY0cAAAAAAAAA8D8BU2NCAAAAAAAAAPA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A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QC0FOEABV2lkdGgAAAAAAAAAAAABVG9wAAAAAGAKnntAAUxlZnQAAAAAQGXujUAIRmxpcEhvcml6b250YWxseQAACEZsaXBIb3Jpem9udGFsbHlBcHBsaWVkAAAIRmxpcFZlcnRpY2FsbHkAAAhGbGlwVmVydGljYWxseUFwcGxpZWQAAAFSb3RhdGlvbgAAAAAAAAAAAAFaT3JkZXIAAAAAAABAVU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BFRyYWZmaWNMaWdodERhdGEABQAAAAAESGFydmV5QmFsbERhdGEABQAAAAACVHJhZmZpY0xpZ2h0U3RhdGUABAAAAE9mZgAEQ2hlY2tCb3hEYXRhAAUAAAAAAkNoZWNrQm94U3RhdGUABQAAAE5vbmUAAANMZWZ0U2lkZVJlbmRlckluZm8AIRQAAANMYWJlbACmBgAABU1hbmFnZWRJZAAQAAAABHJhqmoJZYlHsYheZ5bZy1AISGFzQ2hhbmdlcwAACFVzZU5hbWVJbnN0ZWFkT2ZUYWdBc0lkAAAIU2hhcGVQcmV2aW91c2x5Q3JlYXRlZAAB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AAJAAAAU3ByaW50IDUAAlRleHRIb3Jpem9udGFsQWxpZ25tZW50AA4AAABtc29BbmNob3JOb25lAAJQYXJhZ3JhcGhBbGlnbm1lbnQADQAAAG1zb0FsaWduTGVmdAACVGV4dFZlcnRpY2FsQWxpZ25tZW50ABAAAABtc29BbmNob3JNaWRkbGUAA0ZvbnRTdHlsZQBAAQAAEEZvbnRCYWNrZ3JvdW5kAAAAAAAIRm9udEJvbGQAAANGb250Q29sb3IAVQAAABBBAP8AAAAQUgAQAAAAEEcAOAAAABBCAE8AAAABU2NBAAAAAAAAAPA/AVNjUgAAAADgNjl1PwFTY0cAAAAAgGc/pD8BU2NCAAAAAGAXBLQ/ABBGb250VGhlbWVDb2xvcgAAAAAAAUZvbnRUaW50QW5kU2hhZGUAAAAAAAAAAAAQRm9udFNjaGVtZUNvbG9yAAAAAAAIRm9udEl0YWxpYwAAAkZvbnROYW1lAAYAAABBcmlhbAABRm9udFNpemUAAAAAAAAAJEAIRm9udFN0cmlrZXRocm91Z2gAAAhGb250U3Vic2NyaXB0AAAIRm9udFN1cGVyc2NyaXB0AAAIRm9udFVuZGVybGluZQAAAAhTaXplVG9UZXh0V2lkdGgAAAhTaXplVG9UZXh0SGVpZ2h0AAADVGV4dE1hcmdpbgA/AAAAAUxlZnQAAAAAAAAAAAABVG9wAAAAAAAAAAAAAVJpZ2h0AAAAAAAAAAAAAUJvdHRvbQAAAAAAAAAAAAACRGlzcGxheVRleHQACQAAAFNwcmludCA1AAFIZWlnaHQAAAAAYN8LJ0ABV2lkdGgAAAAAAHR6Q0ABVG9wAAAAAGAEAnxAAUxlZnQAAAAAQElcN0AIRmxpcEhvcml6b250YWxseQAACEZsaXBIb3Jpem9udGFsbHlBcHBsaWVkAAAIRmxpcFZlcnRpY2FsbHkAAAhGbGlwVmVydGljYWxseUFwcGxpZWQAAAFSb3RhdGlvbgAAAAAAAAAAAAFaT3JkZXIAAAAAAAAAPkADQm9yZGVyQ29sb3IAVQAAABBBAAAAAAAQUgAAAAAAEEcAAAAAABBCAAAAAAABU2NBAAAAAAAAAAAAAVNjUgAAAAAAAAAAAAFTYycBAAAFJgEAAC0BAADnDwAAAAAAAAAAAAB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SZWN0YW5nbGUAdAYAAAJBdXRvU2hhcGVUeXBlAAoAAABSZWN0YW5nbGUABU1hbmFnZWRJZAAQAAAABE9b7Q32ZcJAhmhyEsSUWh4ISGFzQ2hhbmdlcwAACFVzZU5hbWVJbnN0ZWFkT2ZUYWdBc0lkAAAIU2hhcGVQcmV2aW91c2x5Q3JlYXRlZAAAA0ZpbGxDb2xvcgBVAAAAEEEAAAAAABBSAP8AAAAQRwD/AAAAEEIA/wAAAAFTY0EAAAAAAAAAAAABU2NSAAAAAAAAAPA/AVNjRwAAAAAAAADwPwFTY0IAAAAAAAAA8D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A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BALQU4QAFXaWR0aAAAAAAAg9uNQAFUb3AAAAAAYAqee0ABTGVmdAAAAAAASuIKQAhGbGlwSG9yaXpvbnRhbGx5AAAIRmxpcEhvcml6b250YWxseUFwcGxpZWQAAAhGbGlwVmVydGljYWxseQAACEZsaXBWZXJ0aWNhbGx5QXBwbGllZAAAAVJvdGF0aW9uAAAAAAAAAAAAAVpPcmRlcgAAAAAAAAAm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2VwYXJhdG9yTGluZQDhBgAAA1N0YXJ0ABsAAAABWADNzMzMFq8HQAFZAPwVmD5dHn1AAANFbmQAGwAAAAFYADMzM32Y+Y1AAVkA/BWYPl0efUAAAlN0YXJ0QXJyb3dIZWFkABEAAABtc29BcnJvd2hlYWROb25lAAJFbmRBcnJvd0hlYWQAEQAAAG1zb0Fycm93aGVhZE5vbmUABU1hbmFnZWRJZAAQAAAABJnsk0gzbzRAkIW4uVpExdgISGFzQ2hhbmdlcwAACFVzZU5hbWVJbnN0ZWFkT2ZUYWdBc0lkAAAIU2hhcGVQcmV2aW91c2x5Q3JlYXRlZAAA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Bg6eGNQAFUb3AAAAAAQF0efUABTGVmdAAAAADAFq8HQAhGbGlwSG9yaXpvbnRhbGx5AAAIRmxpcEhvcml6b250YWxseUFwcGxpZWQAAAhGbGlwVmVydGljYWxseQAACEZsaXBWZXJ0aWNhbGx5QXBwbGllZAAAAVJvdGF0aW9uAAAAAAAAAAAAAVpPcmRlcgAAAAAAAAAoQANCb3JkZXJDb2xvcgBVAAAAEEEA/wAAABBSAOMAAAAQRwDjAAAAEEIA4wAAAAFTY0EAAAAAAAAA8D8BU2NSAAAAAMCxlOg/AVNjRwAAAADAsZToPwFTY0IAAAAAwLGU6D8AEEJvcmRlclRoZW1lQ29sb3IAAAAAAAFCb3JkZXJUaW50QW5kU2hhZGUAAAAAAAAAAAAQQm9yZGVyU2NoZW1lQ29sb3IAAAAAAAFCb3JkZXJUaGlja25lc3MAAAAAAAAA8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AAAM1ACVoAAAQX2lkAA8AAAAESXRlbXMAbxwAAAMwAGccAAACX3R5cGUASwAAAGVtcG93ZXIuQ2hhcnRzLkRhdGEuR2FudHQuQ2hyb25vbG9neS5EYXRhLkJhclRhc2tEYXRhLCBlbXBvd2VyLkNoYXJ0cy5EYXRhAAJMYWJlbFBvc2l0aW9uAAcAAABDZW50ZXIACElzTGFiZWxJbnNpZGVCb3VuZHMAAQNTdHlsZQBbBAAAAURlZmF1bHRGb250U2l6ZQAAAAAAAAAkQAFGb250U2l6ZQAAAAAAAAAgQANGb250Q29sb3IAVQAAABBBAP8AAAAQUgAQAAAAEEcAOAAAABBCAE8oAQAABSIBAAApAQAA5w8AAAAAAAAAAAAAAAAAAOCroX1ACEZsaXBIb3Jpem9udGFsbHkAAAhGbGlwSG9yaXpvbnRhbGx5QXBwbGllZAAACEZsaXBWZXJ0aWNhbGx5AAAIRmxpcFZlcnRpY2FsbHlBcHBsaWVkAAABUm90YXRpb24AAAAAAAAAAAABWk9yZGVyAAAAAAAAwFFAA0JvcmRlckNvbG9yAFUAAAAQQQD/AAAAEFIAmQAAABBHANMAAAAQQgDyAAAAAVNjQQAAAAAAAADwPwFTY1IAAAAAIBJj1D8BU2NHAAAAAKBQ2OQ/AVNjQgAAAADA3WnsPw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AJRW5kVGltZQAAn9OvkAEAABBJbmRleAABAAAAAkRlc2NyaXB0aW9uAB0AAABSZXRyb2FsaW1lbnRhY2nDs24geSBBanVzdGVzAAJOYW1lAAUAAABUYXNrAAhJc0xlYWRlckxpbmVJbkF1dG9Nb2RlAAEJU3RhcnRUaW1lAABv1EiQAQAAAAACTmFtZQAJAAAAU3ByaW50IDUACElzSGlnaGxpZ2h0ZWQAAAhJc1NlcGFyYXRvckxpbmVWaXNpYmxlAAEDU3R5bGUAdAQAAAFEZWZhdWx0Rm9udFNpemUAAAAAAAAAJEABRm9udFNpemUAAAAAAAAAJEADRm9udENvbG9yAFUAAAAQQQD/AAAAEFIAEAAAABBHADgAAAAQQgBPAAAAAVNjQQAAAAAAAADwPwFTY1IAAAAA4DY5dT8BU2NHAAAAAIBnP6Q/AVNjQgAAAABgFwS0PwAQRm9udFRoZW1lQ29sb3IAAAAAABBGb250U2NoZW1lQ29sb3IAAAAAAAFGb250VGludEFuZFNoYWRlAAAAAAAAAAAAA1BhdHRlcm5Db2xvcgBVAAAAEEEAAAAAABBSAAAAAAAQRwAAAAAAEEIAAAAAAAFTY0EAAAAAAAAAAAABU2NSAAAAAAAAAAAAAVNjRwAAAAAAAAAAAAFTY0IAAAAAAAAAAAAAEFBhdHRlcm5UaGVtZUNvbG9yAAAAAAABUGF0dGVyblRpbnRBbmRTaGFkZQAAAAAAAAAAAANEYXRhU3R5bGVGb250Q29sb3JWYWx1ZQBVAAAAEEEA/wAAABBSABAAAAAQRwA4AAAAEEIATwAAAAFTY0EAAAAAAAAA8D8BU2NSAAAAAOA2OXU/AVNjRwAAAACAZz+kPwFTY0IAAAAAYBcEtD8ACERhdGFTdHlsZUZvbnRDb2xvckhhc1ZhbHVlAAEBSGVpZ2h0AAAAAAAAAAAAAkRhc2hTdHlsZQANAAAAbXNvTGluZVNvbGlkAAhIYXNXaXNoRmlsbENvbG9yAAEDRmlsbENvbG9yAFUAAAAQQQAAAAAAEFIA/wAAABBHAP8AAAAQQgD/AAAAAVNjQQAAAAAAAAAAAAFTY1IAAAAAAAAA8D8BU2NHAAAAAAAAAPA/AVNjQgAAAAAAAADwPwAQRmlsbFNjaGVtZUNvbG9yAAAAAAAQRmlsbFRoZW1lQ29sb3IAAAAAAAFGaWxsVGludEFuZFNoYWRlAAAAAAAAAAAAA0JvcmRlckNvbG9yAFUAAAAQQQD/AAAAEFIA4wAAABBHAOMAAAAQQgDjAAAAAVNjQQAAAAAAAADwPwFTY1IAAAAAwLGU6D8BU2NHAAAAAMCxlOg/AVNjQgAAAADAsZToPwAQQm9yZGVyVGhlbWVDb2xvcgAAAAAAAUJvcmRlclRpbnRBbmRTaGFkZQAAAAAAAAAAAAhJc0ZpbGxlZAABAlBhdHRlcm4AEAAAAG1zb1BhdHRlcm5NaXhlZAACU2hhcGVUeXBlAA4AAABtc29TaGFwZU1peGVkAANMYWJlbE9mZnNldABCAAAAAVgAAAAAAAAAAAABWQAAAAAAAAAAAAFMZW5ndGgAAAAAAAAAAAABTGVuZ3RoU3F1YXJlZAAAAAAAAAAAAAABQm9yZGVyVGhpY2tuZXNzAAAAAAAAAPA/CElzRm9udEJvbGQAAAhJc0ZvbnRJdGFsaWMAAAhJc0ZvbnRVbmRlcmxpbmVkAAAITGFiZWxIYXNCYWNrZ3JvdW5kAAACVGV4dEFsaWdubWVudAAFAAAATGVmdAAAAVJvd1RvcAClcnVrCpZ7QAFSb3dIZWlnaHQAbjUqMi0FOUADTGVmdE5vdGVzAMcEAAADVGV4dFN0eWxlAFsEAAABRGVmYXVsdEZvbnRTaXplAAAAAAAAACRAAUZvbnRTaXplAAAAAAAAACRAA0ZvbnRDb2xvcgBVAAAAEEEA/wAAABBSABAAAAAQRwA4AAAAEEIATwAAAAFTY0EAAAAAAAAA8D8BU2NSAAAAAOA2OXU/AVNjRwAAAACAZz+kPwFTY0IAAAAAYBcEtD8AEEZvbnRUaGVtZUNvbG9yAAAAAAAQRm9udFNjaGVtZUNvbG9yAAAAAAABRm9udFRpbnRBbmRTaGFkZQAAAAAAAAAAAANQYXR0ZXJuQ29sb3IAVQAAABBBAAAAAAAQUgAAAAAAEEcAAAAAABBCAAAAAAABU2NBAAAAAAAAAAAAAVNjUgAAAAAAAAAAAAFTY0cAAAAAAAAAAAABU2NCAAAAAAAAAAAAABBQYXR0ZXJuVGhlbWVDb2xvcgAAAAAAAVBhdHRlcm5UaW50QW5kU2hhZGUAAAAAAAAAAAADRGF0YVN0eWxlRm9udENvbG9yVmFsdWUAVQAAABBBAP8AAAAQUgAQAAAAEEcAOAAAABBCAE8AAAABU2NBAAAAAAAAAPA/AVNjUgAAAADgNjl1PwFTY0cAAAAAgGc/pD8BU2NCAAAAAGAXBLQ/AAhEYXRhU3R5bGVGb250Q29sb3JIYXNWYWx1ZQABAUhlaWdodAAAAAAAAAAAAAJEYXNoU3R5bGUADQAAAG1zb0xpbmVTb2xpZAAISGFzV2lzaEZpbGxDb2xvcgAAA0ZpbGxDb2xvcgBVAAAAEEEA/wAAABBSAAAAAAAQRwAAAAAAEEIAAAAAAAFTY0EAAAAAAAAA8D8BU2NSAAAAAAAAAAAAAVNjRwAAAAAAAAAAAAFTY0IAAAAAAAAAAAAAEEZpbGxTY2hlbWVDb2xvcgAAAAAAEEZpbGxUaGVtZUNvbG9yAAAAAAABRmlsbFRpbnRBbmRTaGFkZQAAAAAAAAAAAANCb3JkZXJDb2xvcgBVAAAAEEEAAAAAABBSAAAAAAAQRwAAAAAAEEIAAAAAAAFTY0EAAAAAAAAAAAABU2NSAAAAAAAAAAAAAVNjRwAAAAAAAAAAAAFTY0IAAAAAAAAAAAAAEEJvcmRlclRoZW1lQ29sb3IAAAAAAAFCb3JkZXJUaW50QW5kU2hhZGUAAAAAAAAAAAAISXNGaWxsZWQAAQJQYXR0ZXJuABAAAABtc29QYXR0ZXJuTWl4ZWQAAlNoYXBlVHlwZQAOAAAAbXNvU2hhcGVNaXhlZAADTGFiZWxPZmZzZXQAQgAAAAFYAAAAAAAAAAAAAVkAAAAAAAAAAAABTGVuZ3RoAAAAAAAAAAAAAUxlbmd0aFNxdWFyZWQAAAAAAAAAAAAACElzRm9udEJvbGQAAAhJc0ZvbnRJdGFsaWMAAAhJc0ZvbnRVbmRlcmxpbmVkAAAITGFiZWxIYXNCYWNrZ3JvdW5kAAACVGV4dEFsaWdubWVudAAFAAAATGVmdAAACEhhcnZleUJhbGxWaXNpYmxlAAEQSGFydmV5QmFsbFZhbHVlAAAAAAACQ2hlY2tCb3hTdGF0ZQAFAAAATm9uZQACVHJhZmZpY0xpZ2h0U3RhdGUABAAAAE9mZgAAA1JpZ2h0Tm90ZXMAxwQAAANUZXh0U3R5bGUAWwQAAAFEZWZhdWx0Rm9udFNpemUAAAAAAAAAJEABRm9udFNpemUAAAAAAAAAJEADRm9udENvbG9yAFUAAAAQQQD/AAAAEFIAEAAAABBHADgAAAAQQgBPAAAAAVNjQQAAAAAAAADwPwFTY1IAAAAA4DY5dT8BU2NHAAAAAIBnP6Q/AVNjQgAAAABgFwS0PwAQRm9udFRoZW1lQ29sb3IAAAAAABBGb250U2NoZW1lQ29sb3IAAAAAAAFGb250VGludEFuZFNoYWRlAAAAAAAAAAAAA1BhdHRlcm5Db2xvcgBVAAAAEEEAAAAAABBSAAAAAAAQRwAAAAAAEEIAAAAAAAFTY0EAAAAAAAAAAAABU2NSAAAAAAAAAAAAAVNjRwAAAAAAAAAAAAFTY0IAAAAAAAAAAAAAEFBhdHRlcm5UaGVtZUNvbG9yAAAAAAABUGF0dGVyblRpbnRBbmRTaGFkZQAAAAAAAAAAAANEYXRhU3R5bGVGb250Q29sb3JWYWx1ZQBVAAAAEEEA/wAAABBSABAAAAAQRwA4AAAAEEIATwAAAAFTY0EAAAAAAAAA8D8BU2NSAAAAAOA2OXU/AVNjRwAAAACAZz+kPwFTY0IAAAAAYBcEtD8ACERhdGFTdHlsZUZvbnRDb2xvckhhc1ZhbHVlAAEBSGVpZ2h0AAAAAAAAAAAAAkRhc2hTdHlsZQANAAAAbXNvTGluZVNvbGlkAAhIYXNXaXNoRmlsbENvbG9yAAADRmlsbENvbG9yAFUAAAAQQQD/AAAAEFIAAAAAABBHAAAAAAAQQgAAAAAAAVNjQQAAAAAAAADwPwFTY1IAAAAAAAAAAAABU2NHAAAAAAAAAAAAAVNjQgAAAAAAAAAAAAAQRmlsbFNjaGVtZUNvbG9yAAAAAAAQRmlsbFRoZW1lQ29sb3IAAAAAAAFGaWxsVGludEFuZFNoYWRlAAAAAAAAAAAAA0JvcmRlckNvbG9yAFUAAAAQQQAAAAAAEFIAAAAAABBHAAAAAAAQQgAAAAAAAVNjQQAAAAAAAAAAAAFTY1IAAAAAAAAAAAABU2NHAAAAAAAAAAAAAVNjQgAAAAAAAAAAAAAQQm9yZGVyVGhlbWVDb2xvcgAAAAAAAUJvcmRlclRpbnRBbmRTKQEAAAUoAQAAKgEAAOcPAAAAAAAAAAAAAGhhZGUAAAAAAAAAAAAISXNGaWxsZWQAAQJQYXR0ZXJuABAAAABtc29QYXR0ZXJuTWl4ZWQAAlNoYXBlVHlwZQAOAAAAbXNvU2hhcGVNaXhlZAADTGFiZWxPZmZzZXQAQgAAAAFYAAAAAAAAAAAAAVkAAAAAAAAAAAABTGVuZ3RoAAAAAAAAAAAAAUxlbmd0aFNxdWFyZWQAAAAAAAAAAAAACElzRm9udEJvbGQAAAhJc0ZvbnRJdGFsaWMAAAhJc0ZvbnRVbmRlcmxpbmVkAAAITGFiZWxIYXNCYWNrZ3JvdW5kAAACVGV4dEFsaWdubWVudAAFAAAATGVmdAAACEhhcnZleUJhbGxWaXNpYmxlAAEQSGFydmV5QmFsbFZhbHVlAAAAAAACQ2hlY2tCb3hTdGF0ZQAFAAAATm9uZQACVHJhZmZpY0xpZ2h0U3RhdGUABAAAAE9mZgAAA0xlZnROb3Rlc1JlbmRlckluZm8AYRQAAANMYWJlbAB0BgAABU1hbmFnZWRJZAAQAAAABCTx+92JeMlPtVncGmwAtGAISGFzQ2hhbmdlcwABCFVzZU5hbWVJbnN0ZWFkT2ZUYWdBc0lkAAAIU2hhcGVQcmV2aW91c2x5Q3JlYXRlZAAA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ACRmlsbFBhdHRlcm4AEAAAAG1zb1BhdHRlcm5NaXhlZAACVGV4dAABAAAA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CRGlzcGxheVRleHQAAQAAAAABSGVpZ2h0AAAAAAAAAPA/AVdpZHRoAAAAAAAAAPA/AVRvcAAAAAAAjJZxQAFMZWZ0AAAAAEBl9o1ACEZsaXBIb3Jpem9udGFsbHkAAAhGbGlwSG9yaXpvbnRhbGx5QXBwbGllZAAACEZsaXBWZXJ0aWNhbGx5AAAIRmxpcFZlcnRpY2FsbHlBcHBsaWVkAAABUm90YXRpb24AAAAAAAAAAAABWk9yZGVyAAAAAAAAAAA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TZXBhcmF0b3JMaW5lAOEGAAADU3RhcnQAGwAAAAFYAM3MzBYy841AAVkAAAAAQF0efUAAA0VuZAAbAAAAAVgAMzMzfZj5jUABWQAAAABAXR59QAACU3RhcnRBcnJvd0hlYWQAEQAAAG1zb0Fycm93aGVhZE5vbmUAAkVuZEFycm93SGVhZAARAAAAbXNvQXJyb3doZWFkTm9uZQAFTWFuYWdlZElkABAAAAAExHHhjshk30mJZcmhKf13HAhIYXNDaGFuZ2VzAAEIVXNlTmFtZUluc3RlYWRPZlRhZ0FzSWQAAAhTaGFwZVByZXZpb3VzbHlDcmVhdGVkAAA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AAAAAAAAVdpZHRoAAAAAKCZmek/AVRvcAAAAABAXR59QAFMZWZ0AAAAACAy841ACEZsaXBIb3Jpem9udGFsbHkAAAhGbGlwSG9yaXpvbnRhbGx5QXBwbGllZAAACEZsaXBWZXJ0aWNhbGx5AAAIRmxpcFZlcnRpY2FsbHlBcHBsaWVkAAABUm90YXRpb24AAAAAAAAAAAABWk9yZGVyAAAAAAAAgFVAA0JvcmRlckNvbG9yAFUAAAAQQQD/AAAAEFIA4wAAABBHAOMAAAAQQgDjAAAAAVNjQQAAAAAAAADwPwFTY1IAAAAAwLGU6D8BU2NHAAAAAMCxlOg/AVNjQgAAAADAsZToPwAQQm9yZGVyVGhlbWVDb2xvcgAAAAAAAUJvcmRlclRpbnRBbmRTaGFkZQAAAAAAAAAAABBCb3JkZXJTY2hlbWVDb2xvcgAAAAAAAUJvcmRlclRoaWNrbmVzcwAAAAAAAADw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SZWN0YW5nbGUAdAYAAAJBdXRvU2hhcGVUeXBlAAoAAABSZWN0YW5nbGUABU1hbmFnZWRJZAAQAAAABC0fPchD11pAg6vwUI2U70wISGFzQ2hhbmdlcwABCFVzZU5hbWVJbnN0ZWFkT2ZUYWdBc0lkAAAIU2hhcGVQcmV2aW91c2x5Q3JlYXRlZAAAA0ZpbGxDb2xvcgBVAAAAEEEAAAAAABBSAP8AAAAQRwD/AAAAEEIA/wAAAAFTY0EAAAAAAAAAAAABU2NSAAAAAAAAAPA/AVNjRwAAAAAAAADwPwFTY0IAAAAAAAAA8D8AEEZpbGxUaGVtZUNvbG9yAAAAAAABRmlsbFRpbioBAAAFKQEAACsBAADnDwAAAAAAAAAAAAB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A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QC0FOEABV2lkdGgAAAAAAAAAAAABVG9wAAAAAGAKnntAAUxlZnQAAAAAQGXujUAIRmxpcEhvcml6b250YWxseQAACEZsaXBIb3Jpem9udGFsbHlBcHBsaWVkAAAIRmxpcFZlcnRpY2FsbHkAAAhGbGlwVmVydGljYWxseUFwcGxpZWQAAAFSb3RhdGlvbgAAAAAAAAAAAAFaT3JkZXIAAAAAAABAVU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BFRyYWZmaWNMaWdodERhdGEABQAAAAAESGFydmV5QmFsbERhdGEABQAAAAACVHJhZmZpY0xpZ2h0U3RhdGUABAAAAE9mZgAEQ2hlY2tCb3hEYXRhAAUAAAAAAkNoZWNrQm94U3RhdGUABQAAAE5vbmUAAANSaWdodE5vdGVzUmVuZGVySW5mbwBhFAAAA0xhYmVsAHQGAAAFTWFuYWdlZElkABAAAAAEDw5HN33GmkeqFf7SIOpXhAhIYXNDaGFuZ2VzAAEIVXNlTmFtZUluc3RlYWRPZlRhZ0FzSWQAAAhTaGFwZVByZXZpb3VzbHlDcmVhdGVkAAA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AJGaWxsUGF0dGVybgAQAAAAbXNvUGF0dGVybk1peGVkAAJUZXh0AAEAAAA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JEaXNwbGF5VGV4dAABAAAAAAFIZWlnaHQAAAAAAAAA8D8BV2lkdGgAAAAAAAAA8D8BVG9wAAAAAACMlnFAAUxlZnQAAAAAQGX2jU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NlcGFyYXRvckxpbmUA4QYAAANTdGFydAAbAAAAAVgAzczMFjLzjUABWQAAAABAXR59QAADRW5kABsAAAABWAAzMzN9mPmNQAFZAAAAAEBdHn1AAAJTdGFydEFycm93SGVhZAARAAAAbXNvQXJyb3doZWFkTm9uZQACRW5kQXJyb3dIZWFkABEAAABtc29BcnJvd2hlYWROb25lAAVNYW5hZ2VkSWQAEAAAAAS+VnmQ2J2mQL6lo7PI4v6hCEhhc0NoYW5nZXMAAQhVc2VOYW1lSW5zdGVhZE9mVGFnQXNJZAAACFNoYXBlUHJldmlvdXNseUNyZWF0ZWQAAA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rAQAABSoBAAAsAQAA5w8AAAA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AAAAAAAAVdpZHRoAAAAAKCZmek/AVRvcAAAAABAXR59QAFMZWZ0AAAAACAy841ACEZsaXBIb3Jpem9udGFsbHkAAAhGbGlwSG9yaXpvbnRhbGx5QXBwbGllZAAACEZsaXBWZXJ0aWNhbGx5AAAIRmxpcFZlcnRpY2FsbHlBcHBsaWVkAAABUm90YXRpb24AAAAAAAAAAAABWk9yZGVyAAAAAAAAgFVAA0JvcmRlckNvbG9yAFUAAAAQQQD/AAAAEFIA4wAAABBHAOMAAAAQQgDjAAAAAVNjQQAAAAAAAADwPwFTY1IAAAAAwLGU6D8BU2NHAAAAAMCxlOg/AVNjQgAAAADAsZToPwAQQm9yZGVyVGhlbWVDb2xvcgAAAAAAAUJvcmRlclRpbnRBbmRTaGFkZQAAAAAAAAAAABBCb3JkZXJTY2hlbWVDb2xvcgAAAAAAAUJvcmRlclRoaWNrbmVzcwAAAAAAAADw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SZWN0YW5nbGUAdAYAAAJBdXRvU2hhcGVUeXBlAAoAAABSZWN0YW5nbGUABU1hbmFnZWRJZAAQAAAABCB5lIPCUeRPrqs/ksKoQ70ISGFzQ2hhbmdlcwABCFVzZU5hbWVJbnN0ZWFkT2ZUYWdBc0lkAAAIU2hhcGVQcmV2aW91c2x5Q3JlYXRlZAAAA0ZpbGxDb2xvcgBVAAAAEEEAAAAAABBSAP8AAAAQRwD/AAAAEEIA/wAAAAFTY0EAAAAAAAAAAAABU2NSAAAAAAAAAPA/AVNjRwAAAAAAAADwPwFTY0IAAAAAAAAA8D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A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BALQU4QAFXaWR0aAAAAAAAAAAAAAFUb3AAAAAAYAqee0ABTGVmdAAAAABAZe6NQAhGbGlwSG9yaXpvbnRhbGx5AAAIRmxpcEhvcml6b250YWxseUFwcGxpZWQAAAhGbGlwVmVydGljYWxseQAACEZsaXBWZXJ0aWNhbGx5QXBwbGllZAAAAVJvdGF0aW9uAAAAAAAAAAAAAVpPcmRlcgAAAAAAAEBV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EVHJhZmZpY0xpZ2h0RGF0YQAFAAAAAARIYXJ2ZXlCYWxsRGF0YQAFAAAAAAJUcmFmZmljTGlnaHRTdGF0ZQAEAAAAT2ZmAARDaGVja0JveERhdGEABQAAAAACQ2hlY2tCb3hTdGF0ZQAFAAAATm9uZQAAA0xlZnRTaWRlUmVuZGVySW5mbwAhFAAAA0xhYmVsAKYGAAAFTWFuYWdlZElkABAAAAAEcmGqaglliUexiF5nltnLUAhIYXNDaGFuZ2VzAAAIVXNlTmFtZUluc3RlYWRPZlRhZ0FzSWQAAAhTaGFwZVByZXZpb3VzbHlDcmVhdGVkAAE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AAkAAABTcHJpbnQgNQACVGV4dEhvcml6b250YWxBbGlnbm1lbnQADgAAAG1zb0FuY2hvck5vbmUAAlBhcmFncmFwaEFsaWdubWVudAANAAAAbXNvQWxpZ25MZWZ0AAJUZXh0VmVydGljYWxBbGlnbm1lbnQAEAAAAG1zb0FuY2hvck1pZGRsZQADRm9udFN0eWxlAEABAAAQRm9udEJhY2tncm91bmQAAAAAAAhGb250Qm9sZAAAA0ZvbnRDb2xvcgBVAAAAEEEA/wAAABBSABAAAAAQRwA4AAAAEEIATwAAAAFTY0EAAAAAAAAA8D8BU2NSAAAAAOA2OXU/AVNjRwAAAACAZz+kPwFTY0IAAAAAYBcEtD8AEEZvbnRUaGVtZUNvbG9yAAAAAAABRm9udFRpbnRBbmRTaGFkZQAAAAAAAAAAABBGb250U2NoZW1lQ29sb3IAAAAAAAhGb250SXRhbGljAAACRm9udE5hbWUABgAAAEFyaWFsAAFGb250U2l6ZQAAAAAAAAAkQAhGb250U3RyaWtldGhyb3VnaAAACEZvbnRTdWJzY3JpcHQAAAhGb250U3VwZXJzY3JpcHQAAAhGb250VW5kZXJsaW5lAAAACFNpemVUb1RleHRXaWR0aAAACFNpemVUb1RleHRIZWlnaHQAAANUZXh0TWFyZ2luAD8AAAABTGVmdAAAAAAAAAAAAAFUb3AAAAAAAAAAAAABUmlnaHQAAAAAAAAAAAABQm90dG9tAAAAAAAAAAAAAAJEaXNwbGF5VGV4dAAJAAAAU3ByaW50IDUAAUhlaWdodAAAAABg3wsnQAFXaWR0aAAAAAAAdHpDQAFUb3AAAAAAYAQCfEABTGVmdAAAAABASVw3QAhGbGlwSG9yaXpvbnRhbGx5AAAIRmxpcEhvcml6b250YWxseUFwcGxpZWQAAAhGbGlwVmVydGljYWxseQAACEZsaXBWZXJ0aWNhbGx5QXBwbGllZAAAAVJvdGF0aW9uAAAAAAAAAAAAAVpPcmRlcgAAAAAAAAA+QANCb3JkZXJDb2xvcgBVAAAAEEEAAAAAABBSAAAAAAAQRwAAAAAAEEIAAAAAAAFTY0EAAAAAAAAAAAABU2NSAAAAAAAAAAAAAVNjRwAAAAAAAAAAAAFTY0IAAAAAAAAAAAAALAEAAAUrAQAALwEAAOcP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JlY3RhbmdsZQB0BgAAAkF1dG9TaGFwZVR5cGUACgAAAFJlY3RhbmdsZQAFTWFuYWdlZElkABAAAAAET1vtDfZlwkCGaHISxJRaHghIYXNDaGFuZ2VzAAAIVXNlTmFtZUluc3RlYWRPZlRhZ0FzSWQAAAhTaGFwZVByZXZpb3VzbHlDcmVhdGVkAAADRmlsbENvbG9yAFUAAAAQQQAAAAAAEFIA/wAAABBHAP8AAAAQQgD/AAAAAVNjQQAAAAAAAAAAAAFTY1IAAAAAAAAA8D8BU2NHAAAAAAAAAPA/AVNjQgAAAAAAAADwP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A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EAtBThAAVdpZHRoAAAAAACD241AAVRvcAAAAABgCp57QAFMZWZ0AAAAAABK4gpACEZsaXBIb3Jpem9udGFsbHkAAAhGbGlwSG9yaXpvbnRhbGx5QXBwbGllZAAACEZsaXBWZXJ0aWNhbGx5AAAIRmxpcFZlcnRpY2FsbHlBcHBsaWVkAAABUm90YXRpb24AAAAAAAAAAAABWk9yZGVyAAAAAAAAACZ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TZXBhcmF0b3JMaW5lAOEGAAADU3RhcnQAGwAAAAFYAM3MzMwWrwdAAVkA/BWYPl0efUAAA0VuZAAbAAAAAVgAMzMzfZj5jUABWQD8FZg+XR59QAACU3RhcnRBcnJvd0hlYWQAEQAAAG1zb0Fycm93aGVhZE5vbmUAAkVuZEFycm93SGVhZAARAAAAbXNvQXJyb3doZWFkTm9uZQAFTWFuYWdlZElkABAAAAAEmeyTSDNvNECQhbi5WkTF2AhIYXNDaGFuZ2VzAAAIVXNlTmFtZUluc3RlYWRPZlRhZ0FzSWQAAAhTaGFwZVByZXZpb3VzbHlDcmVhdGVkAAA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AAAAAAAAVdpZHRoAAAAAGDp4Y1AAVRvcAAAAABAXR59QAFMZWZ0AAAAAMAWrwdACEZsaXBIb3Jpem9udGFsbHkAAAhGbGlwSG9yaXpvbnRhbGx5QXBwbGllZAAACEZsaXBWZXJ0aWNhbGx5AAAIRmxpcFZlcnRpY2FsbHlBcHBsaWVkAAABUm90YXRpb24AAAAAAAAAAAABWk9yZGVyAAAAAAAAAChAA0JvcmRlckNvbG9yAFUAAAAQQQD/AAAAEFIA4wAAABBHAOMAAAAQQgDjAAAAAVNjQQAAAAAAAADwPwFTY1IAAAAAwLGU6D8BU2NHAAAAAMCxlOg/AVNjQgAAAADAsZToPwAQQm9yZGVyVGhlbWVDb2xvcgAAAAAAAUJvcmRlclRpbnRBbmRTaGFkZQAAAAAAAAAAABBCb3JkZXJTY2hlbWVDb2xvcgAAAAAAAUJvcmRlclRoaWNrbmVzcwAAAAAAAADw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AAAzUAJWgAABBfaWQADwAAAARJdGVtcwBvHAAAAzAAZxwAAAJfdHlwZQBLAAAAZW1wb3dlci5DaGFydHMuRGF0YS5HYW50dC5DaHJvbm9sb2d5LkRhdGEuQmFyVGFza0RhdGEsIGVtcG93ZXIuQ2hhcnRzLkRhdGEAAkxhYmVsUG9zaXRpb24ABwAAAENlbnRlcgAISXNMYWJlbEluc2lkZUJvdW5kcwABA1N0eWxlAFsEAAABRGVmYXVsdEZvbnRTaXplAAAAAAAAACRAAUZvbnRTaXplAAAAAAAAACBAA0ZvbnRDb2xvcgBVAAAAEEEA/wAAABBSABAAAAAQRwA4AAAAEEIATwAAAAFTY0EAAAAAAAAA8D8BU2NSAAAAAC0BAAAFJwEAAC4BAADnDwAAAAAAAAAAAAAAAAABU2NBAAAAAAAAAPA/AVNjUgAAAADgNjl1PwFTY0cAAAAAgGc/pD8BU2NCAAAAAGAXBLQ/ABBGb250VGhlbWVDb2xvcgAAAAAAEEZvbnRTY2hlbWVDb2xvcgAAAAAAAUZvbnRUaW50QW5kU2hhZGUAAAAAAAAAAAADUGF0dGVybkNvbG9yAFUAAAAQQQAAAAAAEFIAAAAAABBHAAAAAAAQQgAAAAAAAVNjQQAAAAAAAAAAAAFTY1IAAAAAAAAAAAABU2NHAAAAAAAAAAAAAVNjQgAAAAAAAAAAAAAQUGF0dGVyblRoZW1lQ29sb3IAAAAAAAFQYXR0ZXJuVGludEFuZFNoYWRlAAAAAAAAAAAAA0RhdGFTdHlsZUZvbnRDb2xvclZhbHVlAFUAAAAQQQAAAAAAEFIAAAAAABBHAAAAAAAQQgAAAAAAAVNjQQAAAAAAAAAAAAFTY1IAAAAAAAAAAAABU2NHAAAAAAAAAAAAAVNjQgAAAAAAAAAAAAAIRGF0YVN0eWxlRm9udENvbG9ySGFzVmFsdWUAAAFIZWlnaHQAAAAA4N0yKEACRGFzaFN0eWxlAA0AAABtc29MaW5lU29saWQACEhhc1dpc2hGaWxsQ29sb3IAAANGaWxsQ29sb3IAVQAAABBBAP8AAAAQUgCZAAAAEEcA0wAAABBCAPIAAAABU2NBAAAAAAAAAPA/AVNjUgAAAAAgEmPUPwFTY0cAAAAAoFDY5D8BU2NCAAAAAMDdaew/ABBGaWxsU2NoZW1lQ29sb3IAAAAAABBGaWxsVGhlbWVDb2xvcgAAAAAAAUZpbGxUaW50QW5kU2hhZGUAAAAAAAAAAAADQm9yZGVyQ29sb3IAVQAAABBBAAAAAAAQUgAAAAAAEEcAAAAAABBCAAAAAAABU2NBAAAAAAAAAAAAAVNjUgAAAAAAAAAAAAFTY0cAAAAAAAAAAAABU2NCAAAAAAAAAAAAABBCb3JkZXJUaGVtZUNvbG9yAAAAAAABQm9yZGVyVGludEFuZFNoYWRlAAAAAAAAAAAACElzRmlsbGVkAAECUGF0dGVybgAQAAAAbXNvUGF0dGVybk1peGVkAAJTaGFwZVR5cGUADgAAAG1zb1NoYXBlTWl4ZWQAA0xhYmVsT2Zmc2V0AEIAAAABWAAAAAAAAAAAAAFZAAAAAAAAAAAAAUxlbmd0aAAAAAAAAAAAAAFMZW5ndGhTcXVhcmVkAAAAAAAAAAAAAAhJc0ZvbnRCb2xkAAAISXNGb250SXRhbGljAAAISXNGb250VW5kZXJsaW5lZAAACExhYmVsSGFzQmFja2dyb3VuZAAAAlRleHRBbGlnbm1lbnQABQAAAExlZnQAAAhEaXNwbGF5TGFiZWwAAQNSZW5kZXJJbmZvAO0WAAADUmVjdGFuZ2xlRnJlZWZvcm0A/AgAAARWZXJ0aWNlcwCbAgAAAzAALAAAABBJbmRleDAAAAAAABBJbmRleDEAAAAAAAFWYWx1ZQAAAABADSGCQAADMQAsAAAAEEluZGV4MAAAAAAAEEluZGV4MQABAAAAAVZhbHVlAAAAAEC7jX1AAAMyACwAAAAQSW5kZXgwAAEAAAAQSW5kZXgxAAAAAAABVmFsdWUAAAAAQA0hgkAAAzMALAAAABBJbmRleDAAAQAAABBJbmRleDEAAQAAAAFWYWx1ZQAAAADAhu59QAADNAAsAAAAEEluZGV4MAACAAAAEEluZGV4MQAAAAAAAVZhbHVlAAAAAEANIYJAAAM1ACwAAAAQSW5kZXgwAAIAAAAQSW5kZXgxAAEAAAABVmFsdWUAAAAAIFJPfkAAAzYALAAAABBJbmRleDAAAwAAABBJbmRleDEAAAAAAAFWYWx1ZQAAAACgRHGFQAADNwAsAAAAEEluZGV4MAADAAAAEEluZGV4MQABAAAAAVZhbHVlAAAAACBST35AAAM4ACwAAAAQSW5kZXgwAAQAAAAQSW5kZXgxAAAAAAABVmFsdWUAAAAAoERxhUAAAzkALAAAABBJbmRleDAABAAAABBJbmRleDEAAQAAAAFWYWx1ZQAAAADAhu59QAADMTAALAAAABBJbmRleDAABQAAABBJbmRleDEAAAAAAAFWYWx1ZQAAAACgRHGFQAADMTEALAAAABBJbmRleDAABQAAABBJbmRleDEAAQAAAAFWYWx1ZQAAAABAu419QAADMTIALAAAABBJbmRleDAABgAAABBJbmRleDEAAAAAAAFWYWx1ZQAAAABADSGCQAADMTMALAAAABBJbmRleDAABgAAABBJbmRleDEAAQAAAAFWYWx1ZQAAAABAu419QAAABU1hbmFnZWRJZAAQAAAABARM0yFe5eNFuUSp6dRI1bYISGFzQ2hhbmdlcwAACFVzZU5hbWVJbnN0ZWFkT2ZUYWdBc0lkAAAIU2hhcGVQcmV2aW91c2x5Q3JlYXRlZAAAA0ZpbGxDb2xvcgBVAAAAEEEA/wAAABBSAJkAAAAQRwDTAAAAEEIA8gAAAAFTY0EAAAAAAAAA8D8BU2NSAAAAACASY9Q/AVNjRwAAAACgUNjkPwFTY0IAAAAAwN1p7D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DA3TIoQAFXaWR0aAAAAABAu4FaQAFUb3AAAAAAQLuNfUABTGVmdAAAAABADSGCQAhGbGlwSG9yaXpvbnRhbGx5AAAIRmxpcEhvcml6b250YWxseUFwcGxpZWQAAAhGbGlwVmVydGljYWxseQAACEZsaXBWZXJ0aWNhbGx5QXBwbGllZAAAAVJvdGF0aW9uAAAAAAAAAAAAAVpPcmRlcgAAAAAAAIBRQANCb3JkZXJDb2xvcgBVAAAAEEEA/wAAABBSAP8AAAAQRwD/AAAAEEIA/wAAAAFTY0EAAAAAAAAA8D8BU2NSAAAAAAAAAPA/AVNjRwAAAAAAAADwPwFTY0IAAAAAAAAA8D8AEEJvcmRlclRoZW1lQ29sb3IAAAAAAAFCb3JkZXJUaW50QW5kU2hhZGUAAAAAAAAAAAAQQm9yZGVyU2NoZW1lQ29sb3IAAAAAAAFCb3JkZXJUaGlja25lc3MAAAAAAAAA8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QmFyU3R5bGVEYXRhACYAAAACQmFyU3R5bGVTaGFwZVR5cGUACgAAAFJlY3RhbmdsZQAAA0xhYmVsAKoGAAAFTWFuYWdlZElkABAAAAAE8EYdRYW4Pk6BCqgPSvw7iAhIYXNDaGFuZ2VzAAAIVXNlTmFtZUluc3RlYWRPZlRhZ0FzSWQAAAhTaGFwZVByZXZpb3VzbHlDcmVhdGVkAAEDRmlsbENvbG9yAFUAAAAQQQD/AAAAEFIAmQAAABBHANMAAAAQQgDyAAAAAVNjQQAAAAAAAADwPwFTY1IAAAAAIBJj1D8BU2NHAAAAAKBQ2OQ/AVNjQgAAAADA3WnsP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AAoAAABIeXBlcmNhcmUAAlRleHRIb3Jpem9udGFsQWxpZ25tZW50AA4AAABtc29BbmNob3JOb25lAAJQYXJhZ3JhcGhBbGlnbm1lbnQADwAAAG1zb0FsaWduQ2VudGVyAAJUZXh0VmVydGljYWxBbGlnbm1lbnQAEAAAAG1zb0FuY2hvck1pZGRsZQADRm9udFN0eWxlAEABAAAQRm8uAQAABS0BAAAxAQAA5w8AAAAAAAAAAAAAbnRCYWNrZ3JvdW5kAAAAAAAIRm9udEJvbGQAAANGb250Q29sb3IAVQAAABBBAP8AAAAQUgAQAAAAEEcAOAAAABBCAE8AAAABU2NBAAAAAAAAAPA/AVNjUgAAAADgNjl1PwFTY0cAAAAAgGc/pD8BU2NCAAAAAGAXBLQ/ABBGb250VGhlbWVDb2xvcgAAAAAAAUZvbnRUaW50QW5kU2hhZGUAAAAAAAAAAAAQRm9udFNjaGVtZUNvbG9yAAAAAAAIRm9udEl0YWxpYwAAAkZvbnROYW1lAAYAAABBcmlhbAABRm9udFNpemUAAAAAAAAAIEAIRm9udFN0cmlrZXRocm91Z2gAAAhGb250U3Vic2NyaXB0AAAIRm9udFN1cGVyc2NyaXB0AAAIRm9udFVuZGVybGluZQAAAAhTaXplVG9UZXh0V2lkdGgAAAhTaXplVG9UZXh0SGVpZ2h0AAADVGV4dE1hcmdpbgA/AAAAAUxlZnQAAAAAAAAAAAABVG9wAAAAAAAAAAAAAVJpZ2h0AAAAAAAAAAAAAUJvdHRvbQAAAAAAAAAAAAACRGlzcGxheVRleHQACgAAAEh5cGVyY2FyZQABSGVpZ2h0AAAAAAAWXCNAAVdpZHRoAAAAAGCgs0JAAVRvcAAAAABgFqF9QAFMZWZ0AAAAAACMM4NACEZsaXBIb3Jpem9udGFsbHkAAAhGbGlwSG9yaXpvbnRhbGx5QXBwbGllZAAACEZsaXBWZXJ0aWNhbGx5AAAIRmxpcFZlcnRpY2FsbHlBcHBsaWVkAAABUm90YXRpb24AAAAAAAAAAAABWk9yZGVyAAAAAAAAAFJ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Db25uZWN0b3JMaW5lRGF0YQDhBgAAA1N0YXJ0ABsAAAABWAAAAABADSGCQAFZAAAAAEC7jX1AAANFbmQAGwAAAAFYAAAAAEANIYJAAVkAAAAAQLuNfUAAAlN0YXJ0QXJyb3dIZWFkABEAAABtc29BcnJvd2hlYWROb25lAAJFbmRBcnJvd0hlYWQAEQAAAG1zb0Fycm93aGVhZE5vbmUABU1hbmFnZWRJZAAQAAAABEpFEfb/7dRGgjcvLcD92IoISGFzQ2hhbmdlcwAACFVzZU5hbWVJbnN0ZWFkT2ZUYWdBc0lkAAAIU2hhcGVQcmV2aW91c2x5Q3JlYXRlZAAA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A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AAAAAAAAFUb3AAAAAAQLuNfUABTGVmdAAAAABADSGCQAhGbGlwSG9yaXpvbnRhbGx5AAAIRmxpcEhvcml6b250YWxseUFwcGxpZWQAAAhGbGlwVmVydGljYWxseQAACEZsaXBWZXJ0aWNhbGx5QXBwbGllZAAAAVJvdGF0aW9uAAAAAAAAAAAAAVpPcmRlcgAAAAAAAMBRQANCb3JkZXJDb2xvcgBVAAAAEEEA/wAAABBSAJkAAAAQRwDTAAAAEEIA8gAAAAFTY0EAAAAAAAAA8D8BU2NSAAAAACASY9Q/AVNjRwAAAACgUNjkPwFTY0IAAAAAwN1p7D8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ACUVuZFRpbWUAACv5G5EBAAAQSW5kZXgAAQAAAAJEZXNjcmlwdGlvbgAKAAAASHlwZXJjYXJlAAJOYW1lAAUAAABUYXNrAAhJc0xlYWRlckxpbmVJbkF1dG9Nb2RlAAEJU3RhcnRUaW1lAAD7+bSQAQAAAAACTmFtZQAJAAAAU3ByaW50IDYACElzSGlnaGxpZ2h0ZWQAAAhJc1NlcGFyYXRvckxpbmVWaXNpYmxlAAEDU3R5bGUAdAQAAAFEZWZhdWx0Rm9udFNpemUAAAAAAAAAJEABRm9udFNpemUAAAAAAAAAJEADRm9udENvbG9yAFUAAAAQQQD/AAAAEFIAEAAAABBHADgAAAAQQgBPAAAAAVNjQQAAAAAAAADwPwFTY1IAAAAA4DY5dT8BU2NHAAAAAIBnP6Q/AVNjQgAAAABgFwS0PwAQRm9udFRoZW1lQ29sb3IAAAAAABBGb250U2NoZW1lQ29sb3IAAAAAAAFGb250VGludEFuZFNoYWRlAAAAAAAAAAAAA1BhdHRlcm5Db2xvcgBVAAAAEEEAAAAAABBSAAAAAAAQRwAAAAAAEEIAAAAAAAFTY0EAAAAAAAAAAAABU2NSAAAAAAAAAAAAAVNjRwAAAAAAAAAAAAFTY0IAAAAAAAAAAAAAEFBhdHRlcm5UaGVtZUNvbG9yAAAAAAABUGF0dGVyblRpbnRBbmRTaGFkZQAAAAAAAAAAAANEYXRhU3R5bGVGb250Q29sb3JWYWx1ZQBVAAAAEEEA/wAAABBSABAAAAAQRwA4AAAAEEIATwAAAAFTY0EAAAAAAAAA8D8BU2NSAAAAAOA2OXU/AVNjRwAAAACAZz+kPwFTY0IAAAAAYBcEtD8ACERhdGFTdHlsZUZvbnRDb2xvckhhc1ZhbHVlAAEBSGVpZ2h0AAAAAAAAAAAAAkRhc2hTdHlsZQANAAAAbXNvTGluZVNvbGlkAAhIYXNXaXNoRmlsbENvbG9yAAEDRmlsbENvbG9yAFUAAAAQQQAAAAAAEFIA/wAAABBHAP8AAAAQQgD/AAAAAVNjQQAAAAAAAAAAAAFTY1IAAAAAAAAA8D8BU2NHAAAAAAAAAPA/AVNjQgAAAAAAAADwPwAQRmlsbFNjaGVtZUNvbG9yAAAAAAAQRmlsbFRoZW1lQ29sb3IAAAAAAAFGaWxsVGludEFuZFNoYWRlAAAAAAAAAAAAA0JvcmRlckNvbG9yAFUAAAAQQQD/AAAAEFIA4wAAABBHAOMAAAAQQgDjAAAAAVNjQQAAAAAAAADwPwFTY1IAAAAAwLGU6D8BU2NHAAAAAMCxlOg/AVNjQgAAAADAsZToPwAQQm9yZGVyVGhlbWVDb2xvcgAAAAAAAUJvcmRlclRpbnRBbmRTaGFkZQAAAAAAAAAAAAhJc0ZpbGxlZAABAlBhdHRlcm4AEAAAAG1zb1BhdHRlcm5NaXhlZAACU2hhcGVUeXBlAA4AAABtc29TaGFwZU1peGVkAANMYWJlbE9mZnNldABCAAAAAVgAAAAAAAAAAAABWQAAAAAAAAAAAAFMZW5ndGgAAAAAAAAAAAABTGVuZ3RoU3F1YXJlZAAAAAAAAAAAAAABQm9yZGVyVGhpY2tuLwEAAAUsAQAAMAEAAOcPAAAAAAAAAAAAAOA2OXU/AVNjRwAAAACAZz+kPwFTY0IAAAAAYBcEtD8AEEZvbnRUaGVtZUNvbG9yAAAAAAAQRm9udFNjaGVtZUNvbG9yAAAAAAABRm9udFRpbnRBbmRTaGFkZQAAAAAAAAAAAANQYXR0ZXJuQ29sb3IAVQAAABBBAAAAAAAQUgAAAAAAEEcAAAAAABBCAAAAAAABU2NBAAAAAAAAAAAAAVNjUgAAAAAAAAAAAAFTY0cAAAAAAAAAAAABU2NCAAAAAAAAAAAAABBQYXR0ZXJuVGhlbWVDb2xvcgAAAAAAAVBhdHRlcm5UaW50QW5kU2hhZGUAAAAAAAAAAAADRGF0YVN0eWxlRm9udENvbG9yVmFsdWUAVQAAABBBAAAAAAAQUgAAAAAAEEcAAAAAABBCAAAAAAABU2NBAAAAAAAAAAAAAVNjUgAAAAAAAAAAAAFTY0cAAAAAAAAAAAABU2NCAAAAAAAAAAAAAAhEYXRhU3R5bGVGb250Q29sb3JIYXNWYWx1ZQAAAUhlaWdodAAAAADg3TIoQAJEYXNoU3R5bGUADQAAAG1zb0xpbmVTb2xpZAAISGFzV2lzaEZpbGxDb2xvcgAAA0ZpbGxDb2xvcgBVAAAAEEEA/wAAABBSAJkAAAAQRwDTAAAAEEIA8gAAAAFTY0EAAAAAAAAA8D8BU2NSAAAAACASY9Q/AVNjRwAAAACgUNjkPwFTY0IAAAAAwN1p7D8AEEZpbGxTY2hlbWVDb2xvcgAAAAAAEEZpbGxUaGVtZUNvbG9yAAAAAAABRmlsbFRpbnRBbmRTaGFkZQAAAAAAAAAAAANCb3JkZXJDb2xvcgBVAAAAEEEAAAAAABBSAAAAAAAQRwAAAAAAEEIAAAAAAAFTY0EAAAAAAAAAAAABU2NSAAAAAAAAAAAAAVNjRwAAAAAAAAAAAAFTY0IAAAAAAAAAAAAAEEJvcmRlclRoZW1lQ29sb3IAAAAAAAFCb3JkZXJUaW50QW5kU2hhZGUAAAAAAAAAAAAISXNGaWxsZWQAAQJQYXR0ZXJuABAAAABtc29QYXR0ZXJuTWl4ZWQAAlNoYXBlVHlwZQAOAAAAbXNvU2hhcGVNaXhlZAADTGFiZWxPZmZzZXQAQgAAAAFYAAAAAAAAAAAAAVkAAAAAAAAAAAABTGVuZ3RoAAAAAAAAAAAAAUxlbmd0aFNxdWFyZWQAAAAAAAAAAAAACElzRm9udEJvbGQAAAhJc0ZvbnRJdGFsaWMAAAhJc0ZvbnRVbmRlcmxpbmVkAAAITGFiZWxIYXNCYWNrZ3JvdW5kAAACVGV4dEFsaWdubWVudAAFAAAATGVmdAAACERpc3BsYXlMYWJlbAABA1JlbmRlckluZm8A7RYAAANSZWN0YW5nbGVGcmVlZm9ybQD8CAAABFZlcnRpY2VzAJsCAAADMAAsAAAAEEluZGV4MAAAAAAAEEluZGV4MQAAAAAAAVZhbHVlAAAAAEANIYJAAAMxACwAAAAQSW5kZXgwAAAAAAAQSW5kZXgxAAEAAAABVmFsdWUAAAAAQLuNfUAAAzIALAAAABBJbmRleDAAAQAAABBJbmRleDEAAAAAAAFWYWx1ZQAAAABADSGCQAADMwAsAAAAEEluZGV4MAABAAAAEEluZGV4MQABAAAAAVZhbHVlAAAAAMCG7n1AAAM0ACwAAAAQSW5kZXgwAAIAAAAQSW5kZXgxAAAAAAABVmFsdWUAAAAAQA0hgkAAAzUALAAAABBJbmRleDAAAgAAABBJbmRleDEAAQAAAAFWYWx1ZQAAAAAgUk9+QAADNgAsAAAAEEluZGV4MAADAAAAEEluZGV4MQAAAAAAAVZhbHVlAAAAAKBEcYVAAAM3ACwAAAAQSW5kZXgwAAMAAAAQSW5kZXgxAAEAAAABVmFsdWUAAAAAIFJPfkAAAzgALAAAABBJbmRleDAABAAAABBJbmRleDEAAAAAAAFWYWx1ZQAAAACgRHGFQAADOQAsAAAAEEluZGV4MAAEAAAAEEluZGV4MQABAAAAAVZhbHVlAAAAAMCG7n1AAAMxMAAsAAAAEEluZGV4MAAFAAAAEEluZGV4MQAAAAAAAVZhbHVlAAAAAKBEcYVAAAMxMQAsAAAAEEluZGV4MAAFAAAAEEluZGV4MQABAAAAAVZhbHVlAAAAAEC7jX1AAAMxMgAsAAAAEEluZGV4MAAGAAAAEEluZGV4MQAAAAAAAVZhbHVlAAAAAEANIYJAAAMxMwAsAAAAEEluZGV4MAAGAAAAEEluZGV4MQABAAAAAVZhbHVlAAAAAEC7jX1AAAAFTWFuYWdlZElkABAAAAAEBEzTIV7l40W5RKnp1EjVtghIYXNDaGFuZ2VzAAAIVXNlTmFtZUluc3RlYWRPZlRhZ0FzSWQAAAhTaGFwZVByZXZpb3VzbHlDcmVhdGVkAAADRmlsbENvbG9yAFUAAAAQQQD/AAAAEFIAmQAAABBHANMAAAAQQgDyAAAAAVNjQQAAAAAAAADwPwFTY1IAAAAAIBJj1D8BU2NHAAAAAKBQ2OQ/AVNjQgAAAADA3WnsP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MDdMihAAVdpZHRoAAAAAEC7gVpAAVRvcAAAAABAu419QAFMZWZ0AAAAAEANIYJACEZsaXBIb3Jpem9udGFsbHkAAAhGbGlwSG9yaXpvbnRhbGx5QXBwbGllZAAACEZsaXBWZXJ0aWNhbGx5AAAIRmxpcFZlcnRpY2FsbHlBcHBsaWVkAAABUm90YXRpb24AAAAAAAAAAAABWk9yZGVyAAAAAAAAgFFAA0JvcmRlckNvbG9yAFUAAAAQQQD/AAAAEFIA/wAAABBHAP8AAAAQQgD/AAAAAVNjQQAAAAAAAADwPwFTY1IAAAAAAAAA8D8BU2NHAAAAAAAAAPA/AVNjQgAAAAAAAADwPwAQQm9yZGVyVGhlbWVDb2xvcgAAAAAAAUJvcmRlclRpbnRBbmRTaGFkZQAAAAAAAAAAABBCb3JkZXJTY2hlbWVDb2xvcgAAAAAAAUJvcmRlclRoaWNrbmVzcwAAAAAAAADw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CYXJTdHlsZURhdGEAJgAAAAJCYXJTdHlsZVNoYXBlVHlwZQAKAAAAUmVjdGFuZ2xlAAADTGFiZWwAqgYAAAVNYW5hZ2VkSWQAEAAAAATwRh1Fhbg+ToEKqA9K/DuICEhhc0NoYW5nZXMAAAhVc2VOYW1lSW5zdGVhZE9mVGFnQXNJZAAACFNoYXBlUHJldmlvdXNseUNyZWF0ZWQAAQNGaWxsQ29sb3IAVQAAABBBAP8AAAAQUgCZAAAAEEcA0wAAABBCAPIAAAABU2NBAAAAAAAAAPA/AVNjUgAAAAAgEmPUPwFTY0cAAAAAoFDY5D8BU2NCAAAAAMDdaew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QACgAAAEh5cGVyY2FyZQACVGV4dEhvcml6b250YWxBbGlnbm1lbnQADgAAAG1zb0FuY2hvck5vbmUAAlBhcmFncmFwaEFsaWdubWVudAAPAAAAbXNvQWxpZ25DZW50ZXIAAlRleHRWZXJ0aWNhbEFsaWdubWVudAAQAAAAbXNvQW5jaG9yTWlkZGxlAANGb250U3R5bGUAQAEAABBGb250QmFja2dyb3VuZAAAAAAACEZvbnRCbzABAAAFLwEAADIBAADnDwAAAAAAAAAAAABsZAAAA0ZvbnRDb2xvcgBVAAAAEEEA/wAAABBSABAAAAAQRwA4AAAAEEIATwAAAAFTY0EAAAAAAAAA8D8BU2NSAAAAAOA2OXU/AVNjRwAAAACAZz+kPwFTY0IAAAAAYBcEtD8AEEZvbnRUaGVtZUNvbG9yAAAAAAABRm9udFRpbnRBbmRTaGFkZQAAAAAAAAAAABBGb250U2NoZW1lQ29sb3IAAAAAAAhGb250SXRhbGljAAACRm9udE5hbWUABgAAAEFyaWFsAAFGb250U2l6ZQAAAAAAAAAgQAhGb250U3RyaWtldGhyb3VnaAAACEZvbnRTdWJzY3JpcHQAAAhGb250U3VwZXJzY3JpcHQAAAhGb250VW5kZXJsaW5lAAAACFNpemVUb1RleHRXaWR0aAAACFNpemVUb1RleHRIZWlnaHQAAANUZXh0TWFyZ2luAD8AAAABTGVmdAAAAAAAAAAAAAFUb3AAAAAAAAAAAAABUmlnaHQAAAAAAAAAAAABQm90dG9tAAAAAAAAAAAAAAJEaXNwbGF5VGV4dAAKAAAASHlwZXJjYXJlAAFIZWlnaHQAAAAAABZcI0ABV2lkdGgAAAAAYKCzQkABVG9wAAAAAGAWoX1AAUxlZnQAAAAAAIwzg0AIRmxpcEhvcml6b250YWxseQAACEZsaXBIb3Jpem9udGFsbHlBcHBsaWVkAAAIRmxpcFZlcnRpY2FsbHkAAAhGbGlwVmVydGljYWxseUFwcGxpZWQAAAFSb3RhdGlvbgAAAAAAAAAAAAFaT3JkZXIAAAAAAAAAUk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Nvbm5lY3RvckxpbmVEYXRhAOEGAAADU3RhcnQAGwAAAAFYAAAAAEANIYJAAVkAAAAAQLuNfUAAA0VuZAAbAAAAAVgAAAAAQA0hgkABWQAAAABAu419QAACU3RhcnRBcnJvd0hlYWQAEQAAAG1zb0Fycm93aGVhZE5vbmUAAkVuZEFycm93SGVhZAARAAAAbXNvQXJyb3doZWFkTm9uZQAFTWFuYWdlZElkABAAAAAESkUR9v/t1EaCNy8twP3YighIYXNDaGFuZ2VzAAAIVXNlTmFtZUluc3RlYWRPZlRhZ0FzSWQAAAhTaGFwZVByZXZpb3VzbHlDcmVhdGVkAAA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A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AAAAAAAAVdpZHRoAAAAAAAAAAAAAVRvcAAAAABAu419QAFMZWZ0AAAAAEANIYJACEZsaXBIb3Jpem9udGFsbHkAAAhGbGlwSG9yaXpvbnRhbGx5QXBwbGllZAAACEZsaXBWZXJ0aWNhbGx5AAAIRmxpcFZlcnRpY2FsbHlBcHBsaWVkAAABUm90YXRpb24AAAAAAAAAAAABWk9yZGVyAAAAAAAAwFFAA0JvcmRlckNvbG9yAFUAAAAQQQD/AAAAEFIAmQAAABBHANMAAAAQQgDyAAAAAVNjQQAAAAAAAADwPwFTY1IAAAAAIBJj1D8BU2NHAAAAAKBQ2OQ/AVNjQgAAAADA3WnsPw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AJRW5kVGltZQAAK/kbkQEAABBJbmRleAABAAAAAkRlc2NyaXB0aW9uAAoAAABIeXBlcmNhcmUAAk5hbWUABQAAAFRhc2sACElzTGVhZGVyTGluZUluQXV0b01vZGUAAQlTdGFydFRpbWUAAPv5tJABAAAAAAJOYW1lAAkAAABTcHJpbnQgNgAISXNIaWdobGlnaHRlZAAACElzU2VwYXJhdG9yTGluZVZpc2libGUAAQNTdHlsZQB0BAAAAURlZmF1bHRGb250U2l6ZQAAAAAAAAAkQAFGb250U2l6ZQAAAAAAAAAkQANGb250Q29sb3IAVQAAABBBAP8AAAAQUgAQAAAAEEcAOAAAABBCAE8AAAABU2NBAAAAAAAAAPA/AVNjUgAAAADgNjl1PwFTY0cAAAAAgGc/pD8BU2NCAAAAAGAXBLQ/ABBGb250VGhlbWVDb2xvcgAAAAAAEEZvbnRTY2hlbWVDb2xvcgAAAAAAAUZvbnRUaW50QW5kU2hhZGUAAAAAAAAAAAADUGF0dGVybkNvbG9yAFUAAAAQQQAAAAAAEFIAAAAAABBHAAAAAAAQQgAAAAAAAVNjQQAAAAAAAAAAAAFTY1IAAAAAAAAAAAABU2NHAAAAAAAAAAAAAVNjQgAAAAAAAAAAAAAQUGF0dGVyblRoZW1lQ29sb3IAAAAAAAFQYXR0ZXJuVGludEFuZFNoYWRlAAAAAAAAAAAAA0RhdGFTdHlsZUZvbnRDb2xvclZhbHVlAFUAAAAQQQD/AAAAEFIAEAAAABBHADgAAAAQQgBPAAAAAVNjQQAAAAAAAADwPwFTY1IAAAAA4DY5dT8BU2NHAAAAAIBnP6Q/AVNjQgAAAABgFwS0PwAIRGF0YVN0eWxlRm9udENvbG9ySGFzVmFsdWUAAQFIZWlnaHQAAAAAAAAAAAACRGFzaFN0eWxlAA0AAABtc29MaW5lU29saWQACEhhc1dpc2hGaWxsQ29sb3IAAQNGaWxsQ29sb3IAVQAAABBBAAAAAAAQUgD/AAAAEEcA/wAAABBCAP8AAAABU2NBAAAAAAAAAAAAAVNjUgAAAAAAAADwPwFTY0cAAAAAAAAA8D8BU2NCAAAAAAAAAPA/ABBGaWxsU2NoZW1lQ29sb3IAAAAAABBGaWxsVGhlbWVDb2xvcgAAAAAAAUZpbGxUaW50QW5kU2hhZGUAAAAAAAAAAAADQm9yZGVyQ29sb3IAVQAAABBBAP8AAAAQUgDjAAAAEEcA4wAAABBCAOMAAAABU2NBAAAAAAAAAPA/AVNjUgAAAADAsZToPwFTY0cAAAAAwLGU6D8BU2NCAAAAAMCxlOg/ABBCb3JkZXJUaGVtZUNvbG9yAAAAAAABQm9yZGVyVGludEFuZFNoYWRlAAAAAAAAAAAACElzRmlsbGVkAAECUGF0dGVybgAQAAAAbXNvUGF0dGVybk1peGVkAAJTaGFwZVR5cGUADgAAAG1zb1NoYXBlTWl4ZWQAA0xhYmVsT2Zmc2V0AEIAAAABWAAAAAAAAAAAAAFZAAAAAAAAAAAAAUxlbmd0aAAAAAAAAAAAAAFMZW5ndGhTcXVhcmVkAAAAAAAAAAAAAAFCb3JkZXJUaGlja25lc3MAAAAAAAAA8D8ISXNGb250Qm9sZAAxAQAABS4BAAAzAQAA5w8AAAAAAAAAAAAAZXNzAAAAAAAAAPA/CElzRm9udEJvbGQAAAhJc0ZvbnRJdGFsaWMAAAhJc0ZvbnRVbmRlcmxpbmVkAAAITGFiZWxIYXNCYWNrZ3JvdW5kAAACVGV4dEFsaWdubWVudAAFAAAATGVmdAAAAVJvd1RvcAD8FZg+XSZ9QAFSb3dIZWlnaHQAbjUqMi0FOUADTGVmdE5vdGVzAMcEAAADVGV4dFN0eWxlAFsEAAABRGVmYXVsdEZvbnRTaXplAAAAAAAAACRAAUZvbnRTaXplAAAAAAAAACRAA0ZvbnRDb2xvcgBVAAAAEEEA/wAAABBSABAAAAAQRwA4AAAAEEIATwAAAAFTY0EAAAAAAAAA8D8BU2NSAAAAAOA2OXU/AVNjRwAAAACAZz+kPwFTY0IAAAAAYBcEtD8AEEZvbnRUaGVtZUNvbG9yAAAAAAAQRm9udFNjaGVtZUNvbG9yAAAAAAABRm9udFRpbnRBbmRTaGFkZQAAAAAAAAAAAANQYXR0ZXJuQ29sb3IAVQAAABBBAAAAAAAQUgAAAAAAEEcAAAAAABBCAAAAAAABU2NBAAAAAAAAAAAAAVNjUgAAAAAAAAAAAAFTY0cAAAAAAAAAAAABU2NCAAAAAAAAAAAAABBQYXR0ZXJuVGhlbWVDb2xvcgAAAAAAAVBhdHRlcm5UaW50QW5kU2hhZGUAAAAAAAAAAAADRGF0YVN0eWxlRm9udENvbG9yVmFsdWUAVQAAABBBAP8AAAAQUgAQAAAAEEcAOAAAABBCAE8AAAABU2NBAAAAAAAAAPA/AVNjUgAAAADgNjl1PwFTY0cAAAAAgGc/pD8BU2NCAAAAAGAXBLQ/AAhEYXRhU3R5bGVGb250Q29sb3JIYXNWYWx1ZQABAUhlaWdodAAAAAAAAAAAAAJEYXNoU3R5bGUADQAAAG1zb0xpbmVTb2xpZAAISGFzV2lzaEZpbGxDb2xvcgAAA0ZpbGxDb2xvcgBVAAAAEEEA/wAAABBSAAAAAAAQRwAAAAAAEEIAAAAAAAFTY0EAAAAAAAAA8D8BU2NSAAAAAAAAAAAAAVNjRwAAAAAAAAAAAAFTY0IAAAAAAAAAAAAAEEZpbGxTY2hlbWVDb2xvcgAAAAAAEEZpbGxUaGVtZUNvbG9yAAAAAAABRmlsbFRpbnRBbmRTaGFkZQAAAAAAAAAAAANCb3JkZXJDb2xvcgBVAAAAEEEAAAAAABBSAAAAAAAQRwAAAAAAEEIAAAAAAAFTY0EAAAAAAAAAAAABU2NSAAAAAAAAAAAAAVNjRwAAAAAAAAAAAAFTY0IAAAAAAAAAAAAAEEJvcmRlclRoZW1lQ29sb3IAAAAAAAFCb3JkZXJUaW50QW5kU2hhZGUAAAAAAAAAAAAISXNGaWxsZWQAAQJQYXR0ZXJuABAAAABtc29QYXR0ZXJuTWl4ZWQAAlNoYXBlVHlwZQAOAAAAbXNvU2hhcGVNaXhlZAADTGFiZWxPZmZzZXQAQgAAAAFYAAAAAAAAAAAAAVkAAAAAAAAAAAABTGVuZ3RoAAAAAAAAAAAAAUxlbmd0aFNxdWFyZWQAAAAAAAAAAAAACElzRm9udEJvbGQAAAhJc0ZvbnRJdGFsaWMAAAhJc0ZvbnRVbmRlcmxpbmVkAAAITGFiZWxIYXNCYWNrZ3JvdW5kAAACVGV4dEFsaWdubWVudAAFAAAATGVmdAAACEhhcnZleUJhbGxWaXNpYmxlAAEQSGFydmV5QmFsbFZhbHVlAAAAAAACQ2hlY2tCb3hTdGF0ZQAFAAAATm9uZQACVHJhZmZpY0xpZ2h0U3RhdGUABAAAAE9mZgAAA1JpZ2h0Tm90ZXMAxwQAAANUZXh0U3R5bGUAWwQAAAFEZWZhdWx0Rm9udFNpemUAAAAAAAAAJEABRm9udFNpemUAAAAAAAAAJEADRm9udENvbG9yAFUAAAAQQQD/AAAAEFIAEAAAABBHADgAAAAQQgBPAAAAAVNjQQAAAAAAAADwPwFTY1IAAAAA4DY5dT8BU2NHAAAAAIBnP6Q/AVNjQgAAAABgFwS0PwAQRm9udFRoZW1lQ29sb3IAAAAAABBGb250U2NoZW1lQ29sb3IAAAAAAAFGb250VGludEFuZFNoYWRlAAAAAAAAAAAAA1BhdHRlcm5Db2xvcgBVAAAAEEEAAAAAABBSAAAAAAAQRwAAAAAAEEIAAAAAAAFTY0EAAAAAAAAAAAABU2NSAAAAAAAAAAAAAVNjRwAAAAAAAAAAAAFTY0IAAAAAAAAAAAAAEFBhdHRlcm5UaGVtZUNvbG9yAAAAAAABUGF0dGVyblRpbnRBbmRTaGFkZQAAAAAAAAAAAANEYXRhU3R5bGVGb250Q29sb3JWYWx1ZQBVAAAAEEEA/wAAABBSABAAAAAQRwA4AAAAEEIATwAAAAFTY0EAAAAAAAAA8D8BU2NSAAAAAOA2OXU/AVNjRwAAAACAZz+kPwFTY0IAAAAAYBcEtD8ACERhdGFTdHlsZUZvbnRDb2xvckhhc1ZhbHVlAAEBSGVpZ2h0AAAAAAAAAAAAAkRhc2hTdHlsZQANAAAAbXNvTGluZVNvbGlkAAhIYXNXaXNoRmlsbENvbG9yAAADRmlsbENvbG9yAFUAAAAQQQD/AAAAEFIAAAAAABBHAAAAAAAQQgAAAAAAAVNjQQAAAAAAAADwPwFTY1IAAAAAAAAAAAABU2NHAAAAAAAAAAAAAVNjQgAAAAAAAAAAAAAQRmlsbFNjaGVtZUNvbG9yAAAAAAAQRmlsbFRoZW1lQ29sb3IAAAAAAAFGaWxsVGludEFuZFNoYWRlAAAAAAAAAAAAA0JvcmRlckNvbG9yAFUAAAAQQQAAAAAAEFIAAAAAABBHAAAAAAAQQgAAAAAAAVNjQQAAAAAAAAAAAAFTY1IAAAAAAAAAAAABU2NHAAAAAAAAAAAAAVNjQgAAAAAAAAAAAAAQQm9yZGVyVGhlbWVDb2xvcgAAAAAAAUJvcmRlclRpbnRBbmRTaGFkZQAAAAAAAAAAAAhJc0ZpbGxlZAABAlBhdHRlcm4AEAAAAG1zb1BhdHRlcm5NaXhlZAACU2hhcGVUeXBlAA4AAABtc29TaGFwZU1peGVkAANMYWJlbE9mZnNldABCAAAAAVgAAAAAAAAAAAABWQAAAAAAAAAAAAFMZW5ndGgAAAAAAAAAAAABTGVuZ3RoU3F1YXJlZAAAAAAAAAAAAAAISXNGb250Qm9sZAAACElzRm9udEl0YWxpYwAACElzRm9udFVuZGVybGluZWQAAAhMYWJlbEhhc0JhY2tncm91bmQAAAJUZXh0QWxpZ25tZW50AAUAAABMZWZ0AAAISGFydmV5QmFsbFZpc2libGUAARBIYXJ2ZXlCYWxsVmFsdWUAAAAAAAJDaGVja0JveFN0YXRlAAUAAABOb25lAAJUcmFmZmljTGlnaHRTdGF0ZQAEAAAAT2ZmAAADTGVmdE5vdGVzUmVuZGVySW5mbwBhFAAAA0xhYmVsAHQGAAAFTWFuYWdlZElkABAAAAAEjlKmjmsax0KoixbbXfkVIQhIYXNDaGFuZ2VzAAEIVXNlTmFtZUluc3RlYWRPZlRhZ0FzSWQAAAhTaGFwZVByZXZpb3VzbHlDcmVhdGVkAAA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AJGaWxsUGF0dGVybgAQAAAAbXNvUGF0dGVybk1peGVkAAJUZXh0AAEAAAA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JEaXNwbGF5VGV4dAABAAAAAAFIZWlnaHQAAAAAAAAA8D8BV2lkdGgAAAAAAAAA8D8BVG9wAAAAAACMlnFAAUxlZnQAAAAAQGX2jU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MgEAAAUwAQAAOAEAAOcPAAAAAAAAAAAAAAAISXNGb250SXRhbGljAAAISXNGb250VW5kZXJsaW5lZAAACExhYmVsSGFzQmFja2dyb3VuZAAAAlRleHRBbGlnbm1lbnQABQAAAExlZnQAAAFSb3dUb3AA/BWYPl0mfUABUm93SGVpZ2h0AG41KjItBTlAA0xlZnROb3RlcwDHBAAAA1RleHRTdHlsZQBbBAAAAURlZmF1bHRGb250U2l6ZQAAAAAAAAAkQAFGb250U2l6ZQAAAAAAAAAkQANGb250Q29sb3IAVQAAABBBAP8AAAAQUgAQAAAAEEcAOAAAABBCAE8AAAABU2NBAAAAAAAAAPA/AVNjUgAAAADgNjl1PwFTY0cAAAAAgGc/pD8BU2NCAAAAAGAXBLQ/ABBGb250VGhlbWVDb2xvcgAAAAAAEEZvbnRTY2hlbWVDb2xvcgAAAAAAAUZvbnRUaW50QW5kU2hhZGUAAAAAAAAAAAADUGF0dGVybkNvbG9yAFUAAAAQQQAAAAAAEFIAAAAAABBHAAAAAAAQQgAAAAAAAVNjQQAAAAAAAAAAAAFTY1IAAAAAAAAAAAABU2NHAAAAAAAAAAAAAVNjQgAAAAAAAAAAAAAQUGF0dGVyblRoZW1lQ29sb3IAAAAAAAFQYXR0ZXJuVGludEFuZFNoYWRlAAAAAAAAAAAAA0RhdGFTdHlsZUZvbnRDb2xvclZhbHVlAFUAAAAQQQD/AAAAEFIAEAAAABBHADgAAAAQQgBPAAAAAVNjQQAAAAAAAADwPwFTY1IAAAAA4DY5dT8BU2NHAAAAAIBnP6Q/AVNjQgAAAABgFwS0PwAIRGF0YVN0eWxlRm9udENvbG9ySGFzVmFsdWUAAQFIZWlnaHQAAAAAAAAAAAACRGFzaFN0eWxlAA0AAABtc29MaW5lU29saWQACEhhc1dpc2hGaWxsQ29sb3IAAANGaWxsQ29sb3IAVQAAABBBAP8AAAAQUgAAAAAAEEcAAAAAABBCAAAAAAABU2NBAAAAAAAAAPA/AVNjUgAAAAAAAAAAAAFTY0cAAAAAAAAAAAABU2NCAAAAAAAAAAAAABBGaWxsU2NoZW1lQ29sb3IAAAAAABBGaWxsVGhlbWVDb2xvcgAAAAAAAUZpbGxUaW50QW5kU2hhZGUAAAAAAAAAAAADQm9yZGVyQ29sb3IAVQAAABBBAAAAAAAQUgAAAAAAEEcAAAAAABBCAAAAAAABU2NBAAAAAAAAAAAAAVNjUgAAAAAAAAAAAAFTY0cAAAAAAAAAAAABU2NCAAAAAAAAAAAAABBCb3JkZXJUaGVtZUNvbG9yAAAAAAABQm9yZGVyVGludEFuZFNoYWRlAAAAAAAAAAAACElzRmlsbGVkAAECUGF0dGVybgAQAAAAbXNvUGF0dGVybk1peGVkAAJTaGFwZVR5cGUADgAAAG1zb1NoYXBlTWl4ZWQAA0xhYmVsT2Zmc2V0AEIAAAABWAAAAAAAAAAAAAFZAAAAAAAAAAAAAUxlbmd0aAAAAAAAAAAAAAFMZW5ndGhTcXVhcmVkAAAAAAAAAAAAAAhJc0ZvbnRCb2xkAAAISXNGb250SXRhbGljAAAISXNGb250VW5kZXJsaW5lZAAACExhYmVsSGFzQmFja2dyb3VuZAAAAlRleHRBbGlnbm1lbnQABQAAAExlZnQAAAhIYXJ2ZXlCYWxsVmlzaWJsZQABEEhhcnZleUJhbGxWYWx1ZQAAAAAAAkNoZWNrQm94U3RhdGUABQAAAE5vbmUAAlRyYWZmaWNMaWdodFN0YXRlAAQAAABPZmYAAANSaWdodE5vdGVzAMcEAAADVGV4dFN0eWxlAFsEAAABRGVmYXVsdEZvbnRTaXplAAAAAAAAACRAAUZvbnRTaXplAAAAAAAAACRAA0ZvbnRDb2xvcgBVAAAAEEEA/wAAABBSABAAAAAQRwA4AAAAEEIATwAAAAFTY0EAAAAAAAAA8D8BU2NSAAAAAOA2OXU/AVNjRwAAAACAZz+kPwFTY0IAAAAAYBcEtD8AEEZvbnRUaGVtZUNvbG9yAAAAAAAQRm9udFNjaGVtZUNvbG9yAAAAAAABRm9udFRpbnRBbmRTaGFkZQAAAAAAAAAAAANQYXR0ZXJuQ29sb3IAVQAAABBBAAAAAAAQUgAAAAAAEEcAAAAAABBCAAAAAAABU2NBAAAAAAAAAAAAAVNjUgAAAAAAAAAAAAFTY0cAAAAAAAAAAAABU2NCAAAAAAAAAAAAABBQYXR0ZXJuVGhlbWVDb2xvcgAAAAAAAVBhdHRlcm5UaW50QW5kU2hhZGUAAAAAAAAAAAADRGF0YVN0eWxlRm9udENvbG9yVmFsdWUAVQAAABBBAP8AAAAQUgAQAAAAEEcAOAAAABBCAE8AAAABU2NBAAAAAAAAAPA/AVNjUgAAAADgNjl1PwFTY0cAAAAAgGc/pD8BU2NCAAAAAGAXBLQ/AAhEYXRhU3R5bGVGb250Q29sb3JIYXNWYWx1ZQABAUhlaWdodAAAAAAAAAAAAAJEYXNoU3R5bGUADQAAAG1zb0xpbmVTb2xpZAAISGFzV2lzaEZpbGxDb2xvcgAAA0ZpbGxDb2xvcgBVAAAAEEEA/wAAABBSAAAAAAAQRwAAAAAAEEIAAAAAAAFTY0EAAAAAAAAA8D8BU2NSAAAAAAAAAAAAAVNjRwAAAAAAAAAAAAFTY0IAAAAAAAAAAAAAEEZpbGxTY2hlbWVDb2xvcgAAAAAAEEZpbGxUaGVtZUNvbG9yAAAAAAABRmlsbFRpbnRBbmRTaGFkZQAAAAAAAAAAAANCb3JkZXJDb2xvcgBVAAAAEEEAAAAAABBSAAAAAAAQRwAAAAAAEEIAAAAAAAFTY0EAAAAAAAAAAAABU2NSAAAAAAAAAAAAAVNjRwAAAAAAAAAAAAFTY0IAAAAAAAAAAAAAEEJvcmRlclRoZW1lQ29sb3IAAAAAAAFCb3JkZXJUaW50QW5kU2hhZGUAAAAAAAAAAAAISXNGaWxsZWQAAQJQYXR0ZXJuABAAAABtc29QYXR0ZXJuTWl4ZWQAAlNoYXBlVHlwZQAOAAAAbXNvU2hhcGVNaXhlZAADTGFiZWxPZmZzZXQAQgAAAAFYAAAAAAAAAAAAAVkAAAAAAAAAAAABTGVuZ3RoAAAAAAAAAAAAAUxlbmd0aFNxdWFyZWQAAAAAAAAAAAAACElzRm9udEJvbGQAAAhJc0ZvbnRJdGFsaWMAAAhJc0ZvbnRVbmRlcmxpbmVkAAAITGFiZWxIYXNCYWNrZ3JvdW5kAAACVGV4dEFsaWdubWVudAAFAAAATGVmdAAACEhhcnZleUJhbGxWaXNpYmxlAAEQSGFydmV5QmFsbFZhbHVlAAAAAAACQ2hlY2tCb3hTdGF0ZQAFAAAATm9uZQACVHJhZmZpY0xpZ2h0U3RhdGUABAAAAE9mZgAAA0xlZnROb3Rlc1JlbmRlckluZm8AYRQAAANMYWJlbAB0BgAABU1hbmFnZWRJZAAQAAAABI5Spo5rGsdCqIsW2135FSEISGFzQ2hhbmdlcwABCFVzZU5hbWVJbnN0ZWFkT2ZUYWdBc0lkAAAIU2hhcGVQcmV2aW91c2x5Q3JlYXRlZAAA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ACRmlsbFBhdHRlcm4AEAAAAG1zb1BhdHRlcm5NaXhlZAACVGV4dAABAAAA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CRGlzcGxheVRleHQAAQAAAAABSGVpZ2h0AAAAAAAAAPA/AVdpZHRoAAAAAAAAAPA/AVRvcAAAAAAAjJZxQAFMZWZ0AAAAAEBl9o1ACEZsaXBIb3Jpem9udGFsbHkAAAhGbGlwSG9yaXpvbnRhbGx5QXBwbGllZAAACEZsaXBWZXJ0aWNhbGx5AAAIRmxpcFZlcnRpY2FsbHlBcHBsaWVkAAABUm90YXRpb24AAAAAAAAAAAABWk9yZGVyAAAAAAAAAAA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DMBAAAFMQEAADQBAADnDwAAAAAAAAAAAAB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2VwYXJhdG9yTGluZQDhBgAAA1N0YXJ0ABsAAAABWADNzMwWMvONQAFZAAAAACCwrn5AAANFbmQAGwAAAAFYADMzM32Y+Y1AAVkAAAAAILCufkAAAlN0YXJ0QXJyb3dIZWFkABEAAABtc29BcnJvd2hlYWROb25lAAJFbmRBcnJvd0hlYWQAEQAAAG1zb0Fycm93aGVhZE5vbmUABU1hbmFnZWRJZAAQAAAABJhiHml456FJtRnEogLEGOUISGFzQ2hhbmdlcwABCFVzZU5hbWVJbnN0ZWFkT2ZUYWdBc0lkAAAIU2hhcGVQcmV2aW91c2x5Q3JlYXRlZAAA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CgmZnpPwFUb3AAAAAAILCufkABTGVmdAAAAAAgMvONQAhGbGlwSG9yaXpvbnRhbGx5AAAIRmxpcEhvcml6b250YWxseUFwcGxpZWQAAAhGbGlwVmVydGljYWxseQAACEZsaXBWZXJ0aWNhbGx5QXBwbGllZAAAAVJvdGF0aW9uAAAAAAAAAAAAAVpPcmRlcgAAAAAAAIBVQANCb3JkZXJDb2xvcgBVAAAAEEEA/wAAABBSAOMAAAAQRwDjAAAAEEIA4wAAAAFTY0EAAAAAAAAA8D8BU2NSAAAAAMCxlOg/AVNjRwAAAADAsZToPwFTY0IAAAAAwLGU6D8AEEJvcmRlclRoZW1lQ29sb3IAAAAAAAFCb3JkZXJUaW50QW5kU2hhZGUAAAAAAAAAAAAQQm9yZGVyU2NoZW1lQ29sb3IAAAAAAAFCb3JkZXJUaGlja25lc3MAAAAAAAAA8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mVjdGFuZ2xlAHQGAAACQXV0b1NoYXBlVHlwZQAKAAAAUmVjdGFuZ2xlAAVNYW5hZ2VkSWQAEAAAAATwItU62zJRR6uCwMugzU++CEhhc0NoYW5nZXMAAQhVc2VOYW1lSW5zdGVhZE9mVGFnQXNJZAAACFNoYXBlUHJldmlvdXNseUNyZWF0ZWQAAANGaWxsQ29sb3IAVQAAABBBAAAAAAAQUgD/AAAAEEcA/wAAABBCAP8AAAABU2NBAAAAAAAAAAAAAVNjUgAAAAAAAADwPwFTY0cAAAAAAAAA8D8BU2NCAAAAAAAAAPA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A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QC0FOEABV2lkdGgAAAAAAAAAAAABVG9wAAAAAEBdLn1AAUxlZnQAAAAAQGXujUAIRmxpcEhvcml6b250YWxseQAACEZsaXBIb3Jpem9udGFsbHlBcHBsaWVkAAAIRmxpcFZlcnRpY2FsbHkAAAhGbGlwVmVydGljYWxseUFwcGxpZWQAAAFSb3RhdGlvbgAAAAAAAAAAAAFaT3JkZXIAAAAAAABAVU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BFRyYWZmaWNMaWdodERhdGEABQAAAAAESGFydmV5QmFsbERhdGEABQAAAAACVHJhZmZpY0xpZ2h0U3RhdGUABAAAAE9mZgAEQ2hlY2tCb3hEYXRhAAUAAAAAAkNoZWNrQm94U3RhdGUABQAAAE5vbmUAAANSaWdodE5vdGVzUmVuZGVySW5mbwBhFAAAA0xhYmVsAHQGAAAFTWFuYWdlZElkABAAAAAEa1egO/ThCkWc/dtfRHjBwwhIYXNDaGFuZ2VzAAEIVXNlTmFtZUluc3RlYWRPZlRhZ0FzSWQAAAhTaGFwZVByZXZpb3VzbHlDcmVhdGVkAAADRmlsbENvbG9yAFUAAAAQQQAAAAAAEFIAAAAAABBHAAAAAAAQQgAAAAAAAVNjQQAAAAAAAADwvwFTY1IAAAAAAAAA8L8BU2NHAAAAAAAAAPC/AVNjQgAAAAAAAADwvwAQRmlsbFRoZW1lQ29sb3IAAAAAAAFGaWxsVGludEFuZFNoYWRlAAAAAAAAAAAAEEZpbGxTY2hlbWVDb2xvcgAAAAA0AQAABTMBAAA1AQAA5w8AAAAAAAAAAAAAAANQYXR0ZXJuQ29sb3IAVQAAABBBAAAAAAAQUgAAAAAAEEcAAAAAABBCAAAAAAABU2NBAAAAAAAAAAAAAVNjUgAAAAAAAAAAAAFTY0cAAAAAAAAAAAABU2NCAAAAAAAAAAAAABBQYXR0ZXJuVGhlbWVDb2xvcgAAAAAAAVBhdHRlcm5UaW50QW5kU2hhZGUAAAAAAAAAAAAIRmlsbFZpc2libGUAAAhWaXNpYmxlAAACRmlsbFBhdHRlcm4AEAAAAG1zb1BhdHRlcm5NaXhlZAACVGV4dAABAAAA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CRGlzcGxheVRleHQAAQAAAAABSGVpZ2h0AAAAAAAAAPA/AVdpZHRoAAAAAAAAAPA/AVRvcAAAAAAAjJZxQAFMZWZ0AAAAAEBl9o1ACEZsaXBIb3Jpem9udGFsbHkAAAhGbGlwSG9yaXpvbnRhbGx5QXBwbGllZAAACEZsaXBWZXJ0aWNhbGx5AAAIRmxpcFZlcnRpY2FsbHlBcHBsaWVkAAABUm90YXRpb24AAAAAAAAAAAABWk9yZGVyAAAAAAAAAAA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TZXBhcmF0b3JMaW5lAOEGAAADU3RhcnQAGwAAAAFYAM3MzBYy841AAVkAAAAAILCufkAAA0VuZAAbAAAAAVgAMzMzfZj5jUABWQAAAAAgsK5+QAACU3RhcnRBcnJvd0hlYWQAEQAAAG1zb0Fycm93aGVhZE5vbmUAAkVuZEFycm93SGVhZAARAAAAbXNvQXJyb3doZWFkTm9uZQAFTWFuYWdlZElkABAAAAAEVwBghAve6UizpxhdlYCCkQhIYXNDaGFuZ2VzAAEIVXNlTmFtZUluc3RlYWRPZlRhZ0FzSWQAAAhTaGFwZVByZXZpb3VzbHlDcmVhdGVkAAA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AAAAAAAAVdpZHRoAAAAAKCZmek/AVRvcAAAAAAgsK5+QAFMZWZ0AAAAACAy841ACEZsaXBIb3Jpem9udGFsbHkAAAhGbGlwSG9yaXpvbnRhbGx5QXBwbGllZAAACEZsaXBWZXJ0aWNhbGx5AAAIRmxpcFZlcnRpY2FsbHlBcHBsaWVkAAABUm90YXRpb24AAAAAAAAAAAABWk9yZGVyAAAAAAAAgFVAA0JvcmRlckNvbG9yAFUAAAAQQQD/AAAAEFIA4wAAABBHAOMAAAAQQgDjAAAAAVNjQQAAAAAAAADwPwFTY1IAAAAAwLGU6D8BU2NHAAAAAMCxlOg/AVNjQgAAAADAsZToPwAQQm9yZGVyVGhlbWVDb2xvcgAAAAAAAUJvcmRlclRpbnRBbmRTaGFkZQAAAAAAAAAAABBCb3JkZXJTY2hlbWVDb2xvcgAAAAAAAUJvcmRlclRoaWNrbmVzcwAAAAAAAADw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SZWN0YW5nbGUAdAYAAAJBdXRvU2hhcGVUeXBlAAoAAABSZWN0YW5nbGUABU1hbmFnZWRJZAAQAAAABCwaLMTjvBFAsdHzCsv9fjsISGFzQ2hhbmdlcwABCFVzZU5hbWVJbnN0ZWFkT2ZUYWdBc0lkAAAIU2hhcGVQcmV2aW91c2x5Q3JlYXRlZAAAA0ZpbGxDb2xvcgBVAAAAEEEAAAAAABBSAP8AAAAQRwD/AAAAEEIA/wAAAAFTY0EAAAAAAAAAAAABU2NSAAAAAAAAAPA/AVNjRwAAAAAAAADwPwFTY0IAAAAAAAAA8D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A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NQEAAAU0AQAANgEAAOcPAAAAAAAAAAAAAHJzY3JpcHQAAAhGb250VW5kZXJsaW5lAAAACFNpemVUb1RleHRXaWR0aAAACFNpemVUb1RleHRIZWlnaHQAAANUZXh0TWFyZ2luAD8AAAABTGVmdAAAAAAAAAAAAAFUb3AAAAAAAAAAAAABUmlnaHQAAAAAAAAAAAABQm90dG9tAAAAAAAAAAAAAAFIZWlnaHQAAAAAQC0FOEABV2lkdGgAAAAAAAAAAAABVG9wAAAAAEBdLn1AAUxlZnQAAAAAQGXujUAIRmxpcEhvcml6b250YWxseQAACEZsaXBIb3Jpem9udGFsbHlBcHBsaWVkAAAIRmxpcFZlcnRpY2FsbHkAAAhGbGlwVmVydGljYWxseUFwcGxpZWQAAAFSb3RhdGlvbgAAAAAAAAAAAAFaT3JkZXIAAAAAAABAVU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BFRyYWZmaWNMaWdodERhdGEABQAAAAAESGFydmV5QmFsbERhdGEABQAAAAACVHJhZmZpY0xpZ2h0U3RhdGUABAAAAE9mZgAEQ2hlY2tCb3hEYXRhAAUAAAAAAkNoZWNrQm94U3RhdGUABQAAAE5vbmUAAANMZWZ0U2lkZVJlbmRlckluZm8AIRQAAANMYWJlbACmBgAABU1hbmFnZWRJZAAQAAAABCy7v0Sy2uVMnc43qCUCNZcISGFzQ2hhbmdlcwAACFVzZU5hbWVJbnN0ZWFkT2ZUYWdBc0lkAAAIU2hhcGVQcmV2aW91c2x5Q3JlYXRlZAAB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AAJAAAAU3ByaW50IDYAAlRleHRIb3Jpem9udGFsQWxpZ25tZW50AA4AAABtc29BbmNob3JOb25lAAJQYXJhZ3JhcGhBbGlnbm1lbnQADQAAAG1zb0FsaWduTGVmdAACVGV4dFZlcnRpY2FsQWxpZ25tZW50ABAAAABtc29BbmNob3JNaWRkbGUAA0ZvbnRTdHlsZQBAAQAAEEZvbnRCYWNrZ3JvdW5kAAAAAAAIRm9udEJvbGQAAANGb250Q29sb3IAVQAAABBBAP8AAAAQUgAQAAAAEEcAOAAAABBCAE8AAAABU2NBAAAAAAAAAPA/AVNjUgAAAADgNjl1PwFTY0cAAAAAgGc/pD8BU2NCAAAAAGAXBLQ/ABBGb250VGhlbWVDb2xvcgAAAAAAAUZvbnRUaW50QW5kU2hhZGUAAAAAAAAAAAAQRm9udFNjaGVtZUNvbG9yAAAAAAAIRm9udEl0YWxpYwAAAkZvbnROYW1lAAYAAABBcmlhbAABRm9udFNpemUAAAAAAAAAJEAIRm9udFN0cmlrZXRocm91Z2gAAAhGb250U3Vic2NyaXB0AAAIRm9udFN1cGVyc2NyaXB0AAAIRm9udFVuZGVybGluZQAAAAhTaXplVG9UZXh0V2lkdGgAAAhTaXplVG9UZXh0SGVpZ2h0AAADVGV4dE1hcmdpbgA/AAAAAUxlZnQAAAAAAAAAAAABVG9wAAAAAAAAAAAAAVJpZ2h0AAAAAAAAAAAAAUJvdHRvbQAAAAAAAAAAAAACRGlzcGxheVRleHQACQAAAFNwcmludCA2AAFIZWlnaHQAAAAAYN8LJ0ABV2lkdGgAAAAAAHR6Q0ABVG9wAAAAACBXkn1AAUxlZnQAAAAAQElcN0AIRmxpcEhvcml6b250YWxseQAACEZsaXBIb3Jpem9udGFsbHlBcHBsaWVkAAAIRmxpcFZlcnRpY2FsbHkAAAhGbGlwVmVydGljYWxseUFwcGxpZWQAAAFSb3RhdGlvbgAAAAAAAAAAAAFaT3JkZXIAAAAAAAAAPk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JlY3RhbmdsZQB0BgAAAkF1dG9TaGFwZVR5cGUACgAAAFJlY3RhbmdsZQAFTWFuYWdlZElkABAAAAAEhSXnfYV3/U+BqffqDxNn8whIYXNDaGFuZ2VzAAAIVXNlTmFtZUluc3RlYWRPZlRhZ0FzSWQAAAhTaGFwZVByZXZpb3VzbHlDcmVhdGVkAAADRmlsbENvbG9yAFUAAAAQQQAAAAAAEFIA/wAAABBHAP8AAAAQQgD/AAAAAVNjQQAAAAAAAAAAAAFTY1IAAAAAAAAA8D8BU2NHAAAAAAAAAPA/AVNjQgAAAAAAAADwP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A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EAtBThAAVdpZHRoAAAAAACD241AAVRvcAAAAABAXS59QAFMZWZ0AAAAAABK4gpACEZsaXBIb3Jpem9udGFsbHkAAAhGbGlwSG9yaXpvbnRhbGx5QXBwbGllZAAACEZsaXBWZXJ0aWNhbGx5AAAIRmxpcFZlcnRpY2FsbHlBcHBsaWVkAAABUm90YXRpb24AAAAAAAAAAAABWk9yZGVyAAAAAAAAACZ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DYBAAAFNQEAADcBAADnDwAAAAAAAAAAAAAAAAAAAAAISGFuZ2luZ1B1bmN0dWF0aW9uAAAQSW5kZW50TGV2ZWwAAAAAAAFMZWZ0SW5kZW50AAAAAAAAAAAACExpbmVSdWxlQWZ0ZXIAAAhMaW5lUnVsZUJlZm9yZQAACExpbmVSdWxlV2l0aGluAAABUmlnaHRJbmRlbnQAAAAAAAAAAAABU3BhY2VBZnRlcgAAAAAAAAAAAAFTcGFjZUJlZm9yZQAAAAAAAAAAAAFTcGFjZVdpdGhpbgAAAAAAAAAAAAADU2VwYXJhdG9yTGluZQDhBgAAA1N0YXJ0ABsAAAABWADNzMzMFq8HQAFZAFO5uhGwrn5AAANFbmQAGwAAAAFYADMzM32Y+Y1AAVkAU7m6EbCufkAAAlN0YXJ0QXJyb3dIZWFkABEAAABtc29BcnJvd2hlYWROb25lAAJFbmRBcnJvd0hlYWQAEQAAAG1zb0Fycm93aGVhZE5vbmUABU1hbmFnZWRJZAAQAAAABBMpD0xbC8hAutgevjRfugcISGFzQ2hhbmdlcwAACFVzZU5hbWVJbnN0ZWFkT2ZUYWdBc0lkAAAIU2hhcGVQcmV2aW91c2x5Q3JlYXRlZAAA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Bg6eGNQAFUb3AAAAAAILCufkABTGVmdAAAAADAFq8HQAhGbGlwSG9yaXpvbnRhbGx5AAAIRmxpcEhvcml6b250YWxseUFwcGxpZWQAAAhGbGlwVmVydGljYWxseQAACEZsaXBWZXJ0aWNhbGx5QXBwbGllZAAAAVJvdGF0aW9uAAAAAAAAAAAAAVpPcmRlcgAAAAAAAAAoQANCb3JkZXJDb2xvcgBVAAAAEEEA/wAAABBSAOMAAAAQRwDjAAAAEEIA4wAAAAFTY0EAAAAAAAAA8D8BU2NSAAAAAMCxlOg/AVNjRwAAAADAsZToPwFTY0IAAAAAwLGU6D8AEEJvcmRlclRoZW1lQ29sb3IAAAAAAAFCb3JkZXJUaW50QW5kU2hhZGUAAAAAAAAAAAAQQm9yZGVyU2NoZW1lQ29sb3IAAAAAAAFCb3JkZXJUaGlja25lc3MAAAAAAAAA8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AAAM2AEKeAAAQX2lkABMAAAAESXRlbXMAjFIAAAMwAHUcAAACX3R5cGUASwAAAGVtcG93ZXIuQ2hhcnRzLkRhdGEuR2FudHQuQ2hyb25vbG9neS5EYXRhLkJhclRhc2tEYXRhLCBlbXBvd2VyLkNoYXJ0cy5EYXRhAAJMYWJlbFBvc2l0aW9uAAwAAABPdXRzaWRlTGVmdAAISXNMYWJlbEluc2lkZUJvdW5kcwAAA1N0eWxlAFsEAAABRGVmYXVsdEZvbnRTaXplAAAAAAAAACRAAUZvbnRTaXplAAAAAAAAACBAA0ZvbnRDb2xvcgBVAAAAEEEA/wAAABBSABAAAAAQRwA4AAAAEEIATwAAAAFTY0EAAAAAAAAA8D8BU2NSAAAAAOA2OXU/AVNjRwAAAACAZz+kPwFTY0IAAAAAYBcEtD8AEEZvbnRUaGVtZUNvbG9yAAAAAAAQRm9udFNjaGVtZUNvbG9yAAAAAAABRm9udFRpbnRBbmRTaGFkZQAAAAAAAAAAAANQYXR0ZXJuQ29sb3IAVQAAABBBAAAAAAAQUgAAAAAAEEcAAAAAABBCAAAAAAABU2NBAAAAAAAAAAAAAVNjUgAAAAAAAAAAAAFTY0cAAAAAAAAAAAABU2NCAAAAAAAAAAAAABBQYXR0ZXJuVGhlbWVDb2xvcgAAAAAAAVBhdHRlcm5UaW50QW5kU2hhZGUAAAAAAAAAAAADRGF0YVN0eWxlRm9udENvbG9yVmFsdWUAVQAAABBBAAAAAAAQUgAAAAAAEEcAAAAAABBCAAAAAAABU2NBAAAAAAAAAAAAAVNjUgAAAAAAAAAAAAFTY0cAAAAAAAAAAAABU2NCAAAAAAAAAAAAAAhEYXRhU3R5bGVGb250Q29sb3JIYXNWYWx1ZQAAAUhlaWdodAAAAADg3TIoQAJEYXNoU3R5bGUADQAAAG1zb0xpbmVTb2xpZAAISGFzV2lzaEZpbGxDb2xvcgAAA0ZpbGxDb2xvcgBVAAAAEEEA/wAAABBSAJkAAAAQRwDTAAAAEEIA8gAAAAFTY0EAAAAAAAAA8D8BU2NSAAAAACASY9Q/AVNjRwAAAACgUNjkPwFTY0IAAAAAwN1p7D8AEEZpbGxTY2hlbWVDb2xvcgAAAAAAEEZpbGxUaGVtZUNvbG9yAAAAAAABRmlsbFRpbnRBbmRTaGFkZQAAAAAAAAAAAANCb3JkZXJDb2xvcgBVAAAAEEEAAAAAABBSAAAAAAAQRwAAAAAAEEIAAAAAAAFTY0EAAAAAAAAAAAABU2NSAAAAAAAAAAAAAVNjRwAAAAAAAAAAAAFTY0IAAAAAAAAAAAAAEEJvcmRlclRoZW1lQ29sb3IAAAAAAAFCb3JkZXJUaW50QW5kU2hhZGUAAAAAAAAAAAAISXNGaWxsZWQAAQJQYXR0ZXJuABAAAABtc29QYXR0ZXJuTWl4ZWQAAlNoYXBlVHlwZQAOAAAAbXNvU2hhcGVNaXhlZAADTGFiZWxPZmZzZXQAQgAAAAFYAAAAAAAAAAAAAVkAAAAAAAAAAAABTGVuZ3RoAAAAAAAAAAAAAUxlbmd0aFNxdWFyZWQAAAAAAAAAAAAACElzRm9udEJvbGQAAAhJc0ZvbnRJdGFsaWMAAAhJc0ZvbnRVbmRlcmxpbmVkAAAITGFiZWxIYXNCYWNrZ3JvdW5kAAACVGV4dEFsaWdubWVudAAFAAAATGVmdAAACERpc3BsYXlMYWJlbAABA1JlbmRlckluZm8A8xYAAANSZWN0YW5nbGVGcmVlZm9ybQD8CAAABFZlcnRpY2VzAJsCAAADMAAsAAAAEEluZGV4MAAAAAAAEEluZGV4MQAAAAAAAVZhbHVlAAAAAMBafodAAAMxACwAAAAQSW5kZXgwAAAAAAAQSW5kZXgxAAEAAAABVmFsdWUAAAAAAA4ef0AAAzIALAAAABBJbmRleDAAAQAAABBJbmRleDEAAAAAAAFWYWx1ZQAAAADAWn6HQAADMwAsAAAAEEluZGV4MAABAAAAEEluZGV4MQABAAAAAVZhbHVlAAAAAIDZfn9AAAM0ACwAAAAQSW5kZXgwAAIAAAAQSW5kZXgxAAAAAAABVmFsdWUAAAAAwFp+h0AAAzUALAAAABBJbmRleDAAAgAAABBJbmRleDEAAQAAAAFWYWx1ZQAAAADgpN9/QAADNgAsAAAAEEluZGV4MAADAAAAEEluZGV4MQAAAAAAAVZhbHVlAAAAAAB8wYhAAAM3ACwAAAAQSW5kZXgwAAMAAAAQSW5kZXgxAAEAAAABVmFsdWUAAAAA4KTff0AAAzgALAAAABBJbmRleDAABAAAABBJbmRleDEAAAAAAAFWYWx1ZQAAAAAAfMGIQAADOQAsAAAAEEluZGV4MAAEAAAAEEluZGV4MQABAAAAAVZhbHVlAAAAAIDZfn9AAAMxMAAsAAAAEEluZGV4MAAFAAAAEEluZGV4MQAAAAAAAVZhbHVlAAAAAAB8wYhAAAMxMQAsAAAAEEluZGV4MAAFAAAAEEluZGV4MQABAAAAAVZhbHVlAAAAAAAOHn9AAAMxMgAsAAAAEEluZGV4MAAGAAAAEEluZGV4MQAAAAAAAVZhbHVlAAAAAMBafodAAAMxMwAsAAAAEEluZGV4MAAGAAAAEEluZGV4MQABAAAAAVZhbHVlAAAAAAAOHn9AAAAFTWFuYWdlZElkABAAAAAEbp8k+1y8mk6ignhQmAJ1+ghIYXNDaGFuZ2VzAAAIVXNlTmFtZUluc3RlYWRPZlRhZ0FzSWQ3AQAABTYBAAA9AQAA5w8AAAAAAAAAAAAAAAAIU2hhcGVQcmV2aW91c2x5Q3JlYXRlZAAAA0ZpbGxDb2xvcgBVAAAAEEEA/wAAABBSAJkAAAAQRwDTAAAAEEIA8gAAAAFTY0EAAAAAAAAA8D8BU2NSAAAAACASY9Q/AVNjRwAAAACgUNjkPwFTY0IAAAAAwN1p7D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DA3TIoQAFXaWR0aAAAAACAFDJEQAFUb3AAAAAAAA4ef0ABTGVmdAAAAADAWn6HQAhGbGlwSG9yaXpvbnRhbGx5AAAIRmxpcEhvcml6b250YWxseUFwcGxpZWQAAAhGbGlwVmVydGljYWxseQAACEZsaXBWZXJ0aWNhbGx5QXBwbGllZAAAAVJvdGF0aW9uAAAAAAAAAAAAAVpPcmRlcgAAAAAAAIBRQANCb3JkZXJDb2xvcgBVAAAAEEEA/wAAABBSAP8AAAAQRwD/AAAAEEIA/wAAAAFTY0EAAAAAAAAA8D8BU2NSAAAAAAAAAPA/AVNjRwAAAAAAAADwPwFTY0IAAAAAAAAA8D8AEEJvcmRlclRoZW1lQ29sb3IAAAAAAAFCb3JkZXJUaW50QW5kU2hhZGUAAAAAAAAAAAAQQm9yZGVyU2NoZW1lQ29sb3IAAAAAAAFCb3JkZXJUaGlja25lc3MAAAAAAAAA8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QmFyU3R5bGVEYXRhACYAAAACQmFyU3R5bGVTaGFwZVR5cGUACgAAAFJlY3RhbmdsZQAAA0xhYmVsALAGAAAFTWFuYWdlZElkABAAAAAEwQWk0DUmtUyE2cQdrCq+XQhIYXNDaGFuZ2VzAAAIVXNlTmFtZUluc3RlYWRPZlRhZ0FzSWQAAAhTaGFwZVByZXZpb3VzbHlDcmVhdGVkAAEDRmlsbENvbG9yAFUAAAAQQQD/AAAAEFIAmQAAABBHANMAAAAQQgDyAAAAAVNjQQAAAAAAAADwPwFTY1IAAAAAIBJj1D8BU2NHAAAAAKBQ2OQ/AVNjQgAAAADA3WnsP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AA0AAABDb25lY3RpdmlkYWQAAlRleHRIb3Jpem9udGFsQWxpZ25tZW50AA4AAABtc29BbmNob3JOb25lAAJQYXJhZ3JhcGhBbGlnbm1lbnQADwAAAG1zb0FsaWduQ2VudGVyAAJUZXh0VmVydGljYWxBbGlnbm1lbnQAEAAAAG1zb0FuY2hvck1pZGRsZQADRm9udFN0eWxlAEABAAAQRm9udEJhY2tncm91bmQAAAAAAAhGb250Qm9sZAAAA0ZvbnRDb2xvcgBVAAAAEEEA/wAAABBSABAAAAAQRwA4AAAAEEIATwAAAAFTY0EAAAAAAAAA8D8BU2NSAAAAAOA2OXU/AVNjRwAAAACAZz+kPwFTY0IAAAAAYBcEtD8AEEZvbnRUaGVtZUNvbG9yAAAAAAABRm9udFRpbnRBbmRTaGFkZQAAAAAAAAAAABBGb250U2NoZW1lQ29sb3IAAAAAAAhGb250SXRhbGljAAACRm9udE5hbWUABgAAAEFyaWFsAAFGb250U2l6ZQAAAAAAAAAgQAhGb250U3RyaWtldGhyb3VnaAAACEZvbnRTdWJzY3JpcHQAAAhGb250U3VwZXJzY3JpcHQAAAhGb250VW5kZXJsaW5lAAAACFNpemVUb1RleHRXaWR0aAAACFNpemVUb1RleHRIZWlnaHQAAANUZXh0TWFyZ2luAD8AAAABTGVmdAAAAAAAAAAAAAFUb3AAAAAAAAAAAAABUmlnaHQAAAAAAAAAAAABQm90dG9tAAAAAAAAAAAAAAJEaXNwbGF5VGV4dAANAAAAQ29uZWN0aXZpZGFkAAFIZWlnaHQAAAAAABZcI0ABV2lkdGgAAAAAQG1gR0ABVG9wAAAAACBpMX9AAUxlZnQAAAAA4FPwhUAIRmxpcEhvcml6b250YWxseQAACEZsaXBIb3Jpem9udGFsbHlBcHBsaWVkAAAIRmxpcFZlcnRpY2FsbHkAAAhGbGlwVmVydGljYWxseUFwcGxpZWQAAAFSb3RhdGlvbgAAAAAAAAAAAAFaT3JkZXIAAAAAAAAAUk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Nvbm5lY3RvckxpbmVEYXRhAOEGAAADU3RhcnQAGwAAAAFYAAAAAMBafodAAVkAAAAAAA4ef0AAA0VuZAAbAAAAAVgAAAAAwFp+h0ABWQAAAAAADh5/QAACU3RhcnRBcnJvd0hlYWQAEQAAAG1zb0Fycm93aGVhZE5vbmUAAkVuZEFycm93SGVhZAARAAAAbXNvQXJyb3doZWFkTm9uZQAFTWFuYWdlZElkABAAAAAEjyc7uy3LnkutagahSn1+VAhIYXNDaGFuZ2VzAAAIVXNlTmFtZUluc3RlYWRPZlRhZ0FzSWQAAAhTaGFwZVByZXZpb3VzbHlDcmVhdGVkAAA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AJGaWxsUGF0dGVybgAQAAAAbXNvUGF0dGVybk1peGVkAAJUZXh0SG9yaXpvbnRhbEFsaWdubWVudAAOAAAAbXNvQW5jaG9yTm9uZQACUGFyYWdyYXBoQWxpZ25tZW50AAIAAAAwAAJUZXh0VmVydGljYWxBbGlnbm1lbnQADQAAAG1zb0FuY2hvclRvcAADRm9udFN0eWxlACwBOAEAAAUyAQAAOQEAAOcPAAAAAAAAAAAAAAAAAAAAAAhIYW5naW5nUHVuY3R1YXRpb24AABBJbmRlbnRMZXZlbAAAAAAAAUxlZnRJbmRlbnQAAAAAAAAAAAAITGluZVJ1bGVBZnRlcgAACExpbmVSdWxlQmVmb3JlAAAITGluZVJ1bGVXaXRoaW4AAAFSaWdodEluZGVudAAAAAAAAAAAAAFTcGFjZUFmdGVyAAAAAAAAAAAAAVNwYWNlQmVmb3JlAAAAAAAAAAAAAVNwYWNlV2l0aGluAAAAAAAAAAAAAANTZXBhcmF0b3JMaW5lAOEGAAADU3RhcnQAGwAAAAFYAM3MzBYy841AAVkAAAAAILCufkAAA0VuZAAbAAAAAVgAMzMzfZj5jUABWQAAAAAgsK5+QAACU3RhcnRBcnJvd0hlYWQAEQAAAG1zb0Fycm93aGVhZE5vbmUAAkVuZEFycm93SGVhZAARAAAAbXNvQXJyb3doZWFkTm9uZQAFTWFuYWdlZElkABAAAAAEmGIeaXjnoUm1GcSiAsQY5QhIYXNDaGFuZ2VzAAEIVXNlTmFtZUluc3RlYWRPZlRhZ0FzSWQAAAhTaGFwZVByZXZpb3VzbHlDcmVhdGVkAAA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AAAAAAAAVdpZHRoAAAAAKCZmek/AVRvcAAAAAAgsK5+QAFMZWZ0AAAAACAy841ACEZsaXBIb3Jpem9udGFsbHkAAAhGbGlwSG9yaXpvbnRhbGx5QXBwbGllZAAACEZsaXBWZXJ0aWNhbGx5AAAIRmxpcFZlcnRpY2FsbHlBcHBsaWVkAAABUm90YXRpb24AAAAAAAAAAAABWk9yZGVyAAAAAAAAgFVAA0JvcmRlckNvbG9yAFUAAAAQQQD/AAAAEFIA4wAAABBHAOMAAAAQQgDjAAAAAVNjQQAAAAAAAADwPwFTY1IAAAAAwLGU6D8BU2NHAAAAAMCxlOg/AVNjQgAAAADAsZToPwAQQm9yZGVyVGhlbWVDb2xvcgAAAAAAAUJvcmRlclRpbnRBbmRTaGFkZQAAAAAAAAAAABBCb3JkZXJTY2hlbWVDb2xvcgAAAAAAAUJvcmRlclRoaWNrbmVzcwAAAAAAAADw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SZWN0YW5nbGUAdAYAAAJBdXRvU2hhcGVUeXBlAAoAAABSZWN0YW5nbGUABU1hbmFnZWRJZAAQAAAABPAi1TrbMlFHq4LAy6DNT74ISGFzQ2hhbmdlcwABCFVzZU5hbWVJbnN0ZWFkT2ZUYWdBc0lkAAAIU2hhcGVQcmV2aW91c2x5Q3JlYXRlZAAAA0ZpbGxDb2xvcgBVAAAAEEEAAAAAABBSAP8AAAAQRwD/AAAAEEIA/wAAAAFTY0EAAAAAAAAAAAABU2NSAAAAAAAAAPA/AVNjRwAAAAAAAADwPwFTY0IAAAAAAAAA8D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A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BALQU4QAFXaWR0aAAAAAAAAAAAAAFUb3AAAAAAQF0ufUABTGVmdAAAAABAZe6NQAhGbGlwSG9yaXpvbnRhbGx5AAAIRmxpcEhvcml6b250YWxseUFwcGxpZWQAAAhGbGlwVmVydGljYWxseQAACEZsaXBWZXJ0aWNhbGx5QXBwbGllZAAAAVJvdGF0aW9uAAAAAAAAAAAAAVpPcmRlcgAAAAAAAEBV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EVHJhZmZpY0xpZ2h0RGF0YQAFAAAAAARIYXJ2ZXlCYWxsRGF0YQAFAAAAAAJUcmFmZmljTGlnaHRTdGF0ZQAEAAAAT2ZmAARDaGVja0JveERhdGEABQAAAAACQ2hlY2tCb3hTdGF0ZQAFAAAATm9uZQAAA1JpZ2h0Tm90ZXNSZW5kZXJJbmZvAGEUAAADTGFiZWwAdAYAAAVNYW5hZ2VkSWQAEAAAAARrV6A79OEKRZz9219EeMHDCEhhc0NoYW5nZXMAAQhVc2VOYW1lSW5zdGVhZE9mVGFnQXNJZAAACFNoYXBlUHJldmlvdXNseUNyZWF0ZWQAAANGaWxsQ29sb3IAVQAAABBBAAAAAAAQUgAAAAAAEEcAAAAAABBCAAAAAAABU2NBAAAAAAAAAPC/AVNjUgAAAAAAAADwvwFTY0cAAAAAAAAA8L8BU2NCAAAAAAAAAPC/ABBGaWxsVGhlbWVDb2xvcgAAAAAAAUZpbGxUaW50QW5kU2hhZGUAAAAAAAAAAAAQRmlsbFNjaGVtZUNvbG9yAAAAAAADUGF0dGVybkNvbG9yAFUAAAAQQQAAADkBAAAFOAEAADoBAADnDwAAAAAAAAAAAAAAABBSAAAAAAAQRwAAAAAAEEIAAAAAAAFTY0EAAAAAAAAAAAABU2NSAAAAAAAAAAAAAVNjRwAAAAAAAAAAAAFTY0IAAAAAAAAAAAAAEFBhdHRlcm5UaGVtZUNvbG9yAAAAAAABUGF0dGVyblRpbnRBbmRTaGFkZQAAAAAAAAAAAAhGaWxsVmlzaWJsZQAACFZpc2libGUAAAJGaWxsUGF0dGVybgAQAAAAbXNvUGF0dGVybk1peGVkAAJUZXh0AAEAAAA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JEaXNwbGF5VGV4dAABAAAAAAFIZWlnaHQAAAAAAAAA8D8BV2lkdGgAAAAAAAAA8D8BVG9wAAAAAACMlnFAAUxlZnQAAAAAQGX2jU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NlcGFyYXRvckxpbmUA4QYAAANTdGFydAAbAAAAAVgAzczMFjLzjUABWQAAAAAgsK5+QAADRW5kABsAAAABWAAzMzN9mPmNQAFZAAAAACCwrn5AAAJTdGFydEFycm93SGVhZAARAAAAbXNvQXJyb3doZWFkTm9uZQACRW5kQXJyb3dIZWFkABEAAABtc29BcnJvd2hlYWROb25lAAVNYW5hZ2VkSWQAEAAAAARXAGCEC97pSLOnGF2VgIKRCEhhc0NoYW5nZXMAAQhVc2VOYW1lSW5zdGVhZE9mVGFnQXNJZAAACFNoYXBlUHJldmlvdXNseUNyZWF0ZWQAAA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oJmZ6T8BVG9wAAAAACCwrn5AAUxlZnQAAAAAIDLzjUAIRmxpcEhvcml6b250YWxseQAACEZsaXBIb3Jpem9udGFsbHlBcHBsaWVkAAAIRmxpcFZlcnRpY2FsbHkAAAhGbGlwVmVydGljYWxseUFwcGxpZWQAAAFSb3RhdGlvbgAAAAAAAAAAAAFaT3JkZXIAAAAAAACAVUADQm9yZGVyQ29sb3IAVQAAABBBAP8AAAAQUgDjAAAAEEcA4wAAABBCAOMAAAABU2NBAAAAAAAAAPA/AVNjUgAAAADAsZToPwFTY0cAAAAAwLGU6D8BU2NCAAAAAMCxlOg/ABBCb3JkZXJUaGVtZUNvbG9yAAAAAAABQm9yZGVyVGludEFuZFNoYWRlAAAAAAAAAAAAEEJvcmRlclNjaGVtZUNvbG9yAAAAAAABQm9yZGVyVGhpY2tuZXNzAAAAAAAAAPA/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JlY3RhbmdsZQB0BgAAAkF1dG9TaGFwZVR5cGUACgAAAFJlY3RhbmdsZQAFTWFuYWdlZElkABAAAAAELBosxOO8EUCx0fMKy/1+OwhIYXNDaGFuZ2VzAAEIVXNlTmFtZUluc3RlYWRPZlRhZ0FzSWQAAAhTaGFwZVByZXZpb3VzbHlDcmVhdGVkAAADRmlsbENvbG9yAFUAAAAQQQAAAAAAEFIA/wAAABBHAP8AAAAQQgD/AAAAAVNjQQAAAAAAAAAAAAFTY1IAAAAAAAAA8D8BU2NHAAAAAAAAAPA/AVNjQgAAAAAAAADwP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A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6AQAABTkBAAA7AQAA5w8AAAAAAAAAAAAAAAAIU2l6ZVRvVGV4dFdpZHRoAAAIU2l6ZVRvVGV4dEhlaWdodAAAA1RleHRNYXJnaW4APwAAAAFMZWZ0AAAAAAAAAAAAAVRvcAAAAAAAAAAAAAFSaWdodAAAAAAAAAAAAAFCb3R0b20AAAAAAAAAAAAAAUhlaWdodAAAAABALQU4QAFXaWR0aAAAAAAAAAAAAAFUb3AAAAAAQF0ufUABTGVmdAAAAABAZe6NQAhGbGlwSG9yaXpvbnRhbGx5AAAIRmxpcEhvcml6b250YWxseUFwcGxpZWQAAAhGbGlwVmVydGljYWxseQAACEZsaXBWZXJ0aWNhbGx5QXBwbGllZAAAAVJvdGF0aW9uAAAAAAAAAAAAAVpPcmRlcgAAAAAAAEBV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EVHJhZmZpY0xpZ2h0RGF0YQAFAAAAAARIYXJ2ZXlCYWxsRGF0YQAFAAAAAAJUcmFmZmljTGlnaHRTdGF0ZQAEAAAAT2ZmAARDaGVja0JveERhdGEABQAAAAACQ2hlY2tCb3hTdGF0ZQAFAAAATm9uZQAAA0xlZnRTaWRlUmVuZGVySW5mbwAhFAAAA0xhYmVsAKYGAAAFTWFuYWdlZElkABAAAAAELLu/RLLa5UydzjeoJQI1lwhIYXNDaGFuZ2VzAAAIVXNlTmFtZUluc3RlYWRPZlRhZ0FzSWQAAAhTaGFwZVByZXZpb3VzbHlDcmVhdGVkAAE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AAkAAABTcHJpbnQgNgACVGV4dEhvcml6b250YWxBbGlnbm1lbnQADgAAAG1zb0FuY2hvck5vbmUAAlBhcmFncmFwaEFsaWdubWVudAANAAAAbXNvQWxpZ25MZWZ0AAJUZXh0VmVydGljYWxBbGlnbm1lbnQAEAAAAG1zb0FuY2hvck1pZGRsZQADRm9udFN0eWxlAEABAAAQRm9udEJhY2tncm91bmQAAAAAAAhGb250Qm9sZAAAA0ZvbnRDb2xvcgBVAAAAEEEA/wAAABBSABAAAAAQRwA4AAAAEEIATwAAAAFTY0EAAAAAAAAA8D8BU2NSAAAAAOA2OXU/AVNjRwAAAACAZz+kPwFTY0IAAAAAYBcEtD8AEEZvbnRUaGVtZUNvbG9yAAAAAAABRm9udFRpbnRBbmRTaGFkZQAAAAAAAAAAABBGb250U2NoZW1lQ29sb3IAAAAAAAhGb250SXRhbGljAAACRm9udE5hbWUABgAAAEFyaWFsAAFGb250U2l6ZQAAAAAAAAAkQAhGb250U3RyaWtldGhyb3VnaAAACEZvbnRTdWJzY3JpcHQAAAhGb250U3VwZXJzY3JpcHQAAAhGb250VW5kZXJsaW5lAAAACFNpemVUb1RleHRXaWR0aAAACFNpemVUb1RleHRIZWlnaHQAAANUZXh0TWFyZ2luAD8AAAABTGVmdAAAAAAAAAAAAAFUb3AAAAAAAAAAAAABUmlnaHQAAAAAAAAAAAABQm90dG9tAAAAAAAAAAAAAAJEaXNwbGF5VGV4dAAJAAAAU3ByaW50IDYAAUhlaWdodAAAAABg3wsnQAFXaWR0aAAAAAAAdHpDQAFUb3AAAAAAIFeSfUABTGVmdAAAAABASVw3QAhGbGlwSG9yaXpvbnRhbGx5AAAIRmxpcEhvcml6b250YWxseUFwcGxpZWQAAAhGbGlwVmVydGljYWxseQAACEZsaXBWZXJ0aWNhbGx5QXBwbGllZAAAAVJvdGF0aW9uAAAAAAAAAAAAAVpPcmRlcgAAAAAAAAA+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mVjdGFuZ2xlAHQGAAACQXV0b1NoYXBlVHlwZQAKAAAAUmVjdGFuZ2xlAAVNYW5hZ2VkSWQAEAAAAASFJed9hXf9T4Gp9+oPE2fzCEhhc0NoYW5nZXMAAAhVc2VOYW1lSW5zdGVhZE9mVGFnQXNJZAAACFNoYXBlUHJldmlvdXNseUNyZWF0ZWQAAANGaWxsQ29sb3IAVQAAABBBAAAAAAAQUgD/AAAAEEcA/wAAABBCAP8AAAABU2NBAAAAAAAAAAAAAVNjUgAAAAAAAADwPwFTY0cAAAAAAAAA8D8BU2NCAAAAAAAAAPA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A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QC0FOEABV2lkdGgAAAAAAIPbjUABVG9wAAAAAEBdLn1AAUxlZnQAAAAAAEriCkAIRmxpcEhvcml6b250YWxseQAACEZsaXBIb3Jpem9udGFsbHlBcHBsaWVkAAAIRmxpcFZlcnRpY2FsbHkAAAhGbGlwVmVydGljYWxseUFwcGxpZWQAAAFSb3RhdGlvbgAAAAAAAAAAAAFaT3JkZXIAAAAAAAAAJk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OwEAAAU6AQAAPAEAAOcPAAAAAAAAAAAAAG4AABBJbmRlbnRMZXZlbAAAAAAAAUxlZnRJbmRlbnQAAAAAAAAAAAAITGluZVJ1bGVBZnRlcgAACExpbmVSdWxlQmVmb3JlAAAITGluZVJ1bGVXaXRoaW4AAAFSaWdodEluZGVudAAAAAAAAAAAAAFTcGFjZUFmdGVyAAAAAAAAAAAAAVNwYWNlQmVmb3JlAAAAAAAAAAAAAVNwYWNlV2l0aGluAAAAAAAAAAAAAANTZXBhcmF0b3JMaW5lAOEGAAADU3RhcnQAGwAAAAFYAM3MzMwWrwdAAVkAU7m6EbCufkAAA0VuZAAbAAAAAVgAMzMzfZj5jUABWQBTuboRsK5+QAACU3RhcnRBcnJvd0hlYWQAEQAAAG1zb0Fycm93aGVhZE5vbmUAAkVuZEFycm93SGVhZAARAAAAbXNvQXJyb3doZWFkTm9uZQAFTWFuYWdlZElkABAAAAAEEykPTFsLyEC62B6+NF+6BwhIYXNDaGFuZ2VzAAAIVXNlTmFtZUluc3RlYWRPZlRhZ0FzSWQAAAhTaGFwZVByZXZpb3VzbHlDcmVhdGVkAAA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AAAAAAAAVdpZHRoAAAAAGDp4Y1AAVRvcAAAAAAgsK5+QAFMZWZ0AAAAAMAWrwdACEZsaXBIb3Jpem9udGFsbHkAAAhGbGlwSG9yaXpvbnRhbGx5QXBwbGllZAAACEZsaXBWZXJ0aWNhbGx5AAAIRmxpcFZlcnRpY2FsbHlBcHBsaWVkAAABUm90YXRpb24AAAAAAAAAAAABWk9yZGVyAAAAAAAAAChAA0JvcmRlckNvbG9yAFUAAAAQQQD/AAAAEFIA4wAAABBHAOMAAAAQQgDjAAAAAVNjQQAAAAAAAADwPwFTY1IAAAAAwLGU6D8BU2NHAAAAAMCxlOg/AVNjQgAAAADAsZToPwAQQm9yZGVyVGhlbWVDb2xvcgAAAAAAAUJvcmRlclRpbnRBbmRTaGFkZQAAAAAAAAAAABBCb3JkZXJTY2hlbWVDb2xvcgAAAAAAAUJvcmRlclRoaWNrbmVzcwAAAAAAAADw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AAAzYAQp4AABBfaWQAEwAAAARJdGVtcwCMUgAAAzAAdRwAAAJfdHlwZQBLAAAAZW1wb3dlci5DaGFydHMuRGF0YS5HYW50dC5DaHJvbm9sb2d5LkRhdGEuQmFyVGFza0RhdGEsIGVtcG93ZXIuQ2hhcnRzLkRhdGEAAkxhYmVsUG9zaXRpb24ADAAAAE91dHNpZGVMZWZ0AAhJc0xhYmVsSW5zaWRlQm91bmRzAAADU3R5bGUAWwQAAAFEZWZhdWx0Rm9udFNpemUAAAAAAAAAJEABRm9udFNpemUAAAAAAAAAIEADRm9udENvbG9yAFUAAAAQQQD/AAAAEFIAEAAAABBHADgAAAAQQgBPAAAAAVNjQQAAAAAAAADwPwFTY1IAAAAA4DY5dT8BU2NHAAAAAIBnP6Q/AVNjQgAAAABgFwS0PwAQRm9udFRoZW1lQ29sb3IAAAAAABBGb250U2NoZW1lQ29sb3IAAAAAAAFGb250VGludEFuZFNoYWRlAAAAAAAAAAAAA1BhdHRlcm5Db2xvcgBVAAAAEEEAAAAAABBSAAAAAAAQRwAAAAAAEEIAAAAAAAFTY0EAAAAAAAAAAAABU2NSAAAAAAAAAAAAAVNjRwAAAAAAAAAAAAFTY0IAAAAAAAAAAAAAEFBhdHRlcm5UaGVtZUNvbG9yAAAAAAABUGF0dGVyblRpbnRBbmRTaGFkZQAAAAAAAAAAAANEYXRhU3R5bGVGb250Q29sb3JWYWx1ZQBVAAAAEEEAAAAAABBSAAAAAAAQRwAAAAAAEEIAAAAAAAFTY0EAAAAAAAAAAAABU2NSAAAAAAAAAAAAAVNjRwAAAAAAAAAAAAFTY0IAAAAAAAAAAAAACERhdGFTdHlsZUZvbnRDb2xvckhhc1ZhbHVlAAABSGVpZ2h0AAAAAODdMihAAkRhc2hTdHlsZQANAAAAbXNvTGluZVNvbGlkAAhIYXNXaXNoRmlsbENvbG9yAAADRmlsbENvbG9yAFUAAAAQQQD/AAAAEFIAmQAAABBHANMAAAAQQgDyAAAAAVNjQQAAAAAAAADwPwFTY1IAAAAAIBJj1D8BU2NHAAAAAKBQ2OQ/AVNjQgAAAADA3WnsPwAQRmlsbFNjaGVtZUNvbG9yAAAAAAAQRmlsbFRoZW1lQ29sb3IAAAAAAAFGaWxsVGludEFuZFNoYWRlAAAAAAAAAAAAA0JvcmRlckNvbG9yAFUAAAAQQQAAAAAAEFIAAAAAABBHAAAAAAAQQgAAAAAAAVNjQQAAAAAAAAAAAAFTY1IAAAAAAAAAAAABU2NHAAAAAAAAAAAAAVNjQgAAAAAAAAAAAAAQQm9yZGVyVGhlbWVDb2xvcgAAAAAAAUJvcmRlclRpbnRBbmRTaGFkZQAAAAAAAAAAAAhJc0ZpbGxlZAABAlBhdHRlcm4AEAAAAG1zb1BhdHRlcm5NaXhlZAACU2hhcGVUeXBlAA4AAABtc29TaGFwZU1peGVkAANMYWJlbE9mZnNldABCAAAAAVgAAAAAAAAAAAABWQAAAAAAAAAAAAFMZW5ndGgAAAAAAAAAAAABTGVuZ3RoU3F1YXJlZAAAAAAAAAAAAAAISXNGb250Qm9sZAAACElzRm9udEl0YWxpYwAACElzRm9udFVuZGVybGluZWQAAAhMYWJlbEhhc0JhY2tncm91bmQAAAJUZXh0QWxpZ25tZW50AAUAAABMZWZ0AAAIRGlzcGxheUxhYmVsAAEDUmVuZGVySW5mbwDzFgAAA1JlY3RhbmdsZUZyZWVmb3JtAPwIAAAEVmVydGljZXMAmwIAAAMwACwAAAAQSW5kZXgwAAAAAAAQSW5kZXgxAAAAAAABVmFsdWUAAAAAwFp+h0AAAzEALAAAABBJbmRleDAAAAAAABBJbmRleDEAAQAAAAFWYWx1ZQAAAAAADh5/QAADMgAsAAAAEEluZGV4MAABAAAAEEluZGV4MQAAAAAAAVZhbHVlAAAAAMBafodAAAMzACwAAAAQSW5kZXgwAAEAAAAQSW5kZXgxAAEAAAABVmFsdWUAAAAAgNl+f0AAAzQALAAAABBJbmRleDAAAgAAABBJbmRleDEAAAAAAAFWYWx1ZQAAAADAWn6HQAADNQAsAAAAEEluZGV4MAACAAAAEEluZGV4MQABAAAAAVZhbHVlAAAAAOCk339AAAM2ACwAAAAQSW5kZXgwAAMAAAAQSW5kZXgxAAAAAAABVmFsdWUAAAAAAHzBiEAAAzcALAAAABBJbmRleDAAAwAAABBJbmRleDEAAQAAAAFWYWx1ZQAAAADgpN9/QAADOAAsAAAAEEluZGV4MAAEAAAAEEluZGV4MQAAAAAAAVZhbHVlAAAAAAB8wYhAAAM5ACwAAAAQSW5kZXgwAAQAAAAQSW5kZXgxAAEAAAABVmFsdWUAAAAAgNl+f0AAAzEwACwAAAAQSW5kZXgwAAUAAAAQSW5kZXgxAAAAAAABVmFsdWUAAAAAAHzBiEAAAzExACwAAAAQSW5kZXgwAAUAAAAQSW5kZXgxAAEAAAABVmFsdWUAAAAAAA4ef0AAAzEyACwAAAAQSW5kZXgwAAYAAAAQSW5kZXgxAAAAAAABVmFsdWUAAAAAwFp+h0AAAzEzACwAAAAQSW5kZXgwAAYAAAAQSW5kZXgxAAEAAAABVmFsdWUAAAAAAA4ef0AAAAVNYW5hZ2VkSWQAEAAAAARunyT7XLyaTqKCeFCYAnX6CEhhc0NoYW5nZXMAAAhVc2VOYW1lSW5zdGVhZE9mVGFnQXNJZAAACFNoYXBlUHJldmlvdXNseUNyZWF0ZTwBAAAFOwEAAD8BAADnDwAAAAAAAAAAAABkAAADRmlsbENvbG9yAFUAAAAQQQD/AAAAEFIAmQAAABBHANMAAAAQQgDyAAAAAVNjQQAAAAAAAADwPwFTY1IAAAAAIBJj1D8BU2NHAAAAAKBQ2OQ/AVNjQgAAAADA3WnsP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MDdMihAAVdpZHRoAAAAAIAUMkRAAVRvcAAAAAAADh5/QAFMZWZ0AAAAAMBafodACEZsaXBIb3Jpem9udGFsbHkAAAhGbGlwSG9yaXpvbnRhbGx5QXBwbGllZAAACEZsaXBWZXJ0aWNhbGx5AAAIRmxpcFZlcnRpY2FsbHlBcHBsaWVkAAABUm90YXRpb24AAAAAAAAAAAABWk9yZGVyAAAAAAAAgFFAA0JvcmRlckNvbG9yAFUAAAAQQQD/AAAAEFIA/wAAABBHAP8AAAAQQgD/AAAAAVNjQQAAAAAAAADwPwFTY1IAAAAAAAAA8D8BU2NHAAAAAAAAAPA/AVNjQgAAAAAAAADwPwAQQm9yZGVyVGhlbWVDb2xvcgAAAAAAAUJvcmRlclRpbnRBbmRTaGFkZQAAAAAAAAAAABBCb3JkZXJTY2hlbWVDb2xvcgAAAAAAAUJvcmRlclRoaWNrbmVzcwAAAAAAAADw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CYXJTdHlsZURhdGEAJgAAAAJCYXJTdHlsZVNoYXBlVHlwZQAKAAAAUmVjdGFuZ2xlAAADTGFiZWwAsAYAAAVNYW5hZ2VkSWQAEAAAAATBBaTQNSa1TITZxB2sKr5dCEhhc0NoYW5nZXMAAAhVc2VOYW1lSW5zdGVhZE9mVGFnQXNJZAAACFNoYXBlUHJldmlvdXNseUNyZWF0ZWQAAQNGaWxsQ29sb3IAVQAAABBBAP8AAAAQUgCZAAAAEEcA0wAAABBCAPIAAAABU2NBAAAAAAAAAPA/AVNjUgAAAAAgEmPUPwFTY0cAAAAAoFDY5D8BU2NCAAAAAMDdaew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QADQAAAENvbmVjdGl2aWRhZAACVGV4dEhvcml6b250YWxBbGlnbm1lbnQADgAAAG1zb0FuY2hvck5vbmUAAlBhcmFncmFwaEFsaWdubWVudAAPAAAAbXNvQWxpZ25DZW50ZXIAAlRleHRWZXJ0aWNhbEFsaWdubWVudAAQAAAAbXNvQW5jaG9yTWlkZGxlAANGb250U3R5bGUAQAEAABBGb250QmFja2dyb3VuZAAAAAAACEZvbnRCb2xkAAADRm9udENvbG9yAFUAAAAQQQD/AAAAEFIAEAAAABBHADgAAAAQQgBPAAAAAVNjQQAAAAAAAADwPwFTY1IAAAAA4DY5dT8BU2NHAAAAAIBnP6Q/AVNjQgAAAABgFwS0PwAQRm9udFRoZW1lQ29sb3IAAAAAAAFGb250VGludEFuZFNoYWRlAAAAAAAAAAAAEEZvbnRTY2hlbWVDb2xvcgAAAAAACEZvbnRJdGFsaWMAAAJGb250TmFtZQAGAAAAQXJpYWwAAUZvbnRTaXplAAAAAAAAACBACEZvbnRTdHJpa2V0aHJvdWdoAAAIRm9udFN1YnNjcmlwdAAACEZvbnRTdXBlcnNjcmlwdAAACEZvbnRVbmRlcmxpbmUAAAAIU2l6ZVRvVGV4dFdpZHRoAAAIU2l6ZVRvVGV4dEhlaWdodAAAA1RleHRNYXJnaW4APwAAAAFMZWZ0AAAAAAAAAAAAAVRvcAAAAAAAAAAAAAFSaWdodAAAAAAAAAAAAAFCb3R0b20AAAAAAAAAAAAAAkRpc3BsYXlUZXh0AA0AAABDb25lY3RpdmlkYWQAAUhlaWdodAAAAAAAFlwjQAFXaWR0aAAAAABAbWBHQAFUb3AAAAAAIGkxf0ABTGVmdAAAAADgU/CFQAhGbGlwSG9yaXpvbnRhbGx5AAAIRmxpcEhvcml6b250YWxseUFwcGxpZWQAAAhGbGlwVmVydGljYWxseQAACEZsaXBWZXJ0aWNhbGx5QXBwbGllZAAAAVJvdGF0aW9uAAAAAAAAAAAAAVpPcmRlcgAAAAAAAABS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Q29ubmVjdG9yTGluZURhdGEA4QYAAANTdGFydAAbAAAAAVgAAAAAwFp+h0ABWQAAAAAADh5/QAADRW5kABsAAAABWAAAAADAWn6HQAFZAAAAAAAOHn9AAAJTdGFydEFycm93SGVhZAARAAAAbXNvQXJyb3doZWFkTm9uZQACRW5kQXJyb3dIZWFkABEAAABtc29BcnJvd2hlYWROb25lAAVNYW5hZ2VkSWQAEAAAAASPJzu7LcueS61qBqFKfX5UCEhhc0NoYW5nZXMAAAhVc2VOYW1lSW5zdGVhZE9mVGFnQXNJZAAACFNoYXBlUHJldmlvdXNseUNyZWF0ZWQAAA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AAkZpbGxQYXR0ZXJuABAAAABtc29QYXR0ZXJuTWl4ZWQAAlRleHRIb3Jpem9udGFsQWxpZ25tZW50AA4AAABtc29BbmNob3JOb25lAAJQYXJhZ3JhcGhBbGlnbm1lbnQAAgAAADAAAlRleHRWZXJ0aWNhbEFsaWdubWVudAANAAAAbXNvQW5jaG9yVG9wAANGb250U3R5bGUALAEAABBGb250QmFja2dyb3VuZAAAAAAACEY9AQAABTcBAAA+AQAA5w8AAAAAAAAAAAAA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AAAAAAAAVdpZHRoAAAAAAAAAAAAAVRvcAAAAAAADh5/QAFMZWZ0AAAAAMBafodACEZsaXBIb3Jpem9udGFsbHkAAAhGbGlwSG9yaXpvbnRhbGx5QXBwbGllZAAACEZsaXBWZXJ0aWNhbGx5AAAIRmxpcFZlcnRpY2FsbHlBcHBsaWVkAAABUm90YXRpb24AAAAAAAAAAAABWk9yZGVyAAAAAAAAwFFAA0JvcmRlckNvbG9yAFUAAAAQQQD/AAAAEFIAmQAAABBHANMAAAAQQgDyAAAAAVNjQQAAAAAAAADwPwFTY1IAAAAAIBJj1D8BU2NHAAAAAKBQ2OQ/AVNjQgAAAADA3WnsPw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AJRW5kVGltZQAAtx6IkQEAABBJbmRleAABAAAAAkRlc2NyaXB0aW9uAA0AAABDb25lY3RpdmlkYWQAAk5hbWUABQAAAFRhc2sACElzTGVhZGVyTGluZUluQXV0b01vZGUAAQlTdGFydFRpbWUAADMSZJEBAAAAAzEA/hkAAAJfdHlwZQBNAAAAZW1wb3dlci5DaGFydHMuRGF0YS5HYW50dC5DaHJvbm9sb2d5LkRhdGEuTWlsZXN0b25lRGF0YSwgZW1wb3dlci5DaGFydHMuRGF0YQADU3R5bGUAdgQAAAFEZWZhdWx0Rm9udFNpemUAAAAAAAAAJEABRm9udFNpemUAAAAAAAAAIEADRm9udENvbG9yAFUAAAAQQQD/AAAAEFIAEAAAABBHADgAAAAQQgBPAAAAAVNjQQAAAAAAAADwPwFTY1IAAAAA4DY5dT8BU2NHAAAAAIBnP6Q/AVNjQgAAAABgFwS0PwAQRm9udFRoZW1lQ29sb3IAAAAAABBGb250U2NoZW1lQ29sb3IAAAAAAAFGb250VGludEFuZFNoYWRlAAAAAAAAAAAAA1BhdHRlcm5Db2xvcgBVAAAAEEEAAAAAABBSAAAAAAAQRwAAAAAAEEIAAAAAAAFTY0EAAAAAAAAAAAABU2NSAAAAAAAAAAAAAVNjRwAAAAAAAAAAAAFTY0IAAAAAAAAAAAAAEFBhdHRlcm5UaGVtZUNvbG9yAAAAAAABUGF0dGVyblRpbnRBbmRTaGFkZQAAAAAAAAAAAANEYXRhU3R5bGVGb250Q29sb3JWYWx1ZQBVAAAAEEEAAAAAABBSAAAAAAAQRwAAAAAAEEIAAAAAAAFTY0EAAAAAAAAAAAABU2NSAAAAAAAAAAAAAVNjRwAAAAAAAAAAAAFTY0IAAAAAAAAAAAAACERhdGFTdHlsZUZvbnRDb2xvckhhc1ZhbHVlAAABSGVpZ2h0AAAAAODdMihAAkRhc2hTdHlsZQANAAAAbXNvTGluZVNvbGlkAAhIYXNXaXNoRmlsbENvbG9yAAADRmlsbENvbG9yAFUAAAAQQQD/AAAAEFIAAAAAABBHAJEAAAAQQgDfAAAAAVNjQQAAAAAAAADwPwFTY1IAAAAAAAAAAAABU2NHAAAAAAAcH9I/AVNjQgAAAABg9pznPwAQRmlsbFNjaGVtZUNvbG9yAAAAAAAQRmlsbFRoZW1lQ29sb3IAAAAAAAFGaWxsVGludEFuZFNoYWRlAAAAAAAAAAAAA0JvcmRlckNvbG9yAFUAAAAQQQD/AAAAEFIA/wAAABBHAP8AAAAQQgD/AAAAAVNjQQAAAAAAAADwPwFTY1IAAAAAAAAA8D8BU2NHAAAAAAAAAPA/AVNjQgAAAAAAAADwPwAQQm9yZGVyVGhlbWVDb2xvcgAAAAAAAUJvcmRlclRpbnRBbmRTaGFkZQAAAAAAAAAAAAhJc0ZpbGxlZAABAlBhdHRlcm4AEAAAAG1zb1BhdHRlcm5NaXhlZAACU2hhcGVUeXBlABAAAABtc29TaGFwZURpYW1vbmQAA0xhYmVsT2Zmc2V0AEIAAAABWADEILByaF1hwAFZABDEtmOQsjPAAUxlbmd0aAD2Wplk34lhQAFMZW5ndGhTcXVhcmVkACuqj8OeOdNAAAFCb3JkZXJUaGlja25lc3MAAAAAAAAA8D8ISXNGb250Qm9sZAAACElzRm9udEl0YWxpYwAACElzRm9udFVuZGVybGluZWQAAAhMYWJlbEhhc0JhY2tncm91bmQAAAJUZXh0QWxpZ25tZW50AAUAAABMZWZ0AAAIRGlzcGxheUxhYmVsAAEITGFiZWxIYXNCYWNrZ3JvdW5kAAADUmVuZGVySW5mbwBNFAAAA1N5bWJvbAByBgAAAkF1dG9TaGFwZVR5cGUACAAAAERpYW1vbmQABU1hbmFnZWRJZAAQAAAABBTOZryy0Y9Im2QttV8MtRAISGFzQ2hhbmdlcwAACFVzZU5hbWVJbnN0ZWFkT2ZUYWdBc0lkAAAIU2hhcGVQcmV2aW91c2x5Q3JlYXRlZAAAA0ZpbGxDb2xvcgBVAAAAEEEA/wAAABBSAAAAAAAQRwCRAAAAEEIA3wAAAAFTY0EAAAAAAAAA8D8BU2NSAAAAAAAAAAAAAVNjRwAAAAAAHB/SPwFTY0IAAAAAYPac5z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DA3TIoQAFXaWR0aAAAAADA3TIoQAFUb3AAAAAAAA4ef0ABTGVmdAAAAABAFpGIQAhGbGlwSG9yaXpvbnRhbGx5AAAIRmxpcEhvcml6b250YWxseUFwcGxpZWQAAAhGbGlwVmVydGljYWxseQAACEZsaXBWZXJ0aWNhbGx5QXBwbGllZAAAAVJvdGF0aW9uAAAAAAAAAAAAAVpPcmRlcgAAAAAAAIBUQANCb3JkZXJDb2xvcgBVAAAAEEEA/wAAABBSAP8AAAAQRwD/AAAAEEIA/wAAAAFTY0EAAAAAAAAA8D8BU2NSAAAAAAAAAPA/AVNjRwAAAAAAAADwPwFTY0IAAAAAAAAA8D8AEEJvcmRlclRoZW1lQ29sb3IAAAAAAAFCb3JkZXJUaW50QW5kU2hhZGUAAAAAAAAAAAAQQm9yZGVyU2NoZW1lQ29sb3IAAAAAAAFCb3JkZXJUaGlja25lc3MAAAAAAAAA8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PgEAAAU9AQAAQQEAAOcPAAAAAAAAAAAAAGUAAAAAAAAAAAABU3BhY2VXaXRoaW4AAAAAAAAAAAAAA0xhYmVsANcGAAAFTWFuYWdlZElkABAAAAAEidbUWDStwUuC2KMTflpydwhIYXNDaGFuZ2VzAAAIVXNlTmFtZUluc3RlYWRPZlRhZ0FzSWQAAAhTaGFwZVByZXZpb3VzbHlDcmVhdGVkAAEDRmlsbENvbG9yAFUAAAAQQQD/AAAAEFIAAAAAABBHAJEAAAAQQgDfAAAAAVNjQQAAAAAAAADwPwFTY1IAAAAAAAAAAAABU2NHAAAAAAAcH9I/AVNjQgAAAABg9pznP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ACcAAAA44oCLLzI1LzIwMuKAizQgSW50ZXJmYXogRk1EQSAtIE9FRSBEQQACVGV4dEhvcml6b250YWxBbGlnbm1lbnQADgAAAG1zb0FuY2hvck5vbmUAAlBhcmFncmFwaEFsaWdubWVudAACAAAAMAACVGV4dFZlcnRpY2FsQWxpZ25tZW50ABAAAABtc29BbmNob3JNaWRkbGUAA0ZvbnRTdHlsZQBAAQAAEEZvbnRCYWNrZ3JvdW5kAAAAAAAIRm9udEJvbGQAAANGb250Q29sb3IAVQAAABBBAP8AAAAQUgAQAAAAEEcAOAAAABBCAE8AAAABU2NBAAAAAAAAAPA/AVNjUgAAAADgNjl1PwFTY0cAAAAAgGc/pD8BU2NCAAAAAGAXBLQ/ABBGb250VGhlbWVDb2xvcgAAAAAAAUZvbnRUaW50QW5kU2hhZGUAAAAAAAAAAAAQRm9udFNjaGVtZUNvbG9yAAAAAAAIRm9udEl0YWxpYwAAAkZvbnROYW1lAAYAAABBcmlhbAABRm9udFNpemUAAAAAAAAAIEAIRm9udFN0cmlrZXRocm91Z2gAAAhGb250U3Vic2NyaXB0AAAIRm9udFN1cGVyc2NyaXB0AAAIRm9udFVuZGVybGluZQAAAAhTaXplVG9UZXh0V2lkdGgAAAhTaXplVG9UZXh0SGVpZ2h0AAADVGV4dE1hcmdpbgA/AAAAAUxlZnQAAAAAAAAAAAABVG9wAAAAAAAAAAAAAVJpZ2h0AAAAAAAAAAAAAUJvdHRvbQAAAAAAAAAAAAACRGlzcGxheVRleHQAJwAAADjigIsvMjUvMjAy4oCLNCBJbnRlcmZheiBGTURBIC0gT0VFIERBAAFIZWlnaHQAAAAA4LFLJUABV2lkdGgAAAAAgGhdYUABVG9wAAAAAICwQ35AAUxlZnQAAAAA4CFqhEAIRmxpcEhvcml6b250YWxseQAACEZsaXBIb3Jpem9udGFsbHlBcHBsaWVkAAAIRmxpcFZlcnRpY2FsbHkAAAhGbGlwVmVydGljYWxseUFwcGxpZWQAAAFSb3RhdGlvbgAAAAAAAAAAAAFaT3JkZXIAAAAAAADAVE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Nvbm5lY3RvckxpbmUA4QYAAANTdGFydAAbAAAAAVgAAAAAQBaRiEABWQAAAAAADh5/QAADRW5kABsAAAABWAAAAABAFpGIQAFZAAAAAAAOHn9AAAJTdGFydEFycm93SGVhZAARAAAAbXNvQXJyb3doZWFkTm9uZQACRW5kQXJyb3dIZWFkABEAAABtc29BcnJvd2hlYWROb25lAAVNYW5hZ2VkSWQAEAAAAARBMgxRbFYbQYdSWvfX08ZZCEhhc0NoYW5nZXMAAAhVc2VOYW1lSW5zdGVhZE9mVGFnQXNJZAAACFNoYXBlUHJldmlvdXNseUNyZWF0ZWQAAA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A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AAAAAAABVG9wAAAAAAAOHn9AAUxlZnQAAAAAQBaRiEAIRmxpcEhvcml6b250YWxseQAACEZsaXBIb3Jpem9udGFsbHlBcHBsaWVkAAAIRmxpcFZlcnRpY2FsbHkAAAhGbGlwVmVydGljYWxseUFwcGxpZWQAAAFSb3RhdGlvbgAAAAAAAAAAAAFaT3JkZXIAAAAAAABAVEADQm9yZGVyQ29sb3IAVQAAABBBAP8AAAAQUgAAAAAAEEcAkQAAABBCAN8AAAABU2NBAAAAAAAAAPA/AVNjUgAAAAAAAAAAAAFTY0cAAAAAABwf0j8BU2NCAAAAAGD2nOc/ABBCb3JkZXJUaGVtZUNvbG9yAAAAAAABQm9yZGVyVGludEFuZFNoYWRlAAAAAAAAAAAAEEJvcmRlclNjaGVtZUNvbG9yAAAAAAABQm9yZGVyVGhpY2tuZXNzAAAAAAAAAOA/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AJNaWxlc3RvbmVMYWJlbFBvc2l0aW9uAAgAAABUb3BMZWZ0ABBJbmRleAACAAAAAkRlc2NyaXB0aW9uACcAAAA44oCLLzI1LzIwMuKAizQgSW50ZXJmYXogRk1EQSAtIE9FRSBEQQACTmFtZQAKAAAATWlsZXN0b25lAAhJc0xlYWRlckxpbmVJbkF1dG9Nb2RlAAEJU3RhcnRUaW1lAAC3HoiRAQAAAAMyAAscAAACX3R5cGUASwAAAGVtcG93ZXIuQ2hhcnRzLkRhdGEuR2FudHQuQ2hyb25vbG9neS5EYXRhLkJhclRhc2tEYXRhLCBlbXBvd2VyLkNoYXJ0cy5EYXRhAAJMYWJlbFBvc2l0aW9uAAcAAABDZW50ZXIACElzTGFiZWxJbnNpZGVCb3VuZHMAAANTdHlsZQBbBAAAAURlZmF1bHRGb250U2l6ZQAAAAAAAAAkQAFGb250U2l6ZQAAAAAAAAAkQANGb250Q29sb3IAVQAAABBBAP8AAAAQUgAQAAAAEEcAOAAAABBCAE8AAAABU2NBAAAAAAAAAPA/AVNjUgAAAADgNjl1PwFTY0cAAAAAgGc/pD8BU2NCAAAAAGAXBLQ/ABBGb250VGhlbWVDb2xvcgAAAAAAEEZvbnRTY2hlbWVDb2xvcgAAAAAAAUZvbj8BAAAFPAEAAEABAADnDwAAAAAAAAAAAAB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AAAAAAABVG9wAAAAAAAOHn9AAUxlZnQAAAAAwFp+h0AIRmxpcEhvcml6b250YWxseQAACEZsaXBIb3Jpem9udGFsbHlBcHBsaWVkAAAIRmxpcFZlcnRpY2FsbHkAAAhGbGlwVmVydGljYWxseUFwcGxpZWQAAAFSb3RhdGlvbgAAAAAAAAAAAAFaT3JkZXIAAAAAAADAUUADQm9yZGVyQ29sb3IAVQAAABBBAP8AAAAQUgCZAAAAEEcA0wAAABBCAPIAAAABU2NBAAAAAAAAAPA/AVNjUgAAAAAgEmPUPwFTY0cAAAAAoFDY5D8BU2NCAAAAAMDdaew/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AlFbmRUaW1lAAC3HoiRAQAAEEluZGV4AAEAAAACRGVzY3JpcHRpb24ADQAAAENvbmVjdGl2aWRhZAACTmFtZQAFAAAAVGFzawAISXNMZWFkZXJMaW5lSW5BdXRvTW9kZQABCVN0YXJ0VGltZQAAMxJkkQEAAAADMQD+GQAAAl90eXBlAE0AAABlbXBvd2VyLkNoYXJ0cy5EYXRhLkdhbnR0LkNocm9ub2xvZ3kuRGF0YS5NaWxlc3RvbmVEYXRhLCBlbXBvd2VyLkNoYXJ0cy5EYXRhAANTdHlsZQB2BAAAAURlZmF1bHRGb250U2l6ZQAAAAAAAAAkQAFGb250U2l6ZQAAAAAAAAAgQANGb250Q29sb3IAVQAAABBBAP8AAAAQUgAQAAAAEEcAOAAAABBCAE8AAAABU2NBAAAAAAAAAPA/AVNjUgAAAADgNjl1PwFTY0cAAAAAgGc/pD8BU2NCAAAAAGAXBLQ/ABBGb250VGhlbWVDb2xvcgAAAAAAEEZvbnRTY2hlbWVDb2xvcgAAAAAAAUZvbnRUaW50QW5kU2hhZGUAAAAAAAAAAAADUGF0dGVybkNvbG9yAFUAAAAQQQAAAAAAEFIAAAAAABBHAAAAAAAQQgAAAAAAAVNjQQAAAAAAAAAAAAFTY1IAAAAAAAAAAAABU2NHAAAAAAAAAAAAAVNjQgAAAAAAAAAAAAAQUGF0dGVyblRoZW1lQ29sb3IAAAAAAAFQYXR0ZXJuVGludEFuZFNoYWRlAAAAAAAAAAAAA0RhdGFTdHlsZUZvbnRDb2xvclZhbHVlAFUAAAAQQQAAAAAAEFIAAAAAABBHAAAAAAAQQgAAAAAAAVNjQQAAAAAAAAAAAAFTY1IAAAAAAAAAAAABU2NHAAAAAAAAAAAAAVNjQgAAAAAAAAAAAAAIRGF0YVN0eWxlRm9udENvbG9ySGFzVmFsdWUAAAFIZWlnaHQAAAAA4N0yKEACRGFzaFN0eWxlAA0AAABtc29MaW5lU29saWQACEhhc1dpc2hGaWxsQ29sb3IAAANGaWxsQ29sb3IAVQAAABBBAP8AAAAQUgAAAAAAEEcAkQAAABBCAN8AAAABU2NBAAAAAAAAAPA/AVNjUgAAAAAAAAAAAAFTY0cAAAAAABwf0j8BU2NCAAAAAGD2nOc/ABBGaWxsU2NoZW1lQ29sb3IAAAAAABBGaWxsVGhlbWVDb2xvcgAAAAAAAUZpbGxUaW50QW5kU2hhZGUAAAAAAAAAAAADQm9yZGVyQ29sb3IAVQAAABBBAP8AAAAQUgD/AAAAEEcA/wAAABBCAP8AAAABU2NBAAAAAAAAAPA/AVNjUgAAAAAAAADwPwFTY0cAAAAAAAAA8D8BU2NCAAAAAAAAAPA/ABBCb3JkZXJUaGVtZUNvbG9yAAAAAAABQm9yZGVyVGludEFuZFNoYWRlAAAAAAAAAAAACElzRmlsbGVkAAECUGF0dGVybgAQAAAAbXNvUGF0dGVybk1peGVkAAJTaGFwZVR5cGUAEAAAAG1zb1NoYXBlRGlhbW9uZAADTGFiZWxPZmZzZXQAQgAAAAFYAMQgsHJoXWHAAVkAEMS2Y5CyM8ABTGVuZ3RoAPZamWTfiWFAAUxlbmd0aFNxdWFyZWQAK6qPw54500AAAUJvcmRlclRoaWNrbmVzcwAAAAAAAADwPwhJc0ZvbnRCb2xkAAAISXNGb250SXRhbGljAAAISXNGb250VW5kZXJsaW5lZAAACExhYmVsSGFzQmFja2dyb3VuZAAAAlRleHRBbGlnbm1lbnQABQAAAExlZnQAAAhEaXNwbGF5TGFiZWwAAQhMYWJlbEhhc0JhY2tncm91bmQAAANSZW5kZXJJbmZvAE0UAAADU3ltYm9sAHIGAAACQXV0b1NoYXBlVHlwZQAIAAAARGlhbW9uZAAFTWFuYWdlZElkABAAAAAEFM5mvLLRj0ibZC21Xwy1EAhIYXNDaGFuZ2VzAAAIVXNlTmFtZUluc3RlYWRPZlRhZ0FzSWQAAAhTaGFwZVByZXZpb3VzbHlDcmVhdGVkAAADRmlsbENvbG9yAFUAAAAQQQD/AAAAEFIAAAAAABBHAJEAAAAQQgDfAAAAAVNjQQAAAAAAAADwPwFTY1IAAAAAAAAAAAABU2NHAAAAAAAcH9I/AVNjQgAAAABg9pznP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MDdMihAAVdpZHRoAAAAAMDdMihAAVRvcAAAAAAADh5/QAFMZWZ0AAAAAEAWkYhACEZsaXBIb3Jpem9udGFsbHkAAAhGbGlwSG9yaXpvbnRhbGx5QXBwbGllZAAACEZsaXBWZXJ0aWNhbGx5AAAIRmxpcFZlcnRpY2FsbHlBcHBsaWVkAAABUm90YXRpb24AAAAAAAAAAAABWk9yZGVyAAAAAAAAgFRAA0JvcmRlckNvbG9yAFUAAAAQQQD/AAAAEFIA/wAAABBHAP8AAAAQQgD/AAAAAVNjQQAAAAAAAADwPwFTY1IAAAAAAAAA8D8BU2NHAAAAAAAAAPA/AVNjQgAAAAAAAADwPwAQQm9yZGVyVGhlbWVDb2xvcgAAAAAAAUJvcmRlclRpbnRBbmRTaGFkZQAAAAAAAAAAABBCb3JkZXJTY2hlbWVDb2xvcgAAAAAAAUJvcmRlclRoaWNrbmVzcwAAAAAAAADw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BAAQAABT8BAABDAQAA5w8AAAAAAAAAAAAAAAAAAAAAAAADTGFiZWwA1wYAAAVNYW5hZ2VkSWQAEAAAAASJ1tRYNK3BS4LYoxN+WnJ3CEhhc0NoYW5nZXMAAAhVc2VOYW1lSW5zdGVhZE9mVGFnQXNJZAAACFNoYXBlUHJldmlvdXNseUNyZWF0ZWQAAQNGaWxsQ29sb3IAVQAAABBBAP8AAAAQUgAAAAAAEEcAkQAAABBCAN8AAAABU2NBAAAAAAAAAPA/AVNjUgAAAAAAAAAAAAFTY0cAAAAAABwf0j8BU2NCAAAAAGD2nO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QAJwAAADjigIsvMjUvMjAy4oCLNCBJbnRlcmZheiBGTURBIC0gT0VFIERBAAJUZXh0SG9yaXpvbnRhbEFsaWdubWVudAAOAAAAbXNvQW5jaG9yTm9uZQACUGFyYWdyYXBoQWxpZ25tZW50AAIAAAAwAAJUZXh0VmVydGljYWxBbGlnbm1lbnQAEAAAAG1zb0FuY2hvck1pZGRsZQADRm9udFN0eWxlAEABAAAQRm9udEJhY2tncm91bmQAAAAAAAhGb250Qm9sZAAAA0ZvbnRDb2xvcgBVAAAAEEEA/wAAABBSABAAAAAQRwA4AAAAEEIATwAAAAFTY0EAAAAAAAAA8D8BU2NSAAAAAOA2OXU/AVNjRwAAAACAZz+kPwFTY0IAAAAAYBcEtD8AEEZvbnRUaGVtZUNvbG9yAAAAAAABRm9udFRpbnRBbmRTaGFkZQAAAAAAAAAAABBGb250U2NoZW1lQ29sb3IAAAAAAAhGb250SXRhbGljAAACRm9udE5hbWUABgAAAEFyaWFsAAFGb250U2l6ZQAAAAAAAAAgQAhGb250U3RyaWtldGhyb3VnaAAACEZvbnRTdWJzY3JpcHQAAAhGb250U3VwZXJzY3JpcHQAAAhGb250VW5kZXJsaW5lAAAACFNpemVUb1RleHRXaWR0aAAACFNpemVUb1RleHRIZWlnaHQAAANUZXh0TWFyZ2luAD8AAAABTGVmdAAAAAAAAAAAAAFUb3AAAAAAAAAAAAABUmlnaHQAAAAAAAAAAAABQm90dG9tAAAAAAAAAAAAAAJEaXNwbGF5VGV4dAAnAAAAOOKAiy8yNS8yMDLigIs0IEludGVyZmF6IEZNREEgLSBPRUUgREEAAUhlaWdodAAAAADgsUslQAFXaWR0aAAAAACAaF1hQAFUb3AAAAAAgLBDfkABTGVmdAAAAADgIWqEQAhGbGlwSG9yaXpvbnRhbGx5AAAIRmxpcEhvcml6b250YWxseUFwcGxpZWQAAAhGbGlwVmVydGljYWxseQAACEZsaXBWZXJ0aWNhbGx5QXBwbGllZAAAAVJvdGF0aW9uAAAAAAAAAAAAAVpPcmRlcgAAAAAAAMBU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Q29ubmVjdG9yTGluZQDhBgAAA1N0YXJ0ABsAAAABWAAAAABAFpGIQAFZAAAAAAAOHn9AAANFbmQAGwAAAAFYAAAAAEAWkYhAAVkAAAAAAA4ef0AAAlN0YXJ0QXJyb3dIZWFkABEAAABtc29BcnJvd2hlYWROb25lAAJFbmRBcnJvd0hlYWQAEQAAAG1zb0Fycm93aGVhZE5vbmUABU1hbmFnZWRJZAAQAAAABEEyDFFsVhtBh1Ja99fTxlkISGFzQ2hhbmdlcwAACFVzZU5hbWVJbnN0ZWFkT2ZUYWdBc0lkAAAIU2hhcGVQcmV2aW91c2x5Q3JlYXRlZAAA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A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AAAAAAAAFUb3AAAAAAAA4ef0ABTGVmdAAAAABAFpGIQAhGbGlwSG9yaXpvbnRhbGx5AAAIRmxpcEhvcml6b250YWxseUFwcGxpZWQAAAhGbGlwVmVydGljYWxseQAACEZsaXBWZXJ0aWNhbGx5QXBwbGllZAAAAVJvdGF0aW9uAAAAAAAAAAAAAVpPcmRlcgAAAAAAAEBUQANCb3JkZXJDb2xvcgBVAAAAEEEA/wAAABBSAAAAAAAQRwCRAAAAEEIA3wAAAAFTY0EAAAAAAAAA8D8BU2NSAAAAAAAAAAAAAVNjRwAAAAAAHB/SPwFTY0IAAAAAYPac5z8AEEJvcmRlclRoZW1lQ29sb3IAAAAAAAFCb3JkZXJUaW50QW5kU2hhZGUAAAAAAAAAAAAQQm9yZGVyU2NoZW1lQ29sb3IAAAAAAAFCb3JkZXJUaGlja25lc3MAAAAAAAAA4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AAk1pbGVzdG9uZUxhYmVsUG9zaXRpb24ACAAAAFRvcExlZnQAEEluZGV4AAIAAAACRGVzY3JpcHRpb24AJwAAADjigIsvMjUvMjAy4oCLNCBJbnRlcmZheiBGTURBIC0gT0VFIERBAAJOYW1lAAoAAABNaWxlc3RvbmUACElzTGVhZGVyTGluZUluQXV0b01vZGUAAQlTdGFydFRpbWUAALceiJEBAAAAAzIACxwAAAJfdHlwZQBLAAAAZW1wb3dlci5DaGFydHMuRGF0YS5HYW50dC5DaHJvbm9sb2d5LkRhdGEuQmFyVGFza0RhdGEsIGVtcG93ZXIuQ2hhcnRzLkRhdGEAAkxhYmVsUG9zaXRpb24ABwAAAENlbnRlcgAISXNMYWJlbEluc2lkZUJvdW5kcwAAA1N0eWxlAFsEAAABRGVmYXVsdEZvbnRTaXplAAAAAAAAACRAAUZvbnRTaXplAAAAAAAAACRAA0ZvbnRDb2xvcgBVAAAAEEEA/wAAABBSABAAAAAQRwA4AAAAEEIATwAAAAFTY0EAAAAAAAAA8D8BU2NSAAAAAOA2OXU/AVNjRwAAAACAZz+kPwFTY0IAAAAAYBcEtD8AEEZvbnRUaGVtZUNvbG9yAAAAAAAQRm9udFNjaGVtZUNvbG9yAAAAAAABRm9udFRpbnRBbmRTaGFkZQAAAAAAAAAAAANQQQEAAAU+AQAAQgEAAOcPAAAAAAAAAAAAAHRUaW50QW5kU2hhZGUAAAAAAAAAAAADUGF0dGVybkNvbG9yAFUAAAAQQQAAAAAAEFIAAAAAABBHAAAAAAAQQgAAAAAAAVNjQQAAAAAAAAAAAAFTY1IAAAAAAAAAAAABU2NHAAAAAAAAAAAAAVNjQgAAAAAAAAAAAAAQUGF0dGVyblRoZW1lQ29sb3IAAAAAAAFQYXR0ZXJuVGludEFuZFNoYWRlAAAAAAAAAAAAA0RhdGFTdHlsZUZvbnRDb2xvclZhbHVlAFUAAAAQQQAAAAAAEFIAAAAAABBHAAAAAAAQQgAAAAAAAVNjQQAAAAAAAAAAAAFTY1IAAAAAAAAAAAABU2NHAAAAAAAAAAAAAVNjQgAAAAAAAAAAAAAIRGF0YVN0eWxlRm9udENvbG9ySGFzVmFsdWUAAAFIZWlnaHQAAAAA4N0yKEACRGFzaFN0eWxlAA0AAABtc29MaW5lU29saWQACEhhc1dpc2hGaWxsQ29sb3IAAANGaWxsQ29sb3IAVQAAABBBAP8AAAAQUgCZAAAAEEcA0wAAABBCAPIAAAABU2NBAAAAAAAAAPA/AVNjUgAAAAAgEmPUPwFTY0cAAAAAoFDY5D8BU2NCAAAAAMDdaew/ABBGaWxsU2NoZW1lQ29sb3IAAAAAABBGaWxsVGhlbWVDb2xvcgAAAAAAAUZpbGxUaW50QW5kU2hhZGUAAAAAAAAAAAADQm9yZGVyQ29sb3IAVQAAABBBAAAAAAAQUgAAAAAAEEcAAAAAABBCAAAAAAABU2NBAAAAAAAAAAAAAVNjUgAAAAAAAAAAAAFTY0cAAAAAAAAAAAABU2NCAAAAAAAAAAAAABBCb3JkZXJUaGVtZUNvbG9yAAAAAAABQm9yZGVyVGludEFuZFNoYWRlAAAAAAAAAAAACElzRmlsbGVkAAECUGF0dGVybgAQAAAAbXNvUGF0dGVybk1peGVkAAJTaGFwZVR5cGUADgAAAG1zb1NoYXBlTWl4ZWQAA0xhYmVsT2Zmc2V0AEIAAAABWAAAAAAAAAAAAAFZAAAAAAAAAAAAAUxlbmd0aAAAAAAAAAAAAAFMZW5ndGhTcXVhcmVkAAAAAAAAAAAAAAhJc0ZvbnRCb2xkAAAISXNGb250SXRhbGljAAAISXNGb250VW5kZXJsaW5lZAAACExhYmVsSGFzQmFja2dyb3VuZAAAAlRleHRBbGlnbm1lbnQABQAAAExlZnQAAAhEaXNwbGF5TGFiZWwAAANSZW5kZXJJbmZvAJoWAAADUmVjdGFuZ2xlRnJlZWZvcm0A/AgAAARWZXJ0aWNlcwCbAgAAAzAALAAAABBJbmRleDAAAAAAABBJbmRleDEAAAAAAAFWYWx1ZQAAAABglTV/QAADMQAsAAAAEEluZGV4MAAAAAAAEEluZGV4MQABAAAAAVZhbHVlAAAAAAAOHn9AAAMyACwAAAAQSW5kZXgwAAEAAAAQSW5kZXgxAAAAAAABVmFsdWUAAAAAYJU1f0AAAzMALAAAABBJbmRleDAAAQAAABBJbmRleDEAAQAAAAFWYWx1ZQAAAACA2X5/QAADNAAsAAAAEEluZGV4MAACAAAAEEluZGV4MQAAAAAAAVZhbHVlAAAAAGCVNX9AAAM1ACwAAAAQSW5kZXgwAAIAAAAQSW5kZXgxAAEAAAABVmFsdWUAAAAA4KTff0AAAzYALAAAABBJbmRleDAAAwAAABBJbmRleDEAAAAAAAFWYWx1ZQAAAACgkoyDQAADNwAsAAAAEEluZGV4MAADAAAAEEluZGV4MQABAAAAAVZhbHVlAAAAAOCk339AAAM4ACwAAAAQSW5kZXgwAAQAAAAQSW5kZXgxAAAAAAABVmFsdWUAAAAAoJKMg0AAAzkALAAAABBJbmRleDAABAAAABBJbmRleDEAAQAAAAFWYWx1ZQAAAACA2X5/QAADMTAALAAAABBJbmRleDAABQAAABBJbmRleDEAAAAAAAFWYWx1ZQAAAACgkoyDQAADMTEALAAAABBJbmRleDAABQAAABBJbmRleDEAAQAAAAFWYWx1ZQAAAAAADh5/QAADMTIALAAAABBJbmRleDAABgAAABBJbmRleDEAAAAAAAFWYWx1ZQAAAABglTV/QAADMTMALAAAABBJbmRleDAABgAAABBJbmRleDEAAQAAAAFWYWx1ZQAAAAAADh5/QAAABU1hbmFnZWRJZAAQAAAABP1z3SabpDtEnEwCtOmh9A8ISGFzQ2hhbmdlcwAACFVzZU5hbWVJbnN0ZWFkT2ZUYWdBc0lkAAAIU2hhcGVQcmV2aW91c2x5Q3JlYXRlZAAAA0ZpbGxDb2xvcgBVAAAAEEEA/wAAABBSAJkAAAAQRwDTAAAAEEIA8gAAAAFTY0EAAAAAAAAA8D8BU2NSAAAAACASY9Q/AVNjRwAAAACgUNjkPwFTY0IAAAAAwN1p7D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Dg3TIoQAFXaWR0aAAAAADAP45fQAFUb3AAAAAAAA4ef0ABTGVmdAAAAABglTV/QAhGbGlwSG9yaXpvbnRhbGx5AAAIRmxpcEhvcml6b250YWxseUFwcGxpZWQAAAhGbGlwVmVydGljYWxseQAACEZsaXBWZXJ0aWNhbGx5QXBwbGllZAAAAVJvdGF0aW9uAAAAAAAAAAAAAVpPcmRlcgAAAAAAAIBRQANCb3JkZXJDb2xvcgBVAAAAEEEA/wAAABBSAP8AAAAQRwD/AAAAEEIA/wAAAAFTY0EAAAAAAAAA8D8BU2NSAAAAAAAAAPA/AVNjRwAAAAAAAADwPwFTY0IAAAAAAAAA8D8AEEJvcmRlclRoZW1lQ29sb3IAAAAAAAFCb3JkZXJUaW50QW5kU2hhZGUAAAAAAAAAAAAQQm9yZGVyU2NoZW1lQ29sb3IAAAAAAAFCb3JkZXJUaGlja25lc3MAAAAAAAAA8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QmFyU3R5bGVEYXRhACYAAAACQmFyU3R5bGVTaGFwZVR5cGUACgAAAFJlY3RhbmdsZQAAA0xhYmVsAFcGAAAFTWFuYWdlZElkABAAAAAEX7QPpCHBC0Cfu+J9HYVmTwhIYXNDaGFuZ2VzAAAIVXNlTmFtZUluc3RlYWRPZlRhZ0FzSWQAAAhTaGFwZVByZXZpb3VzbHlDcmVhdGVkAAA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A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EIBAAAFQQEAAEYBAADnDwAAAAAAAAAAAAB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DwPwFXaWR0aAAAAAAAAADwPwFUb3AAAAAAAA4ef0ABTGVmdAAAAABglTV/QAhGbGlwSG9yaXpvbnRhbGx5AAAIRmxpcEhvcml6b250YWxseUFwcGxpZWQAAAhGbGlwVmVydGljYWxseQAACEZsaXBWZXJ0aWNhbGx5QXBwbGllZAAAAVJvdGF0aW9uAAAAAAAAAAAAAVpPcmRlcgAAAAAAAABS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Q29ubmVjdG9yTGluZURhdGEA4QYAAANTdGFydAAbAAAAAVgAAAAAYJU1f0ABWQAAAAAADh5/QAADRW5kABsAAAABWAAAAABglTV/QAFZAAAAAAAOHn9AAAJTdGFydEFycm93SGVhZAARAAAAbXNvQXJyb3doZWFkTm9uZQACRW5kQXJyb3dIZWFkABEAAABtc29BcnJvd2hlYWROb25lAAVNYW5hZ2VkSWQAEAAAAATcsbkEiYkoRpWC+hIEfAXHCEhhc0NoYW5nZXMAAAhVc2VOYW1lSW5zdGVhZE9mVGFnQXNJZAAACFNoYXBlUHJldmlvdXNseUNyZWF0ZWQAAA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A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AAAAAAABVG9wAAAAAAAOHn9AAUxlZnQAAAAAYJU1f0AIRmxpcEhvcml6b250YWxseQAACEZsaXBIb3Jpem9udGFsbHlBcHBsaWVkAAAIRmxpcFZlcnRpY2FsbHkAAAhGbGlwVmVydGljYWxseUFwcGxpZWQAAAFSb3RhdGlvbgAAAAAAAAAAAAFaT3JkZXIAAAAAAADAUUADQm9yZGVyQ29sb3IAVQAAABBBAP8AAAAQUgCZAAAAEEcA0wAAABBCAPIAAAABU2NBAAAAAAAAAPA/AVNjUgAAAAAgEmPUPwFTY0cAAAAAoFDY5D8BU2NCAAAAAMDdaew/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AlFbmRUaW1lAADbLN6QAQAAEEluZGV4AAMAAAACRGVzY3JpcHRpb24AAQAAAAACTmFtZQAFAAAAVGFzawAISXNMZWFkZXJMaW5lSW5BdXRvTW9kZQABCVN0YXJ0VGltZQAAO5RikAEAAAAAAk5hbWUACQAAAFNwcmludCA3AAhJc0hpZ2hsaWdodGVkAAAISXNTZXBhcmF0b3JMaW5lVmlzaWJsZQABA1N0eWxlAHQEAAABRGVmYXVsdEZvbnRTaXplAAAAAAAAACRAAUZvbnRTaXplAAAAAAAAACRAA0ZvbnRDb2xvcgBVAAAAEEEA/wAAABBSABAAAAAQRwA4AAAAEEIATwAAAAFTY0EAAAAAAAAA8D8BU2NSAAAAAOA2OXU/AVNjRwAAAACAZz+kPwFTY0IAAAAAYBcEtD8AEEZvbnRUaGVtZUNvbG9yAAAAAAAQRm9udFNjaGVtZUNvbG9yAAAAAAABRm9udFRpbnRBbmRTaGFkZQAAAAAAAAAAAANQYXR0ZXJuQ29sb3IAVQAAABBBAAAAAAAQUgAAAAAAEEcAAAAAABBCAAAAAAABU2NBAAAAAAAAAAAAAVNjUgAAAAAAAAAAAAFTY0cAAAAAAAAAAAABU2NCAAAAAAAAAAAAABBQYXR0ZXJuVGhlbWVDb2xvcgAAAAAAAVBhdHRlcm5UaW50QW5kU2hhZGUAAAAAAAAAAAADRGF0YVN0eWxlRm9udENvbG9yVmFsdWUAVQAAABBBAP8AAAAQUgAQAAAAEEcAOAAAABBCAE8AAAABU2NBAAAAAAAAAPA/AVNjUgAAAADgNjl1PwFTY0cAAAAAgGc/pD8BU2NCAAAAAGAXBLQ/AAhEYXRhU3R5bGVGb250Q29sb3JIYXNWYWx1ZQABAUhlaWdodAAAAAAAAAAAAAJEYXNoU3R5bGUADQAAAG1zb0xpbmVTb2xpZAAISGFzV2lzaEZpbGxDb2xvcgABA0ZpbGxDb2xvcgBVAAAAEEEAAAAAABBSAP8AAAAQRwD/AAAAEEIA/wAAAAFTY0EAAAAAAAAAAAABU2NSAAAAAAAAAPA/AVNjRwAAAAAAAADwPwFTY0IAAAAAAAAA8D8AEEZpbGxTY2hlbWVDb2xvcgAAAAAAEEZpbGxUaGVtZUNvbG9yAAAAAAABRmlsbFRpbnRBbmRTaGFkZQAAAAAAAAAAAANCb3JkZXJDb2xvcgBVAAAAEEEA/wAAABBSAOMAAAAQRwDjAAAAEEIA4wAAAAFTY0EAAAAAAAAA8D8BU2NSAAAAAMCxlOg/AVNjRwAAAADAsZToPwFTY0IAAAAAwLGU6D8AEEJvcmRlclRoZW1lQ29sb3IAAAAAAAFCb3JkZXJUaW50QW5kU2hhZGUAAAAAAAAAAAAISXNGaWxsZWQAAQJQYXR0ZXJuABAAAABtc29QYXR0ZXJuTWl4ZWQAAlNoYXBlVHlwZQAOAAAAbXNvU2hhcGVNaXhlZAADTGFiZWxPZmZzZXQAQgAAAAFYAAAAAAAAAAAAAVkAAAAAAAAAAAABTGVuZ3RoAAAAAAAAAAAAAUxlbmd0aFNxdWFyZWQAAAAAAAAAAAAAAUJvcmRlclRoaWNrbmVzcwAAAAAAAADwPwhJc0ZvbnRCb2xkAAAISXNGb250SXRhbGljAAAISXNGb250VW5kZXJsaW5lZAAACExhYmVsSGFzQmFja2dyb3VuZAAAAlRleHRBbGlnbm1lbnQABQAAAExlZnQAAAFSb3dUb3AAU7m6EbC2fkABUm93SGVpZ2h0AG41KjItBTlAA0xlZnROb3RlcwDHBAAAA1RleHRTdHlsZQBbBAAAAURlZmF1bHRGb250U2l6ZQAAAAAAAABDAQAABUABAABEAQAA5w8AAAAAAAAAAAAAYXR0ZXJuQ29sb3IAVQAAABBBAAAAAAAQUgAAAAAAEEcAAAAAABBCAAAAAAABU2NBAAAAAAAAAAAAAVNjUgAAAAAAAAAAAAFTY0cAAAAAAAAAAAABU2NCAAAAAAAAAAAAABBQYXR0ZXJuVGhlbWVDb2xvcgAAAAAAAVBhdHRlcm5UaW50QW5kU2hhZGUAAAAAAAAAAAADRGF0YVN0eWxlRm9udENvbG9yVmFsdWUAVQAAABBBAAAAAAAQUgAAAAAAEEcAAAAAABBCAAAAAAABU2NBAAAAAAAAAAAAAVNjUgAAAAAAAAAAAAFTY0cAAAAAAAAAAAABU2NCAAAAAAAAAAAAAAhEYXRhU3R5bGVGb250Q29sb3JIYXNWYWx1ZQAAAUhlaWdodAAAAADg3TIoQAJEYXNoU3R5bGUADQAAAG1zb0xpbmVTb2xpZAAISGFzV2lzaEZpbGxDb2xvcgAAA0ZpbGxDb2xvcgBVAAAAEEEA/wAAABBSAJkAAAAQRwDTAAAAEEIA8gAAAAFTY0EAAAAAAAAA8D8BU2NSAAAAACASY9Q/AVNjRwAAAACgUNjkPwFTY0IAAAAAwN1p7D8AEEZpbGxTY2hlbWVDb2xvcgAAAAAAEEZpbGxUaGVtZUNvbG9yAAAAAAABRmlsbFRpbnRBbmRTaGFkZQAAAAAAAAAAAANCb3JkZXJDb2xvcgBVAAAAEEEAAAAAABBSAAAAAAAQRwAAAAAAEEIAAAAAAAFTY0EAAAAAAAAAAAABU2NSAAAAAAAAAAAAAVNjRwAAAAAAAAAAAAFTY0IAAAAAAAAAAAAAEEJvcmRlclRoZW1lQ29sb3IAAAAAAAFCb3JkZXJUaW50QW5kU2hhZGUAAAAAAAAAAAAISXNGaWxsZWQAAQJQYXR0ZXJuABAAAABtc29QYXR0ZXJuTWl4ZWQAAlNoYXBlVHlwZQAOAAAAbXNvU2hhcGVNaXhlZAADTGFiZWxPZmZzZXQAQgAAAAFYAAAAAAAAAAAAAVkAAAAAAAAAAAABTGVuZ3RoAAAAAAAAAAAAAUxlbmd0aFNxdWFyZWQAAAAAAAAAAAAACElzRm9udEJvbGQAAAhJc0ZvbnRJdGFsaWMAAAhJc0ZvbnRVbmRlcmxpbmVkAAAITGFiZWxIYXNCYWNrZ3JvdW5kAAACVGV4dEFsaWdubWVudAAFAAAATGVmdAAACERpc3BsYXlMYWJlbAAAA1JlbmRlckluZm8AmhYAAANSZWN0YW5nbGVGcmVlZm9ybQD8CAAABFZlcnRpY2VzAJsCAAADMAAsAAAAEEluZGV4MAAAAAAAEEluZGV4MQAAAAAAAVZhbHVlAAAAAGCVNX9AAAMxACwAAAAQSW5kZXgwAAAAAAAQSW5kZXgxAAEAAAABVmFsdWUAAAAAAA4ef0AAAzIALAAAABBJbmRleDAAAQAAABBJbmRleDEAAAAAAAFWYWx1ZQAAAABglTV/QAADMwAsAAAAEEluZGV4MAABAAAAEEluZGV4MQABAAAAAVZhbHVlAAAAAIDZfn9AAAM0ACwAAAAQSW5kZXgwAAIAAAAQSW5kZXgxAAAAAAABVmFsdWUAAAAAYJU1f0AAAzUALAAAABBJbmRleDAAAgAAABBJbmRleDEAAQAAAAFWYWx1ZQAAAADgpN9/QAADNgAsAAAAEEluZGV4MAADAAAAEEluZGV4MQAAAAAAAVZhbHVlAAAAAKCSjINAAAM3ACwAAAAQSW5kZXgwAAMAAAAQSW5kZXgxAAEAAAABVmFsdWUAAAAA4KTff0AAAzgALAAAABBJbmRleDAABAAAABBJbmRleDEAAAAAAAFWYWx1ZQAAAACgkoyDQAADOQAsAAAAEEluZGV4MAAEAAAAEEluZGV4MQABAAAAAVZhbHVlAAAAAIDZfn9AAAMxMAAsAAAAEEluZGV4MAAFAAAAEEluZGV4MQAAAAAAAVZhbHVlAAAAAKCSjINAAAMxMQAsAAAAEEluZGV4MAAFAAAAEEluZGV4MQABAAAAAVZhbHVlAAAAAAAOHn9AAAMxMgAsAAAAEEluZGV4MAAGAAAAEEluZGV4MQAAAAAAAVZhbHVlAAAAAGCVNX9AAAMxMwAsAAAAEEluZGV4MAAGAAAAEEluZGV4MQABAAAAAVZhbHVlAAAAAAAOHn9AAAAFTWFuYWdlZElkABAAAAAE/XPdJpukO0ScTAK06aH0DwhIYXNDaGFuZ2VzAAAIVXNlTmFtZUluc3RlYWRPZlRhZ0FzSWQAAAhTaGFwZVByZXZpb3VzbHlDcmVhdGVkAAADRmlsbENvbG9yAFUAAAAQQQD/AAAAEFIAmQAAABBHANMAAAAQQgDyAAAAAVNjQQAAAAAAAADwPwFTY1IAAAAAIBJj1D8BU2NHAAAAAKBQ2OQ/AVNjQgAAAADA3WnsP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ODdMihAAVdpZHRoAAAAAMA/jl9AAVRvcAAAAAAADh5/QAFMZWZ0AAAAAGCVNX9ACEZsaXBIb3Jpem9udGFsbHkAAAhGbGlwSG9yaXpvbnRhbGx5QXBwbGllZAAACEZsaXBWZXJ0aWNhbGx5AAAIRmxpcFZlcnRpY2FsbHlBcHBsaWVkAAABUm90YXRpb24AAAAAAAAAAAABWk9yZGVyAAAAAAAAgFFAA0JvcmRlckNvbG9yAFUAAAAQQQD/AAAAEFIA/wAAABBHAP8AAAAQQgD/AAAAAVNjQQAAAAAAAADwPwFTY1IAAAAAAAAA8D8BU2NHAAAAAAAAAPA/AVNjQgAAAAAAAADwPwAQQm9yZGVyVGhlbWVDb2xvcgAAAAAAAUJvcmRlclRpbnRBbmRTaGFkZQAAAAAAAAAAABBCb3JkZXJTY2hlbWVDb2xvcgAAAAAAAUJvcmRlclRoaWNrbmVzcwAAAAAAAADw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CYXJTdHlsZURhdGEAJgAAAAJCYXJTdHlsZVNoYXBlVHlwZQAKAAAAUmVjdGFuZ2xlAAADTGFiZWwAVwYAAAVNYW5hZ2VkSWQAEAAAAARftA+kIcELQJ+74n0dhWZPCEhhc0NoYW5nZXMAAAhVc2VOYW1lSW5zdGVhZE9mVGFnQXNJZAAACFNoYXBlUHJldmlvdXNseUNyZWF0ZWQAAA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A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RAEAAAVDAQAASAEAAOcPAAAAAAAAAAAAAA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AAAAPA/AVdpZHRoAAAAAAAAAPA/AVRvcAAAAAAADh5/QAFMZWZ0AAAAAGCVNX9ACEZsaXBIb3Jpem9udGFsbHkAAAhGbGlwSG9yaXpvbnRhbGx5QXBwbGllZAAACEZsaXBWZXJ0aWNhbGx5AAAIRmxpcFZlcnRpY2FsbHlBcHBsaWVkAAABUm90YXRpb24AAAAAAAAAAAABWk9yZGVyAAAAAAAAAFJ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Db25uZWN0b3JMaW5lRGF0YQDhBgAAA1N0YXJ0ABsAAAABWAAAAABglTV/QAFZAAAAAAAOHn9AAANFbmQAGwAAAAFYAAAAAGCVNX9AAVkAAAAAAA4ef0AAAlN0YXJ0QXJyb3dIZWFkABEAAABtc29BcnJvd2hlYWROb25lAAJFbmRBcnJvd0hlYWQAEQAAAG1zb0Fycm93aGVhZE5vbmUABU1hbmFnZWRJZAAQAAAABNyxuQSJiShGlYL6EgR8BccISGFzQ2hhbmdlcwAACFVzZU5hbWVJbnN0ZWFkT2ZUYWdBc0lkAAAIU2hhcGVQcmV2aW91c2x5Q3JlYXRlZAAA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A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AAAAAAAAFUb3AAAAAAAA4ef0ABTGVmdAAAAABglTV/QAhGbGlwSG9yaXpvbnRhbGx5AAAIRmxpcEhvcml6b250YWxseUFwcGxpZWQAAAhGbGlwVmVydGljYWxseQAACEZsaXBWZXJ0aWNhbGx5QXBwbGllZAAAAVJvdGF0aW9uAAAAAAAAAAAAAVpPcmRlcgAAAAAAAMBRQANCb3JkZXJDb2xvcgBVAAAAEEEA/wAAABBSAJkAAAAQRwDTAAAAEEIA8gAAAAFTY0EAAAAAAAAA8D8BU2NSAAAAACASY9Q/AVNjRwAAAACgUNjkPwFTY0IAAAAAwN1p7D8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ACUVuZFRpbWUAANss3pABAAAQSW5kZXgAAwAAAAJEZXNjcmlwdGlvbgABAAAAAAJOYW1lAAUAAABUYXNrAAhJc0xlYWRlckxpbmVJbkF1dG9Nb2RlAAEJU3RhcnRUaW1lAAA7lGKQAQAAAAACTmFtZQAJAAAAU3ByaW50IDcACElzSGlnaGxpZ2h0ZWQAAAhJc1NlcGFyYXRvckxpbmVWaXNpYmxlAAEDU3R5bGUAdAQAAAFEZWZhdWx0Rm9udFNpemUAAAAAAAAAJEABRm9udFNpemUAAAAAAAAAJEADRm9udENvbG9yAFUAAAAQQQD/AAAAEFIAEAAAABBHADgAAAAQQgBPAAAAAVNjQQAAAAAAAADwPwFTY1IAAAAA4DY5dT8BU2NHAAAAAIBnP6Q/AVNjQgAAAABgFwS0PwAQRm9udFRoZW1lQ29sb3IAAAAAABBGb250U2NoZW1lQ29sb3IAAAAAAAFGb250VGludEFuZFNoYWRlAAAAAAAAAAAAA1BhdHRlcm5Db2xvcgBVAAAAEEEAAAAAABBSAAAAAAAQRwAAAAAAEEIAAAAAAAFTY0EAAAAAAAAAAAABU2NSAAAAAAAAAAAAAVNjRwAAAAAAAAAAAAFTY0IAAAAAAAAAAAAAEFBhdHRlcm5UaGVtZUNvbG9yAAAAAAABUGF0dGVyblRpbnRBbmRTaGFkZQAAAAAAAAAAAANEYXRhU3R5bGVGb250Q29sb3JWYWx1ZQBVAAAAEEEA/wAAABBSABAAAAAQRwA4AAAAEEIATwAAAAFTY0EAAAAAAAAA8D8BU2NSAAAAAOA2OXU/AVNjRwAAAACAZz+kPwFTY0IAAAAAYBcEtD8ACERhdGFTdHlsZUZvbnRDb2xvckhhc1ZhbHVlAAEBSGVpZ2h0AAAAAAAAAAAAAkRhc2hTdHlsZQANAAAAbXNvTGluZVNvbGlkAAhIYXNXaXNoRmlsbENvbG9yAAEDRmlsbENvbG9yAFUAAAAQQQAAAAAAEFIA/wAAABBHAP8AAAAQQgD/AAAAAVNjQQAAAAAAAAAAAAFTY1IAAAAAAAAA8D8BU2NHAAAAAAAAAPA/AVNjQgAAAAAAAADwPwAQRmlsbFNjaGVtZUNvbG9yAAAAAAAQRmlsbFRoZW1lQ29sb3IAAAAAAAFGaWxsVGludEFuZFNoYWRlAAAAAAAAAAAAA0JvcmRlckNvbG9yAFUAAAAQQQD/AAAAEFIA4wAAABBHAOMAAAAQQgDjAAAAAVNjQQAAAAAAAADwPwFTY1IAAAAAwLGU6D8BU2NHAAAAAMCxlOg/AVNjQgAAAADAsZToPwAQQm9yZGVyVGhlbWVDb2xvcgAAAAAAAUJvcmRlclRpbnRBbmRTaGFkZQAAAAAAAAAAAAhJc0ZpbGxlZAABAlBhdHRlcm4AEAAAAG1zb1BhdHRlcm5NaXhlZAACU2hhcGVUeXBlAA4AAABtc29TaGFwZU1peGVkAANMYWJlbE9mZnNldABCAAAAAVgAAAAAAAAAAAABWQAAAAAAAAAAAAFMZW5ndGgAAAAAAAAAAAABTGVuZ3RoU3F1YXJlZAAAAAAAAAAAAAABQm9yZGVyVGhpY2tuZXNzAAAAAAAAAPA/CElzRm9udEJvbGQAAAhJc0ZvbnRJdGFsaWMAAAhJc0ZvbnRVbmRlcmxpbmVkAAAITGFiZWxIYXNCYWNrZ3JvdW5kAAACVGV4dEFsaWdubWVudAAFAAAATGVmdAAAAVJvd1RvcABTuboRsLZ+QAFSb3dIZWlnaHQAbjUqMi0FOUADTGVmdE5vdGVzAMcEAAADVGV4dFN0eWxlAFsEAAABRGVmYXVsdEZvbnRTaXplAAAAAAAAACRAAUZvbnRTaXplAAAAAAAAACRAA0ZvbkUBAAAFSAEAAEwBAADnDwAAAAAAAAAAAAAAAAAAAANTZXBhcmF0b3JMaW5lAOEGAAADU3RhcnQAGwAAAAFYAM3MzBYy841AAVkAAAAAgIEfgEAAA0VuZAAbAAAAAVgAMzMzfZj5jUABWQAAAACAgR+AQAACU3RhcnRBcnJvd0hlYWQAEQAAAG1zb0Fycm93aGVhZE5vbmUAAkVuZEFycm93SGVhZAARAAAAbXNvQXJyb3doZWFkTm9uZQAFTWFuYWdlZElkABAAAAAEkbjK/AUVOEm4Vj/S28ruAwhIYXNDaGFuZ2VzAAEIVXNlTmFtZUluc3RlYWRPZlRhZ0FzSWQAAAhTaGFwZVByZXZpb3VzbHlDcmVhdGVkAAA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AAAAAAAAVdpZHRoAAAAAKCZmek/AVRvcAAAAACAgR+AQAFMZWZ0AAAAACAy841ACEZsaXBIb3Jpem9udGFsbHkAAAhGbGlwSG9yaXpvbnRhbGx5QXBwbGllZAAACEZsaXBWZXJ0aWNhbGx5AAAIRmxpcFZlcnRpY2FsbHlBcHBsaWVkAAABUm90YXRpb24AAAAAAAAAAAABWk9yZGVyAAAAAAAAgFVAA0JvcmRlckNvbG9yAFUAAAAQQQD/AAAAEFIA4wAAABBHAOMAAAAQQgDjAAAAAVNjQQAAAAAAAADwPwFTY1IAAAAAwLGU6D8BU2NHAAAAAMCxlOg/AVNjQgAAAADAsZToPwAQQm9yZGVyVGhlbWVDb2xvcgAAAAAAAUJvcmRlclRpbnRBbmRTaGFkZQAAAAAAAAAAABBCb3JkZXJTY2hlbWVDb2xvcgAAAAAAAUJvcmRlclRoaWNrbmVzcwAAAAAAAADw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SZWN0YW5nbGUAdAYAAAJBdXRvU2hhcGVUeXBlAAoAAABSZWN0YW5nbGUABU1hbmFnZWRJZAAQAAAABHrykcalrTBLhcTdCpwnhAIISGFzQ2hhbmdlcwABCFVzZU5hbWVJbnN0ZWFkT2ZUYWdBc0lkAAAIU2hhcGVQcmV2aW91c2x5Q3JlYXRlZAAAA0ZpbGxDb2xvcgBVAAAAEEEAAAAAABBSAP8AAAAQRwD/AAAAEEIA/wAAAAFTY0EAAAAAAAAAAAABU2NSAAAAAAAAAPA/AVNjRwAAAAAAAADwPwFTY0IAAAAAAAAA8D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A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BALQU4QAFXaWR0aAAAAAAAAAAAAAFUb3AAAAAAILC+fkABTGVmdAAAAABAZe6NQAhGbGlwSG9yaXpvbnRhbGx5AAAIRmxpcEhvcml6b250YWxseUFwcGxpZWQAAAhGbGlwVmVydGljYWxseQAACEZsaXBWZXJ0aWNhbGx5QXBwbGllZAAAAVJvdGF0aW9uAAAAAAAAAAAAAVpPcmRlcgAAAAAAAEBV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EVHJhZmZpY0xpZ2h0RGF0YQAFAAAAAARIYXJ2ZXlCYWxsRGF0YQAFAAAAAAJUcmFmZmljTGlnaHRTdGF0ZQAEAAAAT2ZmAARDaGVja0JveERhdGEABQAAAAACQ2hlY2tCb3hTdGF0ZQAFAAAATm9uZQAAA1JpZ2h0Tm90ZXNSZW5kZXJJbmZvAGEUAAADTGFiZWwAdAYAAAVNYW5hZ2VkSWQAEAAAAAR3SkZtfpBHTY6qSKuvjYcHCEhhc0NoYW5nZXMAAQhVc2VOYW1lSW5zdGVhZE9mVGFnQXNJZAAACFNoYXBlUHJldmlvdXNseUNyZWF0ZWQAAA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AAkZpbGxQYXR0ZXJuABAAAABtc29QYXR0ZXJuTWl4ZWQAAlRleHQAAQBGAQAABUIBAABHAQAA5w8AAAAAAAAAAAAAJEABRm9udFNpemUAAAAAAAAAJEADRm9udENvbG9yAFUAAAAQQQD/AAAAEFIAEAAAABBHADgAAAAQQgBPAAAAAVNjQQAAAAAAAADwPwFTY1IAAAAA4DY5dT8BU2NHAAAAAIBnP6Q/AVNjQgAAAABgFwS0PwAQRm9udFRoZW1lQ29sb3IAAAAAABBGb250U2NoZW1lQ29sb3IAAAAAAAFGb250VGludEFuZFNoYWRlAAAAAAAAAAAAA1BhdHRlcm5Db2xvcgBVAAAAEEEAAAAAABBSAAAAAAAQRwAAAAAAEEIAAAAAAAFTY0EAAAAAAAAAAAABU2NSAAAAAAAAAAAAAVNjRwAAAAAAAAAAAAFTY0IAAAAAAAAAAAAAEFBhdHRlcm5UaGVtZUNvbG9yAAAAAAABUGF0dGVyblRpbnRBbmRTaGFkZQAAAAAAAAAAAANEYXRhU3R5bGVGb250Q29sb3JWYWx1ZQBVAAAAEEEA/wAAABBSABAAAAAQRwA4AAAAEEIATwAAAAFTY0EAAAAAAAAA8D8BU2NSAAAAAOA2OXU/AVNjRwAAAACAZz+kPwFTY0IAAAAAYBcEtD8ACERhdGFTdHlsZUZvbnRDb2xvckhhc1ZhbHVlAAEBSGVpZ2h0AAAAAAAAAAAAAkRhc2hTdHlsZQANAAAAbXNvTGluZVNvbGlkAAhIYXNXaXNoRmlsbENvbG9yAAADRmlsbENvbG9yAFUAAAAQQQD/AAAAEFIAAAAAABBHAAAAAAAQQgAAAAAAAVNjQQAAAAAAAADwPwFTY1IAAAAAAAAAAAABU2NHAAAAAAAAAAAAAVNjQgAAAAAAAAAAAAAQRmlsbFNjaGVtZUNvbG9yAAAAAAAQRmlsbFRoZW1lQ29sb3IAAAAAAAFGaWxsVGludEFuZFNoYWRlAAAAAAAAAAAAA0JvcmRlckNvbG9yAFUAAAAQQQAAAAAAEFIAAAAAABBHAAAAAAAQQgAAAAAAAVNjQQAAAAAAAAAAAAFTY1IAAAAAAAAAAAABU2NHAAAAAAAAAAAAAVNjQgAAAAAAAAAAAAAQQm9yZGVyVGhlbWVDb2xvcgAAAAAAAUJvcmRlclRpbnRBbmRTaGFkZQAAAAAAAAAAAAhJc0ZpbGxlZAABAlBhdHRlcm4AEAAAAG1zb1BhdHRlcm5NaXhlZAACU2hhcGVUeXBlAA4AAABtc29TaGFwZU1peGVkAANMYWJlbE9mZnNldABCAAAAAVgAAAAAAAAAAAABWQAAAAAAAAAAAAFMZW5ndGgAAAAAAAAAAAABTGVuZ3RoU3F1YXJlZAAAAAAAAAAAAAAISXNGb250Qm9sZAAACElzRm9udEl0YWxpYwAACElzRm9udFVuZGVybGluZWQAAAhMYWJlbEhhc0JhY2tncm91bmQAAAJUZXh0QWxpZ25tZW50AAUAAABMZWZ0AAAISGFydmV5QmFsbFZpc2libGUAARBIYXJ2ZXlCYWxsVmFsdWUAAAAAAAJDaGVja0JveFN0YXRlAAUAAABOb25lAAJUcmFmZmljTGlnaHRTdGF0ZQAEAAAAT2ZmAAADUmlnaHROb3RlcwDHBAAAA1RleHRTdHlsZQBbBAAAAURlZmF1bHRGb250U2l6ZQAAAAAAAAAkQAFGb250U2l6ZQAAAAAAAAAkQANGb250Q29sb3IAVQAAABBBAP8AAAAQUgAQAAAAEEcAOAAAABBCAE8AAAABU2NBAAAAAAAAAPA/AVNjUgAAAADgNjl1PwFTY0cAAAAAgGc/pD8BU2NCAAAAAGAXBLQ/ABBGb250VGhlbWVDb2xvcgAAAAAAEEZvbnRTY2hlbWVDb2xvcgAAAAAAAUZvbnRUaW50QW5kU2hhZGUAAAAAAAAAAAADUGF0dGVybkNvbG9yAFUAAAAQQQAAAAAAEFIAAAAAABBHAAAAAAAQQgAAAAAAAVNjQQAAAAAAAAAAAAFTY1IAAAAAAAAAAAABU2NHAAAAAAAAAAAAAVNjQgAAAAAAAAAAAAAQUGF0dGVyblRoZW1lQ29sb3IAAAAAAAFQYXR0ZXJuVGludEFuZFNoYWRlAAAAAAAAAAAAA0RhdGFTdHlsZUZvbnRDb2xvclZhbHVlAFUAAAAQQQD/AAAAEFIAEAAAABBHADgAAAAQQgBPAAAAAVNjQQAAAAAAAADwPwFTY1IAAAAA4DY5dT8BU2NHAAAAAIBnP6Q/AVNjQgAAAABgFwS0PwAIRGF0YVN0eWxlRm9udENvbG9ySGFzVmFsdWUAAQFIZWlnaHQAAAAAAAAAAAACRGFzaFN0eWxlAA0AAABtc29MaW5lU29saWQACEhhc1dpc2hGaWxsQ29sb3IAAANGaWxsQ29sb3IAVQAAABBBAP8AAAAQUgAAAAAAEEcAAAAAABBCAAAAAAABU2NBAAAAAAAAAPA/AVNjUgAAAAAAAAAAAAFTY0cAAAAAAAAAAAABU2NCAAAAAAAAAAAAABBGaWxsU2NoZW1lQ29sb3IAAAAAABBGaWxsVGhlbWVDb2xvcgAAAAAAAUZpbGxUaW50QW5kU2hhZGUAAAAAAAAAAAADQm9yZGVyQ29sb3IAVQAAABBBAAAAAAAQUgAAAAAAEEcAAAAAABBCAAAAAAABU2NBAAAAAAAAAAAAAVNjUgAAAAAAAAAAAAFTY0cAAAAAAAAAAAABU2NCAAAAAAAAAAAAABBCb3JkZXJUaGVtZUNvbG9yAAAAAAABQm9yZGVyVGludEFuZFNoYWRlAAAAAAAAAAAACElzRmlsbGVkAAECUGF0dGVybgAQAAAAbXNvUGF0dGVybk1peGVkAAJTaGFwZVR5cGUADgAAAG1zb1NoYXBlTWl4ZWQAA0xhYmVsT2Zmc2V0AEIAAAABWAAAAAAAAAAAAAFZAAAAAAAAAAAAAUxlbmd0aAAAAAAAAAAAAAFMZW5ndGhTcXVhcmVkAAAAAAAAAAAAAAhJc0ZvbnRCb2xkAAAISXNGb250SXRhbGljAAAISXNGb250VW5kZXJsaW5lZAAACExhYmVsSGFzQmFja2dyb3VuZAAAAlRleHRBbGlnbm1lbnQABQAAAExlZnQAAAhIYXJ2ZXlCYWxsVmlzaWJsZQABEEhhcnZleUJhbGxWYWx1ZQAAAAAAAkNoZWNrQm94U3RhdGUABQAAAE5vbmUAAlRyYWZmaWNMaWdodFN0YXRlAAQAAABPZmYAAANMZWZ0Tm90ZXNSZW5kZXJJbmZvAGEUAAADTGFiZWwAdAYAAAVNYW5hZ2VkSWQAEAAAAATOhaJc8yyLTqXV87nf2TCICEhhc0NoYW5nZXMAAQhVc2VOYW1lSW5zdGVhZE9mVGFnQXNJZAAACFNoYXBlUHJldmlvdXNseUNyZWF0ZWQAAA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AAkZpbGxQYXR0ZXJuABAAAABtc29QYXR0ZXJuTWl4ZWQAAlRleHQAAQAAA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kRpc3BsYXlUZXh0AAEAAAAAAUhlaWdodAAAAAAAAADwPwFXaWR0aAAAAAAAAADwPwFUb3AAAAAAAIyWcUABTGVmdAAAAABAZfaNQAhGbGlwSG9yaXpvbnRhbGx5AAAIRmxpcEhvcml6b250YWxseUFwcGxpZWQAAAhGbGlwVmVydGljYWxseQAACEZsaXBWZXJ0aWNhbGx5QXBwbGllZAAAAVJvdGF0aW9uAAAAAAAAAAAAAVpPcmRlcgAAAAAAAAAAA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RwEAAAVGAQAAUAEAAOcPAAAAAAAAAAAAAAAAAAAAAAABU3BhY2VXaXRoaW4AAAAAAAAAAAAAA1NlcGFyYXRvckxpbmUA4QYAAANTdGFydAAbAAAAAVgAzczMFjLzjUABWQAAAACAgR+AQAADRW5kABsAAAABWAAzMzN9mPmNQAFZAAAAAICBH4BAAAJTdGFydEFycm93SGVhZAARAAAAbXNvQXJyb3doZWFkTm9uZQACRW5kQXJyb3dIZWFkABEAAABtc29BcnJvd2hlYWROb25lAAVNYW5hZ2VkSWQAEAAAAASRuMr8BRU4SbhWP9Lbyu4DCEhhc0NoYW5nZXMAAQhVc2VOYW1lSW5zdGVhZE9mVGFnQXNJZAAACFNoYXBlUHJldmlvdXNseUNyZWF0ZWQAAA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oJmZ6T8BVG9wAAAAAICBH4BAAUxlZnQAAAAAIDLzjUAIRmxpcEhvcml6b250YWxseQAACEZsaXBIb3Jpem9udGFsbHlBcHBsaWVkAAAIRmxpcFZlcnRpY2FsbHkAAAhGbGlwVmVydGljYWxseUFwcGxpZWQAAAFSb3RhdGlvbgAAAAAAAAAAAAFaT3JkZXIAAAAAAACAVUADQm9yZGVyQ29sb3IAVQAAABBBAP8AAAAQUgDjAAAAEEcA4wAAABBCAOMAAAABU2NBAAAAAAAAAPA/AVNjUgAAAADAsZToPwFTY0cAAAAAwLGU6D8BU2NCAAAAAMCxlOg/ABBCb3JkZXJUaGVtZUNvbG9yAAAAAAABQm9yZGVyVGludEFuZFNoYWRlAAAAAAAAAAAAEEJvcmRlclNjaGVtZUNvbG9yAAAAAAABQm9yZGVyVGhpY2tuZXNzAAAAAAAAAPA/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JlY3RhbmdsZQB0BgAAAkF1dG9TaGFwZVR5cGUACgAAAFJlY3RhbmdsZQAFTWFuYWdlZElkABAAAAAEevKRxqWtMEuFxN0KnCeEAghIYXNDaGFuZ2VzAAEIVXNlTmFtZUluc3RlYWRPZlRhZ0FzSWQAAAhTaGFwZVByZXZpb3VzbHlDcmVhdGVkAAADRmlsbENvbG9yAFUAAAAQQQAAAAAAEFIA/wAAABBHAP8AAAAQQgD/AAAAAVNjQQAAAAAAAAAAAAFTY1IAAAAAAAAA8D8BU2NHAAAAAAAAAPA/AVNjQgAAAAAAAADwP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A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EAtBThAAVdpZHRoAAAAAAAAAAAAAVRvcAAAAAAgsL5+QAFMZWZ0AAAAAEBl7o1ACEZsaXBIb3Jpem9udGFsbHkAAAhGbGlwSG9yaXpvbnRhbGx5QXBwbGllZAAACEZsaXBWZXJ0aWNhbGx5AAAIRmxpcFZlcnRpY2FsbHlBcHBsaWVkAAABUm90YXRpb24AAAAAAAAAAAABWk9yZGVyAAAAAAAAQFV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RUcmFmZmljTGlnaHREYXRhAAUAAAAABEhhcnZleUJhbGxEYXRhAAUAAAAAAlRyYWZmaWNMaWdodFN0YXRlAAQAAABPZmYABENoZWNrQm94RGF0YQAFAAAAAAJDaGVja0JveFN0YXRlAAUAAABOb25lAAADUmlnaHROb3Rlc1JlbmRlckluZm8AYRQAAANMYWJlbAB0BgAABU1hbmFnZWRJZAAQAAAABHdKRm1+kEdNjqpIq6+NhwcISGFzQ2hhbmdlcwABCFVzZU5hbWVJbnN0ZWFkT2ZUYWdBc0lkAAAIU2hhcGVQcmV2aW91c2x5Q3JlYXRlZAAA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ACRmlsbFBhdHRlcm4AEAAAAEgBAAAFRAEAAEUBAADnDwAAAAAAAAAAAAB0Q29sb3IAVQAAABBBAP8AAAAQUgAQAAAAEEcAOAAAABBCAE8AAAABU2NBAAAAAAAAAPA/AVNjUgAAAADgNjl1PwFTY0cAAAAAgGc/pD8BU2NCAAAAAGAXBLQ/ABBGb250VGhlbWVDb2xvcgAAAAAAEEZvbnRTY2hlbWVDb2xvcgAAAAAAAUZvbnRUaW50QW5kU2hhZGUAAAAAAAAAAAADUGF0dGVybkNvbG9yAFUAAAAQQQAAAAAAEFIAAAAAABBHAAAAAAAQQgAAAAAAAVNjQQAAAAAAAAAAAAFTY1IAAAAAAAAAAAABU2NHAAAAAAAAAAAAAVNjQgAAAAAAAAAAAAAQUGF0dGVyblRoZW1lQ29sb3IAAAAAAAFQYXR0ZXJuVGludEFuZFNoYWRlAAAAAAAAAAAAA0RhdGFTdHlsZUZvbnRDb2xvclZhbHVlAFUAAAAQQQD/AAAAEFIAEAAAABBHADgAAAAQQgBPAAAAAVNjQQAAAAAAAADwPwFTY1IAAAAA4DY5dT8BU2NHAAAAAIBnP6Q/AVNjQgAAAABgFwS0PwAIRGF0YVN0eWxlRm9udENvbG9ySGFzVmFsdWUAAQFIZWlnaHQAAAAAAAAAAAACRGFzaFN0eWxlAA0AAABtc29MaW5lU29saWQACEhhc1dpc2hGaWxsQ29sb3IAAANGaWxsQ29sb3IAVQAAABBBAP8AAAAQUgAAAAAAEEcAAAAAABBCAAAAAAABU2NBAAAAAAAAAPA/AVNjUgAAAAAAAAAAAAFTY0cAAAAAAAAAAAABU2NCAAAAAAAAAAAAABBGaWxsU2NoZW1lQ29sb3IAAAAAABBGaWxsVGhlbWVDb2xvcgAAAAAAAUZpbGxUaW50QW5kU2hhZGUAAAAAAAAAAAADQm9yZGVyQ29sb3IAVQAAABBBAAAAAAAQUgAAAAAAEEcAAAAAABBCAAAAAAABU2NBAAAAAAAAAAAAAVNjUgAAAAAAAAAAAAFTY0cAAAAAAAAAAAABU2NCAAAAAAAAAAAAABBCb3JkZXJUaGVtZUNvbG9yAAAAAAABQm9yZGVyVGludEFuZFNoYWRlAAAAAAAAAAAACElzRmlsbGVkAAECUGF0dGVybgAQAAAAbXNvUGF0dGVybk1peGVkAAJTaGFwZVR5cGUADgAAAG1zb1NoYXBlTWl4ZWQAA0xhYmVsT2Zmc2V0AEIAAAABWAAAAAAAAAAAAAFZAAAAAAAAAAAAAUxlbmd0aAAAAAAAAAAAAAFMZW5ndGhTcXVhcmVkAAAAAAAAAAAAAAhJc0ZvbnRCb2xkAAAISXNGb250SXRhbGljAAAISXNGb250VW5kZXJsaW5lZAAACExhYmVsSGFzQmFja2dyb3VuZAAAAlRleHRBbGlnbm1lbnQABQAAAExlZnQAAAhIYXJ2ZXlCYWxsVmlzaWJsZQABEEhhcnZleUJhbGxWYWx1ZQAAAAAAAkNoZWNrQm94U3RhdGUABQAAAE5vbmUAAlRyYWZmaWNMaWdodFN0YXRlAAQAAABPZmYAAANSaWdodE5vdGVzAMcEAAADVGV4dFN0eWxlAFsEAAABRGVmYXVsdEZvbnRTaXplAAAAAAAAACRAAUZvbnRTaXplAAAAAAAAACRAA0ZvbnRDb2xvcgBVAAAAEEEA/wAAABBSABAAAAAQRwA4AAAAEEIATwAAAAFTY0EAAAAAAAAA8D8BU2NSAAAAAOA2OXU/AVNjRwAAAACAZz+kPwFTY0IAAAAAYBcEtD8AEEZvbnRUaGVtZUNvbG9yAAAAAAAQRm9udFNjaGVtZUNvbG9yAAAAAAABRm9udFRpbnRBbmRTaGFkZQAAAAAAAAAAAANQYXR0ZXJuQ29sb3IAVQAAABBBAAAAAAAQUgAAAAAAEEcAAAAAABBCAAAAAAABU2NBAAAAAAAAAAAAAVNjUgAAAAAAAAAAAAFTY0cAAAAAAAAAAAABU2NCAAAAAAAAAAAAABBQYXR0ZXJuVGhlbWVDb2xvcgAAAAAAAVBhdHRlcm5UaW50QW5kU2hhZGUAAAAAAAAAAAADRGF0YVN0eWxlRm9udENvbG9yVmFsdWUAVQAAABBBAP8AAAAQUgAQAAAAEEcAOAAAABBCAE8AAAABU2NBAAAAAAAAAPA/AVNjUgAAAADgNjl1PwFTY0cAAAAAgGc/pD8BU2NCAAAAAGAXBLQ/AAhEYXRhU3R5bGVGb250Q29sb3JIYXNWYWx1ZQABAUhlaWdodAAAAAAAAAAAAAJEYXNoU3R5bGUADQAAAG1zb0xpbmVTb2xpZAAISGFzV2lzaEZpbGxDb2xvcgAAA0ZpbGxDb2xvcgBVAAAAEEEA/wAAABBSAAAAAAAQRwAAAAAAEEIAAAAAAAFTY0EAAAAAAAAA8D8BU2NSAAAAAAAAAAAAAVNjRwAAAAAAAAAAAAFTY0IAAAAAAAAAAAAAEEZpbGxTY2hlbWVDb2xvcgAAAAAAEEZpbGxUaGVtZUNvbG9yAAAAAAABRmlsbFRpbnRBbmRTaGFkZQAAAAAAAAAAAANCb3JkZXJDb2xvcgBVAAAAEEEAAAAAABBSAAAAAAAQRwAAAAAAEEIAAAAAAAFTY0EAAAAAAAAAAAABU2NSAAAAAAAAAAAAAVNjRwAAAAAAAAAAAAFTY0IAAAAAAAAAAAAAEEJvcmRlclRoZW1lQ29sb3IAAAAAAAFCb3JkZXJUaW50QW5kU2hhZGUAAAAAAAAAAAAISXNGaWxsZWQAAQJQYXR0ZXJuABAAAABtc29QYXR0ZXJuTWl4ZWQAAlNoYXBlVHlwZQAOAAAAbXNvU2hhcGVNaXhlZAADTGFiZWxPZmZzZXQAQgAAAAFYAAAAAAAAAAAAAVkAAAAAAAAAAAABTGVuZ3RoAAAAAAAAAAAAAUxlbmd0aFNxdWFyZWQAAAAAAAAAAAAACElzRm9udEJvbGQAAAhJc0ZvbnRJdGFsaWMAAAhJc0ZvbnRVbmRlcmxpbmVkAAAITGFiZWxIYXNCYWNrZ3JvdW5kAAACVGV4dEFsaWdubWVudAAFAAAATGVmdAAACEhhcnZleUJhbGxWaXNpYmxlAAEQSGFydmV5QmFsbFZhbHVlAAAAAAACQ2hlY2tCb3hTdGF0ZQAFAAAATm9uZQACVHJhZmZpY0xpZ2h0U3RhdGUABAAAAE9mZgAAA0xlZnROb3Rlc1JlbmRlckluZm8AYRQAAANMYWJlbAB0BgAABU1hbmFnZWRJZAAQAAAABM6FolzzLItOpdXzud/ZMIgISGFzQ2hhbmdlcwABCFVzZU5hbWVJbnN0ZWFkT2ZUYWdBc0lkAAAIU2hhcGVQcmV2aW91c2x5Q3JlYXRlZAAA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ACRmlsbFBhdHRlcm4AEAAAAG1zb1BhdHRlcm5NaXhlZAACVGV4dAABAAAA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CRGlzcGxheVRleHQAAQAAAAABSGVpZ2h0AAAAAAAAAPA/AVdpZHRoAAAAAAAAAPA/AVRvcAAAAAAAjJZxQAFMZWZ0AAAAAEBl9o1ACEZsaXBIb3Jpem9udGFsbHkAAAhGbGlwSG9yaXpvbnRhbGx5QXBwbGllZAAACEZsaXBWZXJ0aWNhbGx5AAAIRmxpcFZlcnRpY2FsbHlBcHBsaWVkAAABUm90YXRpb24AAAAAAAAAAAABWk9yZGVyAAAAAAAAAAA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BJAQAABUoBAABTAQAA5w8AAAAAAAAAAAAAEEcAAAAAABBCAAAAAAABU2NBAAAAAAAAAAAAAVNjUgAAAAAAAAAAAAFTY0cAAAAAAAAAAAABU2NCAAAAAAAAAAAAABBQYXR0ZXJuVGhlbWVDb2xvcgAAAAAAAVBhdHRlcm5UaW50QW5kU2hhZGUAAAAAAAAAAAAIRmlsbFZpc2libGUAAQ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Dg3TIoQAFXaWR0aAAAAABA0qtRQAFUb3AAAAAAYDBXgEABTGVmdAAAAAAAfMGIQAhGbGlwSG9yaXpvbnRhbGx5AAAIRmxpcEhvcml6b250YWxseUFwcGxpZWQAAAhGbGlwVmVydGljYWxseQAACEZsaXBWZXJ0aWNhbGx5QXBwbGllZAAAAVJvdGF0aW9uAAAAAAAAAAAAAVpPcmRlcgAAAAAAAIBRQANCb3JkZXJDb2xvcgBVAAAAEEEA/wAAABBSAP8AAAAQRwD/AAAAEEIA/wAAAAFTY0EAAAAAAAAA8D8BU2NSAAAAAAAAAPA/AVNjRwAAAAAAAADwPwFTY0IAAAAAAAAA8D8AEEJvcmRlclRoZW1lQ29sb3IAAAAAAAFCb3JkZXJUaW50QW5kU2hhZGUAAAAAAAAAAAAQQm9yZGVyU2NoZW1lQ29sb3IAAAAAAAFCb3JkZXJUaGlja25lc3MAAAAAAAAA8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QmFyU3R5bGVEYXRhACYAAAACQmFyU3R5bGVTaGFwZVR5cGUACgAAAFJlY3RhbmdsZQAAA0xhYmVsALQGAAAFTWFuYWdlZElkABAAAAAEvqf6S0twWE6ls02SS4D+aAhIYXNDaGFuZ2VzAAAIVXNlTmFtZUluc3RlYWRPZlRhZ0FzSWQAAAhTaGFwZVByZXZpb3VzbHlDcmVhdGVkAAEDRmlsbENvbG9yAFUAAAAQQQD/AAAAEFIAmQAAABBHANMAAAAQQgDyAAAAAVNjQQAAAAAAAADwPwFTY1IAAAAAIBJj1D8BU2NHAAAAAKBQ2OQ/AVNjQgAAAADA3WnsP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AA8AAABEYXRhIEFuYWx5dGljcwACVGV4dEhvcml6b250YWxBbGlnbm1lbnQADgAAAG1zb0FuY2hvck5vbmUAAlBhcmFncmFwaEFsaWdubWVudAAPAAAAbXNvQWxpZ25DZW50ZXIAAlRleHRWZXJ0aWNhbEFsaWdubWVudAAQAAAAbXNvQW5jaG9yTWlkZGxlAANGb250U3R5bGUAQAEAABBGb250QmFja2dyb3VuZAAAAAAACEZvbnRCb2xkAAADRm9udENvbG9yAFUAAAAQQQD/AAAAEFIAEAAAABBHADgAAAAQQgBPAAAAAVNjQQAAAAAAAADwPwFTY1IAAAAA4DY5dT8BU2NHAAAAAIBnP6Q/AVNjQgAAAABgFwS0PwAQRm9udFRoZW1lQ29sb3IAAAAAAAFGb250VGludEFuZFNoYWRlAAAAAAAAAAAAEEZvbnRTY2hlbWVDb2xvcgAAAAAACEZvbnRJdGFsaWMAAAJGb250TmFtZQAGAAAAQXJpYWwAAUZvbnRTaXplAAAAAAAAACBACEZvbnRTdHJpa2V0aHJvdWdoAAAIRm9udFN1YnNjcmlwdAAACEZvbnRTdXBlcnNjcmlwdAAACEZvbnRVbmRlcmxpbmUAAAAIU2l6ZVRvVGV4dFdpZHRoAAAIU2l6ZVRvVGV4dEhlaWdodAAAA1RleHRNYXJnaW4APwAAAAFMZWZ0AAAAAAAAAAAAAVRvcAAAAAAAAAAAAAFSaWdodAAAAAAAAAAAAAFCb3R0b20AAAAAAAAAAAAAAkRpc3BsYXlUZXh0AA8AAABEYXRhIEFuYWx5dGljcwABSGVpZ2h0AAAAAAAWXCNAAVdpZHRoAAAAACC/mElAAVRvcAAAAAAA3mCAQAFMZWZ0AAAAACBzD4lACEZsaXBIb3Jpem9udGFsbHkAAAhGbGlwSG9yaXpvbnRhbGx5QXBwbGllZAAACEZsaXBWZXJ0aWNhbGx5AAAIRmxpcFZlcnRpY2FsbHlBcHBsaWVkAAABUm90YXRpb24AAAAAAAAAAAABWk9yZGVyAAAAAAAAAFJ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Db25uZWN0b3JMaW5lRGF0YQDhBgAAA1N0YXJ0ABsAAAABWAAAAAAAfMGIQAFZAAAAAGAwV4BAAANFbmQAGwAAAAFYAAAAAAB8wYhAAVkAAAAAYDBXgEAAAlN0YXJ0QXJyb3dIZWFkABEAAABtc29BcnJvd2hlYWROb25lAAJFbmRBcnJvd0hlYWQAEQAAAG1zb0Fycm93aGVhZE5vbmUABU1hbmFnZWRJZAAQAAAABBSxWjkL32FOjZLAFDoXlnUISGFzQ2hhbmdlcwAACFVzZU5hbWVJbnN0ZWFkT2ZUYWdBc0lkAAAIU2hhcGVQcmV2aW91c2x5Q3JlYXRlZAAA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A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SgEAAAVLAQAASQEAAOcPAAAAAAAAAAAAAANTdGFydAAbAAAAAVgAzczMzBavB0ABWQBVrm5ygR+AQAADRW5kABsAAAABWAAzMzN9mPmNQAFZAFWubnKBH4BAAAJTdGFydEFycm93SGVhZAARAAAAbXNvQXJyb3doZWFkTm9uZQACRW5kQXJyb3dIZWFkABEAAABtc29BcnJvd2hlYWROb25lAAVNYW5hZ2VkSWQAEAAAAATgEoaf7bYdQ4zyAEMJ3DPjCEhhc0NoYW5nZXMAAAhVc2VOYW1lSW5zdGVhZE9mVGFnQXNJZAAACFNoYXBlUHJldmlvdXNseUNyZWF0ZWQAAA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YOnhjUABVG9wAAAAAICBH4BAAUxlZnQAAAAAwBavB0AIRmxpcEhvcml6b250YWxseQAACEZsaXBIb3Jpem9udGFsbHlBcHBsaWVkAAAIRmxpcFZlcnRpY2FsbHkAAAhGbGlwVmVydGljYWxseUFwcGxpZWQAAAFSb3RhdGlvbgAAAAAAAAAAAAFaT3JkZXIAAAAAAAAAKEADQm9yZGVyQ29sb3IAVQAAABBBAP8AAAAQUgDjAAAAEEcA4wAAABBCAOMAAAABU2NBAAAAAAAAAPA/AVNjUgAAAADAsZToPwFTY0cAAAAAwLGU6D8BU2NCAAAAAMCxlOg/ABBCb3JkZXJUaGVtZUNvbG9yAAAAAAABQm9yZGVyVGludEFuZFNoYWRlAAAAAAAAAAAAEEJvcmRlclNjaGVtZUNvbG9yAAAAAAABQm9yZGVyVGhpY2tuZXNzAAAAAAAAAPA/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AADNwAGggAAEF9pZAAUAAAABEl0ZW1zAF82AAADMAB2HAAAAl90eXBlAEsAAABlbXBvd2VyLkNoYXJ0cy5EYXRhLkdhbnR0LkNocm9ub2xvZ3kuRGF0YS5CYXJUYXNrRGF0YSwgZW1wb3dlci5DaGFydHMuRGF0YQACTGFiZWxQb3NpdGlvbgAHAAAAQ2VudGVyAAhJc0xhYmVsSW5zaWRlQm91bmRzAAEDU3R5bGUAWwQAAAFEZWZhdWx0Rm9udFNpemUAAAAAAAAAJEABRm9udFNpemUAAAAAAAAAIEADRm9udENvbG9yAFUAAAAQQQD/AAAAEFIAEAAAABBHADgAAAAQQgBPAAAAAVNjQQAAAAAAAADwPwFTY1IAAAAA4DY5dT8BU2NHAAAAAIBnP6Q/AVNjQgAAAABgFwS0PwAQRm9udFRoZW1lQ29sb3IAAAAAABBGb250U2NoZW1lQ29sb3IAAAAAAAFGb250VGludEFuZFNoYWRlAAAAAAAAAAAAA1BhdHRlcm5Db2xvcgBVAAAAEEEAAAAAABBSAAAAAAAQRwAAAAAAEEIAAAAAAAFTY0EAAAAAAAAAAAABU2NSAAAAAAAAAAAAAVNjRwAAAAAAAAAAAAFTY0IAAAAAAAAAAAAAEFBhdHRlcm5UaGVtZUNvbG9yAAAAAAABUGF0dGVyblRpbnRBbmRTaGFkZQAAAAAAAAAAAANEYXRhU3R5bGVGb250Q29sb3JWYWx1ZQBVAAAAEEEAAAAAABBSAAAAAAAQRwAAAAAAEEIAAAAAAAFTY0EAAAAAAAAAAAABU2NSAAAAAAAAAAAAAVNjRwAAAAAAAAAAAAFTY0IAAAAAAAAAAAAACERhdGFTdHlsZUZvbnRDb2xvckhhc1ZhbHVlAAABSGVpZ2h0AAAAAODdMihAAkRhc2hTdHlsZQANAAAAbXNvTGluZVNvbGlkAAhIYXNXaXNoRmlsbENvbG9yAAADRmlsbENvbG9yAFUAAAAQQQD/AAAAEFIAmQAAABBHANMAAAAQQgDyAAAAAVNjQQAAAAAAAADwPwFTY1IAAAAAIBJj1D8BU2NHAAAAAKBQ2OQ/AVNjQgAAAADA3WnsPwAQRmlsbFNjaGVtZUNvbG9yAAAAAAAQRmlsbFRoZW1lQ29sb3IAAAAAAAFGaWxsVGludEFuZFNoYWRlAAAAAAAAAAAAA0JvcmRlckNvbG9yAFUAAAAQQQAAAAAAEFIAAAAAABBHAAAAAAAQQgAAAAAAAVNjQQAAAAAAAAAAAAFTY1IAAAAAAAAAAAABU2NHAAAAAAAAAAAAAVNjQgAAAAAAAAAAAAAQQm9yZGVyVGhlbWVDb2xvcgAAAAAAAUJvcmRlclRpbnRBbmRTaGFkZQAAAAAAAAAAAAhJc0ZpbGxlZAABAlBhdHRlcm4AEAAAAG1zb1BhdHRlcm5NaXhlZAACU2hhcGVUeXBlAA4AAABtc29TaGFwZU1peGVkAANMYWJlbE9mZnNldABCAAAAAVgAAAAAAAAAAAABWQAAAAAAAAAAAAFMZW5ndGgAAAAAAAAAAAABTGVuZ3RoU3F1YXJlZAAAAAAAAAAAAAAISXNGb250Qm9sZAAACElzRm9udEl0YWxpYwAACElzRm9udFVuZGVybGluZWQAAAhMYWJlbEhhc0JhY2tncm91bmQAAAJUZXh0QWxpZ25tZW50AAUAAABMZWZ0AAAIRGlzcGxheUxhYmVsAAEDUmVuZGVySW5mbwD3FgAAA1JlY3RhbmdsZUZyZWVmb3JtAPwIAAAEVmVydGljZXMAmwIAAAMwACwAAAAQSW5kZXgwAAAAAAAQSW5kZXgxAAAAAAABVmFsdWUAAAAAAHzBiEAAAzEALAAAABBJbmRleDAAAAAAABBJbmRleDEAAQAAAAFWYWx1ZQAAAABgMFeAQAADMgAsAAAAEEluZGV4MAABAAAAEEluZGV4MQAAAAAAAVZhbHVlAAAAAAB8wYhAAAMzACwAAAAQSW5kZXgwAAEAAAAQSW5kZXgxAAEAAAABVmFsdWUAAAAAIJaHgEAAAzQALAAAABBJbmRleDAAAgAAABBJbmRleDEAAAAAAAFWYWx1ZQAAAAAAfMGIQAADNQAsAAAAEEluZGV4MAACAAAAEEluZGV4MQABAAAAAVZhbHVlAAAAAOD7t4BAAAM2ACwAAAAQSW5kZXgwAAMAAAAQSW5kZXgxAAAAAAABVmFsdWUAAAAAQPb2ikAAAzcALAAAABBJbmRleDAAAwAAABBJbmRleDEAAQAAAAFWYWx1ZQAAAADg+7eAQAADOAAsAAAAEEluZGV4MAAEAAAAEEluZGV4MQAAAAAAAVZhbHVlAAAAAED29opAAAM5ACwAAAAQSW5kZXgwAAQAAAAQSW5kZXgxAAEAAAABVmFsdWUAAAAAIJaHgEAAAzEwACwAAAAQSW5kZXgwAAUAAAAQSW5kZXgxAAAAAAABVmFsdWUAAAAAQPb2ikAAAzExACwAAAAQSW5kZXgwAAUAAAAQSW5kZXgxAAEAAAABVmFsdWUAAAAAYDBXgEAAAzEyACwAAAAQSW5kZXgwAAYAAAAQSW5kZXgxAAAAAAABVmFsdWUAAAAAAHzBiEAAAzEzACwAAAAQSW5kZXgwAAYAAAAQSW5kZXgxAAEAAAABVmFsdWUAAAAAYDBXgEAAAAVNYW5hZ2VkSWQAEAAAAAQvD0CA1lCsQ5Gp7KX284U6CEhhc0NoYW5nZXMAAAhVc2VOYW1lSW5zdGVhZE9mVGFnQXNJZAAACFNoYXBlUHJldmlvdXNseUNyZWF0ZWQAAANGaWxsQ29sb3IAVQAAABBBAP8AAAAQUgCZAAAAEEcA0wAAABBCAPIAAAABU2NBAAAAAAAAAPA/AVNjUgAAAAAgEmPUPwFTY0cAAAAAoFDY5D8BU2NCAAAAAMDdaew/ABBGaWxsVGhlbWVDb2xvcgAAAAAAAUZpbGxUaW50QW5kU2hhZGUAAAAAAAAAAAAQRmlsbFNjaGVtZUNvbG9yAAAAAAADUGF0dGVybkNvbG9yAFUAAAAQQQAAAAAAEFIAAAAAAEsBAAAFTAEAAEoBAADnDwAAAAAAAAAAAABsaXBIb3Jpem9udGFsbHlBcHBsaWVkAAAIRmxpcFZlcnRpY2FsbHkAAAhGbGlwVmVydGljYWxseUFwcGxpZWQAAAFSb3RhdGlvbgAAAAAAAAAAAAFaT3JkZXIAAAAAAABAVU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BFRyYWZmaWNMaWdodERhdGEABQAAAAAESGFydmV5QmFsbERhdGEABQAAAAACVHJhZmZpY0xpZ2h0U3RhdGUABAAAAE9mZgAEQ2hlY2tCb3hEYXRhAAUAAAAAAkNoZWNrQm94U3RhdGUABQAAAE5vbmUAAANMZWZ0U2lkZVJlbmRlckluZm8AIRQAAANMYWJlbACmBgAABU1hbmFnZWRJZAAQAAAABNzPG2Xc+O1FhZw02HkELOEISGFzQ2hhbmdlcwAACFVzZU5hbWVJbnN0ZWFkT2ZUYWdBc0lkAAAIU2hhcGVQcmV2aW91c2x5Q3JlYXRlZAAB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AAJAAAAU3ByaW50IDcAAlRleHRIb3Jpem9udGFsQWxpZ25tZW50AA4AAABtc29BbmNob3JOb25lAAJQYXJhZ3JhcGhBbGlnbm1lbnQADQAAAG1zb0FsaWduTGVmdAACVGV4dFZlcnRpY2FsQWxpZ25tZW50ABAAAABtc29BbmNob3JNaWRkbGUAA0ZvbnRTdHlsZQBAAQAAEEZvbnRCYWNrZ3JvdW5kAAAAAAAIRm9udEJvbGQAAANGb250Q29sb3IAVQAAABBBAP8AAAAQUgAQAAAAEEcAOAAAABBCAE8AAAABU2NBAAAAAAAAAPA/AVNjUgAAAADgNjl1PwFTY0cAAAAAgGc/pD8BU2NCAAAAAGAXBLQ/ABBGb250VGhlbWVDb2xvcgAAAAAAAUZvbnRUaW50QW5kU2hhZGUAAAAAAAAAAAAQRm9udFNjaGVtZUNvbG9yAAAAAAAIRm9udEl0YWxpYwAAAkZvbnROYW1lAAYAAABBcmlhbAABRm9udFNpemUAAAAAAAAAJEAIRm9udFN0cmlrZXRocm91Z2gAAAhGb250U3Vic2NyaXB0AAAIRm9udFN1cGVyc2NyaXB0AAAIRm9udFVuZGVybGluZQAAAAhTaXplVG9UZXh0V2lkdGgAAAhTaXplVG9UZXh0SGVpZ2h0AAADVGV4dE1hcmdpbgA/AAAAAUxlZnQAAAAAAAAAAAABVG9wAAAAAAAAAAAAAVJpZ2h0AAAAAAAAAAAAAUJvdHRvbQAAAAAAAAAAAAACRGlzcGxheVRleHQACQAAAFNwcmludCA3AAFIZWlnaHQAAAAAYN8LJ0ABV2lkdGgAAAAAAHR6Q0ABVG9wAAAAAACqIn9AAUxlZnQAAAAAQElcN0AIRmxpcEhvcml6b250YWxseQAACEZsaXBIb3Jpem9udGFsbHlBcHBsaWVkAAAIRmxpcFZlcnRpY2FsbHkAAAhGbGlwVmVydGljYWxseUFwcGxpZWQAAAFSb3RhdGlvbgAAAAAAAAAAAAFaT3JkZXIAAAAAAAAAPk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JlY3RhbmdsZQB0BgAAAkF1dG9TaGFwZVR5cGUACgAAAFJlY3RhbmdsZQAFTWFuYWdlZElkABAAAAAENDg5vXJXT0m3h4rlHKHv9QhIYXNDaGFuZ2VzAAAIVXNlTmFtZUluc3RlYWRPZlRhZ0FzSWQAAAhTaGFwZVByZXZpb3VzbHlDcmVhdGVkAAADRmlsbENvbG9yAFUAAAAQQQAAAAAAEFIA/wAAABBHAP8AAAAQQgD/AAAAAVNjQQAAAAAAAAAAAAFTY1IAAAAAAAAA8D8BU2NHAAAAAAAAAPA/AVNjQgAAAAAAAADwP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A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EAtBThAAVdpZHRoAAAAAACD241AAVRvcAAAAAAgsL5+QAFMZWZ0AAAAAABK4gpACEZsaXBIb3Jpem9udGFsbHkAAAhGbGlwSG9yaXpvbnRhbGx5QXBwbGllZAAACEZsaXBWZXJ0aWNhbGx5AAAIRmxpcFZlcnRpY2FsbHlBcHBsaWVkAAABUm90YXRpb24AAAAAAAAAAAABWk9yZGVyAAAAAAAAACZ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TZXBhcmF0b3JMaW5lAOEGAABMAQAABUUBAABLAQAA5w8AAAAAAAAAAAAAAAA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JEaXNwbGF5VGV4dAABAAAAAAFIZWlnaHQAAAAAAAAA8D8BV2lkdGgAAAAAAAAA8D8BVG9wAAAAAACMlnFAAUxlZnQAAAAAQGX2jU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NlcGFyYXRvckxpbmUA4QYAAANTdGFydAAbAAAAAVgAzczMFjLzjUABWQAAAACAgR+AQAADRW5kABsAAAABWAAzMzN9mPmNQAFZAAAAAICBH4BAAAJTdGFydEFycm93SGVhZAARAAAAbXNvQXJyb3doZWFkTm9uZQACRW5kQXJyb3dIZWFkABEAAABtc29BcnJvd2hlYWROb25lAAVNYW5hZ2VkSWQAEAAAAASI+Y1E/hpLQrH3Fd3Og0J+CEhhc0NoYW5nZXMAAQhVc2VOYW1lSW5zdGVhZE9mVGFnQXNJZAAACFNoYXBlUHJldmlvdXNseUNyZWF0ZWQAAA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oJmZ6T8BVG9wAAAAAICBH4BAAUxlZnQAAAAAIDLzjUAIRmxpcEhvcml6b250YWxseQAACEZsaXBIb3Jpem9udGFsbHlBcHBsaWVkAAAIRmxpcFZlcnRpY2FsbHkAAAhGbGlwVmVydGljYWxseUFwcGxpZWQAAAFSb3RhdGlvbgAAAAAAAAAAAAFaT3JkZXIAAAAAAACAVUADQm9yZGVyQ29sb3IAVQAAABBBAP8AAAAQUgDjAAAAEEcA4wAAABBCAOMAAAABU2NBAAAAAAAAAPA/AVNjUgAAAADAsZToPwFTY0cAAAAAwLGU6D8BU2NCAAAAAMCxlOg/ABBCb3JkZXJUaGVtZUNvbG9yAAAAAAABQm9yZGVyVGludEFuZFNoYWRlAAAAAAAAAAAAEEJvcmRlclNjaGVtZUNvbG9yAAAAAAABQm9yZGVyVGhpY2tuZXNzAAAAAAAAAPA/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JlY3RhbmdsZQB0BgAAAkF1dG9TaGFwZVR5cGUACgAAAFJlY3RhbmdsZQAFTWFuYWdlZElkABAAAAAEVqYy/jwnv0Kyoeekl1DVbghIYXNDaGFuZ2VzAAEIVXNlTmFtZUluc3RlYWRPZlRhZ0FzSWQAAAhTaGFwZVByZXZpb3VzbHlDcmVhdGVkAAADRmlsbENvbG9yAFUAAAAQQQAAAAAAEFIA/wAAABBHAP8AAAAQQgD/AAAAAVNjQQAAAAAAAAAAAAFTY1IAAAAAAAAA8D8BU2NHAAAAAAAAAPA/AVNjQgAAAAAAAADwP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A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EAtBThAAVdpZHRoAAAAAAAAAAAAAVRvcAAAAAAgsL5+QAFMZWZ0AAAAAEBl7o1ACEZsaXBIb3Jpem9udGFsbHkAAAhGTQEAAAVOAQAAUQEAAOcPAAAAAAAAAAAAAENvbG9yAFUAAAAQQQAAAAAAEFIAAAAAABBHAAAAAAAQQgAAAAAAAVNjQQAAAAAAAAAAAAFTY1IAAAAAAAAAAAABU2NHAAAAAAAAAAAAAVNjQgAAAAAAAAAAAAAQUGF0dGVyblRoZW1lQ29sb3IAAAAAAAFQYXR0ZXJuVGludEFuZFNoYWRlAAAAAAAAAAAACEZpbGxWaXNpYmxlAAE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4N0yKEABV2lkdGgAAAAAQNKrUUABVG9wAAAAAGAwV4BAAUxlZnQAAAAAAHzBiEAIRmxpcEhvcml6b250YWxseQAACEZsaXBIb3Jpem9udGFsbHlBcHBsaWVkAAAIRmxpcFZlcnRpY2FsbHkAAAhGbGlwVmVydGljYWxseUFwcGxpZWQAAAFSb3RhdGlvbgAAAAAAAAAAAAFaT3JkZXIAAAAAAACAUUADQm9yZGVyQ29sb3IAVQAAABBBAP8AAAAQUgD/AAAAEEcA/wAAABBCAP8AAAABU2NBAAAAAAAAAPA/AVNjUgAAAAAAAADwPwFTY0cAAAAAAAAA8D8BU2NCAAAAAAAAAPA/ABBCb3JkZXJUaGVtZUNvbG9yAAAAAAABQm9yZGVyVGludEFuZFNoYWRlAAAAAAAAAAAAEEJvcmRlclNjaGVtZUNvbG9yAAAAAAABQm9yZGVyVGhpY2tuZXNzAAAAAAAAAPA/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JhclN0eWxlRGF0YQAmAAAAAkJhclN0eWxlU2hhcGVUeXBlAAoAAABSZWN0YW5nbGUAAANMYWJlbAC0BgAABU1hbmFnZWRJZAAQAAAABL6n+ktLcFhOpbNNkkuA/mgISGFzQ2hhbmdlcwAACFVzZU5hbWVJbnN0ZWFkT2ZUYWdBc0lkAAAIU2hhcGVQcmV2aW91c2x5Q3JlYXRlZAABA0ZpbGxDb2xvcgBVAAAAEEEA/wAAABBSAJkAAAAQRwDTAAAAEEIA8gAAAAFTY0EAAAAAAAAA8D8BU2NSAAAAACASY9Q/AVNjRwAAAACgUNjkPwFTY0IAAAAAwN1p7D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AAPAAAARGF0YSBBbmFseXRpY3MAAlRleHRIb3Jpem9udGFsQWxpZ25tZW50AA4AAABtc29BbmNob3JOb25lAAJQYXJhZ3JhcGhBbGlnbm1lbnQADwAAAG1zb0FsaWduQ2VudGVyAAJUZXh0VmVydGljYWxBbGlnbm1lbnQAEAAAAG1zb0FuY2hvck1pZGRsZQADRm9udFN0eWxlAEABAAAQRm9udEJhY2tncm91bmQAAAAAAAhGb250Qm9sZAAAA0ZvbnRDb2xvcgBVAAAAEEEA/wAAABBSABAAAAAQRwA4AAAAEEIATwAAAAFTY0EAAAAAAAAA8D8BU2NSAAAAAOA2OXU/AVNjRwAAAACAZz+kPwFTY0IAAAAAYBcEtD8AEEZvbnRUaGVtZUNvbG9yAAAAAAABRm9udFRpbnRBbmRTaGFkZQAAAAAAAAAAABBGb250U2NoZW1lQ29sb3IAAAAAAAhGb250SXRhbGljAAACRm9udE5hbWUABgAAAEFyaWFsAAFGb250U2l6ZQAAAAAAAAAgQAhGb250U3RyaWtldGhyb3VnaAAACEZvbnRTdWJzY3JpcHQAAAhGb250U3VwZXJzY3JpcHQAAAhGb250VW5kZXJsaW5lAAAACFNpemVUb1RleHRXaWR0aAAACFNpemVUb1RleHRIZWlnaHQAAANUZXh0TWFyZ2luAD8AAAABTGVmdAAAAAAAAAAAAAFUb3AAAAAAAAAAAAABUmlnaHQAAAAAAAAAAAABQm90dG9tAAAAAAAAAAAAAAJEaXNwbGF5VGV4dAAPAAAARGF0YSBBbmFseXRpY3MAAUhlaWdodAAAAAAAFlwjQAFXaWR0aAAAAAAgv5hJQAFUb3AAAAAAAN5ggEABTGVmdAAAAAAgcw+JQAhGbGlwSG9yaXpvbnRhbGx5AAAIRmxpcEhvcml6b250YWxseUFwcGxpZWQAAAhGbGlwVmVydGljYWxseQAACEZsaXBWZXJ0aWNhbGx5QXBwbGllZAAAAVJvdGF0aW9uAAAAAAAAAAAAAVpPcmRlcgAAAAAAAABS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Q29ubmVjdG9yTGluZURhdGEA4QYAAANTdGFydAAbAAAAAVgAAAAAAHzBiEABWQAAAABgMFeAQAADRW5kABsAAAABWAAAAAAAfMGIQAFZAAAAAGAwV4BAAAJTdGFydEFycm93SGVhZAARAAAAbXNvQXJyb3doZWFkTm9uZQACRW5kQXJyb3dIZWFkABEAAABtc29BcnJvd2hlYWROb25lAAVNYW5hZ2VkSWQAEAAAAAQUsVo5C99hTo2SwBQ6F5Z1CEhhc0NoYW5nZXMAAAhVc2VOYW1lSW5zdGVhZE9mVGFnQXNJZAAACFNoYXBlUHJldmlvdXNseUNyZWF0ZWQAAA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A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E4BAAAFTwEAAE0BAADnDwAAAAAAAAAAAAAAAAAAAANTZXBhcmF0b3JMaW5lAOEGAAADU3RhcnQAGwAAAAFYAM3MzMwWrwdAAVkAVa5ucoEfgEAAA0VuZAAbAAAAAVgAMzMzfZj5jUABWQBVrm5ygR+AQAACU3RhcnRBcnJvd0hlYWQAEQAAAG1zb0Fycm93aGVhZE5vbmUAAkVuZEFycm93SGVhZAARAAAAbXNvQXJyb3doZWFkTm9uZQAFTWFuYWdlZElkABAAAAAE4BKGn+22HUOM8gBDCdwz4whIYXNDaGFuZ2VzAAAIVXNlTmFtZUluc3RlYWRPZlRhZ0FzSWQAAAhTaGFwZVByZXZpb3VzbHlDcmVhdGVkAAA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AAAAAAAAVdpZHRoAAAAAGDp4Y1AAVRvcAAAAACAgR+AQAFMZWZ0AAAAAMAWrwdACEZsaXBIb3Jpem9udGFsbHkAAAhGbGlwSG9yaXpvbnRhbGx5QXBwbGllZAAACEZsaXBWZXJ0aWNhbGx5AAAIRmxpcFZlcnRpY2FsbHlBcHBsaWVkAAABUm90YXRpb24AAAAAAAAAAAABWk9yZGVyAAAAAAAAAChAA0JvcmRlckNvbG9yAFUAAAAQQQD/AAAAEFIA4wAAABBHAOMAAAAQQgDjAAAAAVNjQQAAAAAAAADwPwFTY1IAAAAAwLGU6D8BU2NHAAAAAMCxlOg/AVNjQgAAAADAsZToPwAQQm9yZGVyVGhlbWVDb2xvcgAAAAAAAUJvcmRlclRpbnRBbmRTaGFkZQAAAAAAAAAAABBCb3JkZXJTY2hlbWVDb2xvcgAAAAAAAUJvcmRlclRoaWNrbmVzcwAAAAAAAADw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AAAzcABoIAABBfaWQAFAAAAARJdGVtcwBfNgAAAzAAdhwAAAJfdHlwZQBLAAAAZW1wb3dlci5DaGFydHMuRGF0YS5HYW50dC5DaHJvbm9sb2d5LkRhdGEuQmFyVGFza0RhdGEsIGVtcG93ZXIuQ2hhcnRzLkRhdGEAAkxhYmVsUG9zaXRpb24ABwAAAENlbnRlcgAISXNMYWJlbEluc2lkZUJvdW5kcwABA1N0eWxlAFsEAAABRGVmYXVsdEZvbnRTaXplAAAAAAAAACRAAUZvbnRTaXplAAAAAAAAACBAA0ZvbnRDb2xvcgBVAAAAEEEA/wAAABBSABAAAAAQRwA4AAAAEEIATwAAAAFTY0EAAAAAAAAA8D8BU2NSAAAAAOA2OXU/AVNjRwAAAACAZz+kPwFTY0IAAAAAYBcEtD8AEEZvbnRUaGVtZUNvbG9yAAAAAAAQRm9udFNjaGVtZUNvbG9yAAAAAAABRm9udFRpbnRBbmRTaGFkZQAAAAAAAAAAAANQYXR0ZXJuQ29sb3IAVQAAABBBAAAAAAAQUgAAAAAAEEcAAAAAABBCAAAAAAABU2NBAAAAAAAAAAAAAVNjUgAAAAAAAAAAAAFTY0cAAAAAAAAAAAABU2NCAAAAAAAAAAAAABBQYXR0ZXJuVGhlbWVDb2xvcgAAAAAAAVBhdHRlcm5UaW50QW5kU2hhZGUAAAAAAAAAAAADRGF0YVN0eWxlRm9udENvbG9yVmFsdWUAVQAAABBBAAAAAAAQUgAAAAAAEEcAAAAAABBCAAAAAAABU2NBAAAAAAAAAAAAAVNjUgAAAAAAAAAAAAFTY0cAAAAAAAAAAAABU2NCAAAAAAAAAAAAAAhEYXRhU3R5bGVGb250Q29sb3JIYXNWYWx1ZQAAAUhlaWdodAAAAADg3TIoQAJEYXNoU3R5bGUADQAAAG1zb0xpbmVTb2xpZAAISGFzV2lzaEZpbGxDb2xvcgAAA0ZpbGxDb2xvcgBVAAAAEEEA/wAAABBSAJkAAAAQRwDTAAAAEEIA8gAAAAFTY0EAAAAAAAAA8D8BU2NSAAAAACASY9Q/AVNjRwAAAACgUNjkPwFTY0IAAAAAwN1p7D8AEEZpbGxTY2hlbWVDb2xvcgAAAAAAEEZpbGxUaGVtZUNvbG9yAAAAAAABRmlsbFRpbnRBbmRTaGFkZQAAAAAAAAAAAANCb3JkZXJDb2xvcgBVAAAAEEEAAAAAABBSAAAAAAAQRwAAAAAAEEIAAAAAAAFTY0EAAAAAAAAAAAABU2NSAAAAAAAAAAAAAVNjRwAAAAAAAAAAAAFTY0IAAAAAAAAAAAAAEEJvcmRlclRoZW1lQ29sb3IAAAAAAAFCb3JkZXJUaW50QW5kU2hhZGUAAAAAAAAAAAAISXNGaWxsZWQAAQJQYXR0ZXJuABAAAABtc29QYXR0ZXJuTWl4ZWQAAlNoYXBlVHlwZQAOAAAAbXNvU2hhcGVNaXhlZAADTGFiZWxPZmZzZXQAQgAAAAFYAAAAAAAAAAAAAVkAAAAAAAAAAAABTGVuZ3RoAAAAAAAAAAAAAUxlbmd0aFNxdWFyZWQAAAAAAAAAAAAACElzRm9udEJvbGQAAAhJc0ZvbnRJdGFsaWMAAAhJc0ZvbnRVbmRlcmxpbmVkAAAITGFiZWxIYXNCYWNrZ3JvdW5kAAACVGV4dEFsaWdubWVudAAFAAAATGVmdAAACERpc3BsYXlMYWJlbAABA1JlbmRlckluZm8A9xYAAANSZWN0YW5nbGVGcmVlZm9ybQD8CAAABFZlcnRpY2VzAJsCAAADMAAsAAAAEEluZGV4MAAAAAAAEEluZGV4MQAAAAAAAVZhbHVlAAAAAAB8wYhAAAMxACwAAAAQSW5kZXgwAAAAAAAQSW5kZXgxAAEAAAABVmFsdWUAAAAAYDBXgEAAAzIALAAAABBJbmRleDAAAQAAABBJbmRleDEAAAAAAAFWYWx1ZQAAAAAAfMGIQAADMwAsAAAAEEluZGV4MAABAAAAEEluZGV4MQABAAAAAVZhbHVlAAAAACCWh4BAAAM0ACwAAAAQSW5kZXgwAAIAAAAQSW5kZXgxAAAAAAABVmFsdWUAAAAAAHzBiEAAAzUALAAAABBJbmRleDAAAgAAABBJbmRleDEAAQAAAAFWYWx1ZQAAAADg+7eAQAADNgAsAAAAEEluZGV4MAADAAAAEEluZGV4MQAAAAAAAVZhbHVlAAAAAED29opAAAM3ACwAAAAQSW5kZXgwAAMAAAAQSW5kZXgxAAEAAAABVmFsdWUAAAAA4Pu3gEAAAzgALAAAABBJbmRleDAABAAAABBJbmRleDEAAAAAAAFWYWx1ZQAAAABA9vaKQAADOQAsAAAAEEluZGV4MAAEAAAAEEluZGV4MQABAAAAAVZhbHVlAAAAACCWh4BAAAMxMAAsAAAAEEluZGV4MAAFAAAAEEluZGV4MQAAAAAAAVZhbHVlAAAAAED29opAAAMxMQAsAAAAEEluZGV4MAAFAAAAEEluZGV4MQABAAAAAVZhbHVlAAAAAGAwV4BAAAMxMgAsAAAAEEluZGV4MAAGAAAAEEluZGV4MQAAAAAAAVZhbHVlAAAAAAB8wYhAAAMxMwAsAAAAEEluZGV4MAAGAAAAEEluZGV4MQABAAAAAVZhbHVlAAAAAGAwV4BAAAAFTWFuYWdlZElkABAAAAAELw9AgNZQrEORqeyl9vOFOghIYXNDaGFuZ2VzAAAIVXNlTmFtZUluc3RlYWRPZlRhZ0FzSWQAAAhTaGFwZVByZXZpb3VzbHlDcmVhdGVkAAADRmlsbENvbG9yAFUAAAAQQQD/AAAAEFIAmQAAABBHANMAAAAQQgDyAAAAAVNjQQAAAAAAAADwPwFTY1IAAAAAIBJj1D8BU2NHAAAAAKBQ2OQ/AVNjQgAAAADA3WnsPwAQRmlsbFRoZW1lQ29sb3IAAAAAAAFGaWxsVGludEFuZFNoYWRlAAAAAAAAAAAAEEZpbGxTY2hlbWVDb2xvcgAAAAAAA1BhdHRlcm5PAQAABVABAABOAQAA5w8AAAAAAAAAAAAA7o1ACEZsaXBIb3Jpem9udGFsbHkAAAhGbGlwSG9yaXpvbnRhbGx5QXBwbGllZAAACEZsaXBWZXJ0aWNhbGx5AAAIRmxpcFZlcnRpY2FsbHlBcHBsaWVkAAABUm90YXRpb24AAAAAAAAAAAABWk9yZGVyAAAAAAAAQFV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RUcmFmZmljTGlnaHREYXRhAAUAAAAABEhhcnZleUJhbGxEYXRhAAUAAAAAAlRyYWZmaWNMaWdodFN0YXRlAAQAAABPZmYABENoZWNrQm94RGF0YQAFAAAAAAJDaGVja0JveFN0YXRlAAUAAABOb25lAAADTGVmdFNpZGVSZW5kZXJJbmZvACEUAAADTGFiZWwApgYAAAVNYW5hZ2VkSWQAEAAAAATczxtl3PjtRYWcNNh5BCzhCEhhc0NoYW5nZXMAAAhVc2VOYW1lSW5zdGVhZE9mVGFnQXNJZAAACFNoYXBlUHJldmlvdXNseUNyZWF0ZWQAAQ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QACQAAAFNwcmludCA3AAJUZXh0SG9yaXpvbnRhbEFsaWdubWVudAAOAAAAbXNvQW5jaG9yTm9uZQACUGFyYWdyYXBoQWxpZ25tZW50AA0AAABtc29BbGlnbkxlZnQAAlRleHRWZXJ0aWNhbEFsaWdubWVudAAQAAAAbXNvQW5jaG9yTWlkZGxlAANGb250U3R5bGUAQAEAABBGb250QmFja2dyb3VuZAAAAAAACEZvbnRCb2xkAAADRm9udENvbG9yAFUAAAAQQQD/AAAAEFIAEAAAABBHADgAAAAQQgBPAAAAAVNjQQAAAAAAAADwPwFTY1IAAAAA4DY5dT8BU2NHAAAAAIBnP6Q/AVNjQgAAAABgFwS0PwAQRm9udFRoZW1lQ29sb3IAAAAAAAFGb250VGludEFuZFNoYWRlAAAAAAAAAAAAEEZvbnRTY2hlbWVDb2xvcgAAAAAACEZvbnRJdGFsaWMAAAJGb250TmFtZQAGAAAAQXJpYWwAAUZvbnRTaXplAAAAAAAAACRACEZvbnRTdHJpa2V0aHJvdWdoAAAIRm9udFN1YnNjcmlwdAAACEZvbnRTdXBlcnNjcmlwdAAACEZvbnRVbmRlcmxpbmUAAAAIU2l6ZVRvVGV4dFdpZHRoAAAIU2l6ZVRvVGV4dEhlaWdodAAAA1RleHRNYXJnaW4APwAAAAFMZWZ0AAAAAAAAAAAAAVRvcAAAAAAAAAAAAAFSaWdodAAAAAAAAAAAAAFCb3R0b20AAAAAAAAAAAAAAkRpc3BsYXlUZXh0AAkAAABTcHJpbnQgNwABSGVpZ2h0AAAAAGDfCydAAVdpZHRoAAAAAAB0ekNAAVRvcAAAAAAAqiJ/QAFMZWZ0AAAAAEBJXDdACEZsaXBIb3Jpem9udGFsbHkAAAhGbGlwSG9yaXpvbnRhbGx5QXBwbGllZAAACEZsaXBWZXJ0aWNhbGx5AAAIRmxpcFZlcnRpY2FsbHlBcHBsaWVkAAABUm90YXRpb24AAAAAAAAAAAABWk9yZGVyAAAAAAAAAD5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SZWN0YW5nbGUAdAYAAAJBdXRvU2hhcGVUeXBlAAoAAABSZWN0YW5nbGUABU1hbmFnZWRJZAAQAAAABDQ4Ob1yV09Jt4eK5Ryh7/UISGFzQ2hhbmdlcwAACFVzZU5hbWVJbnN0ZWFkT2ZUYWdBc0lkAAAIU2hhcGVQcmV2aW91c2x5Q3JlYXRlZAAAA0ZpbGxDb2xvcgBVAAAAEEEAAAAAABBSAP8AAAAQRwD/AAAAEEIA/wAAAAFTY0EAAAAAAAAAAAABU2NSAAAAAAAAAPA/AVNjRwAAAAAAAADwPwFTY0IAAAAAAAAA8D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A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BALQU4QAFXaWR0aAAAAAAAg9uNQAFUb3AAAAAAILC+fkABTGVmdAAAAAAASuIKQAhGbGlwSG9yaXpvbnRhbGx5AAAIRmxpcEhvcml6b250YWxseUFwcGxpZWQAAAhGbGlwVmVydGljYWxseQAACEZsaXBWZXJ0aWNhbGx5QXBwbGllZAAAAVJvdGF0aW9uAAAAAAAAAAAAAVpPcmRlcgAAAAAAAAAm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UAEAAAVHAQAATwEAAOcPAAAAAAAAAAAAAG1zb1BhdHRlcm5NaXhlZAACVGV4dAABAAAA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CRGlzcGxheVRleHQAAQAAAAABSGVpZ2h0AAAAAAAAAPA/AVdpZHRoAAAAAAAAAPA/AVRvcAAAAAAAjJZxQAFMZWZ0AAAAAEBl9o1ACEZsaXBIb3Jpem9udGFsbHkAAAhGbGlwSG9yaXpvbnRhbGx5QXBwbGllZAAACEZsaXBWZXJ0aWNhbGx5AAAIRmxpcFZlcnRpY2FsbHlBcHBsaWVkAAABUm90YXRpb24AAAAAAAAAAAABWk9yZGVyAAAAAAAAAAA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TZXBhcmF0b3JMaW5lAOEGAAADU3RhcnQAGwAAAAFYAM3MzBYy841AAVkAAAAAgIEfgEAAA0VuZAAbAAAAAVgAMzMzfZj5jUABWQAAAACAgR+AQAACU3RhcnRBcnJvd0hlYWQAEQAAAG1zb0Fycm93aGVhZE5vbmUAAkVuZEFycm93SGVhZAARAAAAbXNvQXJyb3doZWFkTm9uZQAFTWFuYWdlZElkABAAAAAEiPmNRP4aS0Kx9xXdzoNCfghIYXNDaGFuZ2VzAAEIVXNlTmFtZUluc3RlYWRPZlRhZ0FzSWQAAAhTaGFwZVByZXZpb3VzbHlDcmVhdGVkAAA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AAAAAAAAVdpZHRoAAAAAKCZmek/AVRvcAAAAACAgR+AQAFMZWZ0AAAAACAy841ACEZsaXBIb3Jpem9udGFsbHkAAAhGbGlwSG9yaXpvbnRhbGx5QXBwbGllZAAACEZsaXBWZXJ0aWNhbGx5AAAIRmxpcFZlcnRpY2FsbHlBcHBsaWVkAAABUm90YXRpb24AAAAAAAAAAAABWk9yZGVyAAAAAAAAgFVAA0JvcmRlckNvbG9yAFUAAAAQQQD/AAAAEFIA4wAAABBHAOMAAAAQQgDjAAAAAVNjQQAAAAAAAADwPwFTY1IAAAAAwLGU6D8BU2NHAAAAAMCxlOg/AVNjQgAAAADAsZToPwAQQm9yZGVyVGhlbWVDb2xvcgAAAAAAAUJvcmRlclRpbnRBbmRTaGFkZQAAAAAAAAAAABBCb3JkZXJTY2hlbWVDb2xvcgAAAAAAAUJvcmRlclRoaWNrbmVzcwAAAAAAAADw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SZWN0YW5nbGUAdAYAAAJBdXRvU2hhcGVUeXBlAAoAAABSZWN0YW5nbGUABU1hbmFnZWRJZAAQAAAABFamMv48J79CsqHnpJdQ1W4ISGFzQ2hhbmdlcwABCFVzZU5hbWVJbnN0ZWFkT2ZUYWdBc0lkAAAIU2hhcGVQcmV2aW91c2x5Q3JlYXRlZAAAA0ZpbGxDb2xvcgBVAAAAEEEAAAAAABBSAP8AAAAQRwD/AAAAEEIA/wAAAAFTY0EAAAAAAAAAAAABU2NSAAAAAAAAAPA/AVNjRwAAAAAAAADwPwFTY0IAAAAAAAAA8D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A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BALQU4QAFXaWR0aAAAAAAAAAAAAAFUb3AAAAAAILC+fkABTGVmdAAAAABAZVEBAAAFTQEAAFIBAADnDwAAAAAAAAA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AAAAAAAAVdpZHRoAAAAAAAAAAAAAVRvcAAAAABgMFeAQAFMZWZ0AAAAAAB8wYhACEZsaXBIb3Jpem9udGFsbHkAAAhGbGlwSG9yaXpvbnRhbGx5QXBwbGllZAAACEZsaXBWZXJ0aWNhbGx5AAAIRmxpcFZlcnRpY2FsbHlBcHBsaWVkAAABUm90YXRpb24AAAAAAAAAAAABWk9yZGVyAAAAAAAAwFFAA0JvcmRlckNvbG9yAFUAAAAQQQD/AAAAEFIAmQAAABBHANMAAAAQQgDyAAAAAVNjQQAAAAAAAADwPwFTY1IAAAAAIBJj1D8BU2NHAAAAAKBQ2OQ/AVNjQgAAAADA3WnsPw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AJRW5kVGltZQAAvzfQkQEAABBJbmRleAABAAAAAkRlc2NyaXB0aW9uAA8AAABEYXRhIEFuYWx5dGljcwACTmFtZQAFAAAAVGFzawAISXNMZWFkZXJMaW5lSW5BdXRvTW9kZQABCVN0YXJ0VGltZQAAE0WNkQEAAAADMQDeGQAAAl90eXBlAE0AAABlbXBvd2VyLkNoYXJ0cy5EYXRhLkdhbnR0LkNocm9ub2xvZ3kuRGF0YS5NaWxlc3RvbmVEYXRhLCBlbXBvd2VyLkNoYXJ0cy5EYXRhAANTdHlsZQB2BAAAAURlZmF1bHRGb250U2l6ZQAAAAAAAAAkQAFGb250U2l6ZQAAAAAAAAAgQANGb250Q29sb3IAVQAAABBBAP8AAAAQUgAQAAAAEEcAOAAAABBCAE8AAAABU2NBAAAAAAAAAPA/AVNjUgAAAADgNjl1PwFTY0cAAAAAgGc/pD8BU2NCAAAAAGAXBLQ/ABBGb250VGhlbWVDb2xvcgAAAAAAEEZvbnRTY2hlbWVDb2xvcgAAAAAAAUZvbnRUaW50QW5kU2hhZGUAAAAAAAAAAAADUGF0dGVybkNvbG9yAFUAAAAQQQAAAAAAEFIAAAAAABBHAAAAAAAQQgAAAAAAAVNjQQAAAAAAAAAAAAFTY1IAAAAAAAAAAAABU2NHAAAAAAAAAAAAAVNjQgAAAAAAAAAAAAAQUGF0dGVyblRoZW1lQ29sb3IAAAAAAAFQYXR0ZXJuVGludEFuZFNoYWRlAAAAAAAAAAAAA0RhdGFTdHlsZUZvbnRDb2xvclZhbHVlAFUAAAAQQQAAAAAAEFIAAAAAABBHAAAAAAAQQgAAAAAAAVNjQQAAAAAAAAAAAAFTY1IAAAAAAAAAAAABU2NHAAAAAAAAAAAAAVNjQgAAAAAAAAAAAAAIRGF0YVN0eWxlRm9udENvbG9ySGFzVmFsdWUAAAFIZWlnaHQAAAAA4N0yKEACRGFzaFN0eWxlAA0AAABtc29MaW5lU29saWQACEhhc1dpc2hGaWxsQ29sb3IAAANGaWxsQ29sb3IAVQAAABBBAP8AAAAQUgAAAAAAEEcAkQAAABBCAN8AAAABU2NBAAAAAAAAAPA/AVNjUgAAAAAAAAAAAAFTY0cAAAAAABwf0j8BU2NCAAAAAGD2nOc/ABBGaWxsU2NoZW1lQ29sb3IAAAAAABBGaWxsVGhlbWVDb2xvcgAAAAAAAUZpbGxUaW50QW5kU2hhZGUAAAAAAAAAAAADQm9yZGVyQ29sb3IAVQAAABBBAP8AAAAQUgD/AAAAEEcA/wAAABBCAP8AAAABU2NBAAAAAAAAAPA/AVNjUgAAAAAAAADwPwFTY0cAAAAAAAAA8D8BU2NCAAAAAAAAAPA/ABBCb3JkZXJUaGVtZUNvbG9yAAAAAAABQm9yZGVyVGludEFuZFNoYWRlAAAAAAAAAAAACElzRmlsbGVkAAECUGF0dGVybgAQAAAAbXNvUGF0dGVybk1peGVkAAJTaGFwZVR5cGUAEAAAAG1zb1NoYXBlRGlhbW9uZAADTGFiZWxPZmZzZXQAQgAAAAFYAIBOG2g0ShbAAVkAIMS2Y5CyM8ABTGVuZ3RoAKAwkLF3eDRAAUxlbmd0aFNxdWFyZWQAXFXPQrYwekAAAUJvcmRlclRoaWNrbmVzcwAAAAAAAADwPwhJc0ZvbnRCb2xkAAAISXNGb250SXRhbGljAAAISXNGb250VW5kZXJsaW5lZAAACExhYmVsSGFzQmFja2dyb3VuZAAAAlRleHRBbGlnbm1lbnQABQAAAExlZnQAAAhEaXNwbGF5TGFiZWwAAQhMYWJlbEhhc0JhY2tncm91bmQAAANSZW5kZXJJbmZvADcUAAADU3ltYm9sAHIGAAACQXV0b1NoYXBlVHlwZQAIAAAARGlhbW9uZAAFTWFuYWdlZElkABAAAAAEbGLyqxY7uU6a0hurDIS0+QhIYXNDaGFuZ2VzAAAIVXNlTmFtZUluc3RlYWRPZlRhZ0FzSWQAAAhTaGFwZVByZXZpb3VzbHlDcmVhdGVkAAADRmlsbENvbG9yAFUAAAAQQQD/AAAAEFIAAAAAABBHAJEAAAAQQgDfAAAAAVNjQQAAAAAAAADwPwFTY1IAAAAAAAAAAAABU2NHAAAAAAAcH9I/AVNjQgAAAABg9pznP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ODdMihAAVdpZHRoAAAAAODdMihAAVRvcAAAAABgMFeAQAFMZWZ0AAAAAICQxopACEZsaXBIb3Jpem9udGFsbHkAAAhGbGlwSG9yaXpvbnRhbGx5QXBwbGllZAAACEZsaXBWZXJ0aWNhbGx5AAAIRmxpcFZlcnRpY2FsbHlBcHBsaWVkAAABUm90YXRpb24AAAAAAAAAAAABWk9yZGVyAAAAAAAAgFRAA0JvcmRlckNvbG9yAFUAAAAQQQD/AAAAEFIA/wAAABBHAP8AAAAQQgD/AAAAAVNjQQAAAAAAAADwPwFTY1IAAAAAAAAA8D8BU2NHAAAAAAAAAPA/AVNjQgAAAAAAAADwPwAQQm9yZGVyVGhlbWVDb2xvcgAAAAAAAUJvcmRlclRpbnRBbmRTaGFkZQAAAAAAAAAAABBCb3JkZXJTY2hlbWVDb2xvcgAAAAAAAUJvcmRlclRoaWNrbmVzcwAAAAAAAADw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MYWJlbADBBgAABU1hbmFnZWRJZAAQAAAABGol9TIwnEZOoEIZhm9htMQISGFzQ2hhbmdlcwAACFVzZU5hbWVJbnN0ZWFkT2ZUYWdBc0lkAAAIU2hhcGVQcmV2aW91c2x5Q3JlYXRlZAABA0ZpbGxDb2xvcgBVAAAAEEEA/wAAABBSAAAAAAAQRwCRAAAAEEIA3wAAAAFTY0EAAAAAAABSAQAABVEBAABVAQAA5w8AAAAAAAAAAAAAAPA/AVNjUgAAAAAAAAAAAAFTY0cAAAAAABwf0j8BU2NCAAAAAGD2nO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QAHAAAADnigIsvOC8yMDLigIs0IERhc2hib2FyZCB2MgACVGV4dEhvcml6b250YWxBbGlnbm1lbnQADgAAAG1zb0FuY2hvck5vbmUAAlBhcmFncmFwaEFsaWdubWVudAACAAAAMAACVGV4dFZlcnRpY2FsQWxpZ25tZW50ABAAAABtc29BbmNob3JNaWRkbGUAA0ZvbnRTdHlsZQBAAQAAEEZvbnRCYWNrZ3JvdW5kAAAAAAAIRm9udEJvbGQAAANGb250Q29sb3IAVQAAABBBAP8AAAAQUgAQAAAAEEcAOAAAABBCAE8AAAABU2NBAAAAAAAAAPA/AVNjUgAAAADgNjl1PwFTY0cAAAAAgGc/pD8BU2NCAAAAAGAXBLQ/ABBGb250VGhlbWVDb2xvcgAAAAAAAUZvbnRUaW50QW5kU2hhZGUAAAAAAAAAAAAQRm9udFNjaGVtZUNvbG9yAAAAAAAIRm9udEl0YWxpYwAAAkZvbnROYW1lAAYAAABBcmlhbAABRm9udFNpemUAAAAAAAAAIEAIRm9udFN0cmlrZXRocm91Z2gAAAhGb250U3Vic2NyaXB0AAAIRm9udFN1cGVyc2NyaXB0AAAIRm9udFVuZGVybGluZQAAAAhTaXplVG9UZXh0V2lkdGgAAAhTaXplVG9UZXh0SGVpZ2h0AAADVGV4dE1hcmdpbgA/AAAAAUxlZnQAAAAAAAAAAAABVG9wAAAAAAAAAAAAAVJpZ2h0AAAAAAAAAAAAAUJvdHRvbQAAAAAAAAAAAAACRGlzcGxheVRleHQAHAAAADnigIsvOC8yMDLigIs0IERhc2hib2FyZCB2MgABSGVpZ2h0AAAAAOCxSyVAAVdpZHRoAAAAAEAb4FZAAVRvcAAAAABAA9R/QAFMZWZ0AAAAAOBhyopACEZsaXBIb3Jpem9udGFsbHkAAAhGbGlwSG9yaXpvbnRhbGx5QXBwbGllZAAACEZsaXBWZXJ0aWNhbGx5AAAIRmxpcFZlcnRpY2FsbHlBcHBsaWVkAAABUm90YXRpb24AAAAAAAAAAAABWk9yZGVyAAAAAAAAwFR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Db25uZWN0b3JMaW5lAOEGAAADU3RhcnQAGwAAAAFYAAAAAICQxopAAVkAAAAAYDBXgEAAA0VuZAAbAAAAAVgAAAAAgJDGikABWQAAAABgMFeAQAACU3RhcnRBcnJvd0hlYWQAEQAAAG1zb0Fycm93aGVhZE5vbmUAAkVuZEFycm93SGVhZAARAAAAbXNvQXJyb3doZWFkTm9uZQAFTWFuYWdlZElkABAAAAAEaRlsAihIVUiVhOZdm+2dUQhIYXNDaGFuZ2VzAAAIVXNlTmFtZUluc3RlYWRPZlRhZ0FzSWQAAAhTaGFwZVByZXZpb3VzbHlDcmVhdGVkAAA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A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AAAAAAAAVdpZHRoAAAAAAAAAAAAAVRvcAAAAABgMFeAQAFMZWZ0AAAAAICQxopACEZsaXBIb3Jpem9udGFsbHkAAAhGbGlwSG9yaXpvbnRhbGx5QXBwbGllZAAACEZsaXBWZXJ0aWNhbGx5AAAIRmxpcFZlcnRpY2FsbHlBcHBsaWVkAAABUm90YXRpb24AAAAAAAAAAAABWk9yZGVyAAAAAAAAQFRAA0JvcmRlckNvbG9yAFUAAAAQQQD/AAAAEFIAAAAAABBHAJEAAAAQQgDfAAAAAVNjQQAAAAAAAADwPwFTY1IAAAAAAAAAAAABU2NHAAAAAAAcH9I/AVNjQgAAAABg9pznPwAQQm9yZGVyVGhlbWVDb2xvcgAAAAAAAUJvcmRlclRpbnRBbmRTaGFkZQAAAAAAAAAAABBCb3JkZXJTY2hlbWVDb2xvcgAAAAAAAUJvcmRlclRoaWNrbmVzcwAAAAAAAADg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ACTWlsZXN0b25lTGFiZWxQb3NpdGlvbgAJAAAAVG9wUmlnaHQAEEluZGV4AAIAAAACRGVzY3JpcHRpb24AHAAAADnigIsvOC8yMDLigIs0IERhc2hib2FyZCB2MgACTmFtZQAKAAAATWlsZXN0b25lAAhJc0xlYWRlckxpbmVJbkF1dG9Nb2RlAAEJU3RhcnRUaW1lAAC/N9CRAQAAAAACTmFtZQAEAAAAUm93AAhJc0hpZ2hsaWdodGVkAAAISXNTZXBhcmF0b3JMaW5lVmlzaWJsZQABA1N0eWxlAHQEAAABRGVmYXVsdEZvbnRTaXplAAAAAAAAACRAAUZvbnRTaXplAAAAAAAAACRAA0ZvbnRDb2xvcgBVAAAAEEEA/wAAABBSABAAAAAQRwA4AAAAEEIATwAAAAFTY0EAAAAAAAAA8D8BU2NSAAAAAOA2OXU/AVNjRwAAAACAZz+kPwFTY0IAAAAAYBcEtD8AEEZvbnRUaGVtZUNvbG9yAAAAAAAQRm9udFNjaGVtZUNvbG9yAAAAAAABRm9udFRpbnRBbmRTaGFkZQAAAAAAAAAAAANQYXR0ZXJuQ29sb3IAVQAAABBBAAAAAAAQUgAAAAAAEEcAAAAAABBCAAAAAAABU2NBAAAAAAAAAAAAAVNjUgAAAAAAAAAAAAFTY0cAAAAAAAAAAAABU2NCAAAAAAAAAAAAABBQYXR0ZXJuVGhlbWVDb2xvcgAAAAAAAVBhdHRlcm5UaW50QW5kU2hhZGUAAAAAAAAAAAADRGF0YVN0eWxlRm9udENvbG9yVmFsdWUAVQAAABBBAP8AAAAQUgAQAAAAEEcAOAAAABBCAE8AAAABU2NBAAAAAAAAAPA/AVNjUgAAAADgNjl1PwFTY0cAAAAAgGc/pD8BU2NCAAAAAGAXBLQ/AAhEYXRhU3R5bGVGb250Q29sb3JIYXNWYWx1UwEAAAVJAQAAVAEAAOcPAAAAAAAAAAAAAA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AAAAAAABVG9wAAAAAGAwV4BAAUxlZnQAAAAAAHzBiEAIRmxpcEhvcml6b250YWxseQAACEZsaXBIb3Jpem9udGFsbHlBcHBsaWVkAAAIRmxpcFZlcnRpY2FsbHkAAAhGbGlwVmVydGljYWxseUFwcGxpZWQAAAFSb3RhdGlvbgAAAAAAAAAAAAFaT3JkZXIAAAAAAADAUUADQm9yZGVyQ29sb3IAVQAAABBBAP8AAAAQUgCZAAAAEEcA0wAAABBCAPIAAAABU2NBAAAAAAAAAPA/AVNjUgAAAAAgEmPUPwFTY0cAAAAAoFDY5D8BU2NCAAAAAMDdaew/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AlFbmRUaW1lAAC/N9CRAQAAEEluZGV4AAEAAAACRGVzY3JpcHRpb24ADwAAAERhdGEgQW5hbHl0aWNzAAJOYW1lAAUAAABUYXNrAAhJc0xlYWRlckxpbmVJbkF1dG9Nb2RlAAEJU3RhcnRUaW1lAAATRY2RAQAAAAMxAN4ZAAACX3R5cGUATQAAAGVtcG93ZXIuQ2hhcnRzLkRhdGEuR2FudHQuQ2hyb25vbG9neS5EYXRhLk1pbGVzdG9uZURhdGEsIGVtcG93ZXIuQ2hhcnRzLkRhdGEAA1N0eWxlAHYEAAABRGVmYXVsdEZvbnRTaXplAAAAAAAAACRAAUZvbnRTaXplAAAAAAAAACBAA0ZvbnRDb2xvcgBVAAAAEEEA/wAAABBSABAAAAAQRwA4AAAAEEIATwAAAAFTY0EAAAAAAAAA8D8BU2NSAAAAAOA2OXU/AVNjRwAAAACAZz+kPwFTY0IAAAAAYBcEtD8AEEZvbnRUaGVtZUNvbG9yAAAAAAAQRm9udFNjaGVtZUNvbG9yAAAAAAABRm9udFRpbnRBbmRTaGFkZQAAAAAAAAAAAANQYXR0ZXJuQ29sb3IAVQAAABBBAAAAAAAQUgAAAAAAEEcAAAAAABBCAAAAAAABU2NBAAAAAAAAAAAAAVNjUgAAAAAAAAAAAAFTY0cAAAAAAAAAAAABU2NCAAAAAAAAAAAAABBQYXR0ZXJuVGhlbWVDb2xvcgAAAAAAAVBhdHRlcm5UaW50QW5kU2hhZGUAAAAAAAAAAAADRGF0YVN0eWxlRm9udENvbG9yVmFsdWUAVQAAABBBAAAAAAAQUgAAAAAAEEcAAAAAABBCAAAAAAABU2NBAAAAAAAAAAAAAVNjUgAAAAAAAAAAAAFTY0cAAAAAAAAAAAABU2NCAAAAAAAAAAAAAAhEYXRhU3R5bGVGb250Q29sb3JIYXNWYWx1ZQAAAUhlaWdodAAAAADg3TIoQAJEYXNoU3R5bGUADQAAAG1zb0xpbmVTb2xpZAAISGFzV2lzaEZpbGxDb2xvcgAAA0ZpbGxDb2xvcgBVAAAAEEEA/wAAABBSAAAAAAAQRwCRAAAAEEIA3wAAAAFTY0EAAAAAAAAA8D8BU2NSAAAAAAAAAAAAAVNjRwAAAAAAHB/SPwFTY0IAAAAAYPac5z8AEEZpbGxTY2hlbWVDb2xvcgAAAAAAEEZpbGxUaGVtZUNvbG9yAAAAAAABRmlsbFRpbnRBbmRTaGFkZQAAAAAAAAAAAANCb3JkZXJDb2xvcgBVAAAAEEEA/wAAABBSAP8AAAAQRwD/AAAAEEIA/wAAAAFTY0EAAAAAAAAA8D8BU2NSAAAAAAAAAPA/AVNjRwAAAAAAAADwPwFTY0IAAAAAAAAA8D8AEEJvcmRlclRoZW1lQ29sb3IAAAAAAAFCb3JkZXJUaW50QW5kU2hhZGUAAAAAAAAAAAAISXNGaWxsZWQAAQJQYXR0ZXJuABAAAABtc29QYXR0ZXJuTWl4ZWQAAlNoYXBlVHlwZQAQAAAAbXNvU2hhcGVEaWFtb25kAANMYWJlbE9mZnNldABCAAAAAVgAgE4baDRKFsABWQAgxLZjkLIzwAFMZW5ndGgAoDCQsXd4NEABTGVuZ3RoU3F1YXJlZABcVc9CtjB6QAABQm9yZGVyVGhpY2tuZXNzAAAAAAAAAPA/CElzRm9udEJvbGQAAAhJc0ZvbnRJdGFsaWMAAAhJc0ZvbnRVbmRlcmxpbmVkAAAITGFiZWxIYXNCYWNrZ3JvdW5kAAACVGV4dEFsaWdubWVudAAFAAAATGVmdAAACERpc3BsYXlMYWJlbAABCExhYmVsSGFzQmFja2dyb3VuZAAAA1JlbmRlckluZm8ANxQAAANTeW1ib2wAcgYAAAJBdXRvU2hhcGVUeXBlAAgAAABEaWFtb25kAAVNYW5hZ2VkSWQAEAAAAARsYvKrFju5TprSG6sMhLT5CEhhc0NoYW5nZXMAAAhVc2VOYW1lSW5zdGVhZE9mVGFnQXNJZAAACFNoYXBlUHJldmlvdXNseUNyZWF0ZWQAAANGaWxsQ29sb3IAVQAAABBBAP8AAAAQUgAAAAAAEEcAkQAAABBCAN8AAAABU2NBAAAAAAAAAPA/AVNjUgAAAAAAAAAAAAFTY0cAAAAAABwf0j8BU2NCAAAAAGD2nO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4N0yKEABV2lkdGgAAAAA4N0yKEABVG9wAAAAAGAwV4BAAUxlZnQAAAAAgJDGikAIRmxpcEhvcml6b250YWxseQAACEZsaXBIb3Jpem9udGFsbHlBcHBsaWVkAAAIRmxpcFZlcnRpY2FsbHkAAAhGbGlwVmVydGljYWxseUFwcGxpZWQAAAFSb3RhdGlvbgAAAAAAAAAAAAFaT3JkZXIAAAAAAACAVEADQm9yZGVyQ29sb3IAVQAAABBBAP8AAAAQUgD/AAAAEEcA/wAAABBCAP8AAAABU2NBAAAAAAAAAPA/AVNjUgAAAAAAAADwPwFTY0cAAAAAAAAA8D8BU2NCAAAAAAAAAPA/ABBCb3JkZXJUaGVtZUNvbG9yAAAAAAABQm9yZGVyVGludEFuZFNoYWRlAAAAAAAAAAAAEEJvcmRlclNjaGVtZUNvbG9yAAAAAAABQm9yZGVyVGhpY2tuZXNzAAAAAAAAAPA/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xhYmVsAMEGAAAFTWFuYWdlZElkABAAAAAEaiX1MjCcRk6gQhmGb2G0xAhIYXNDaGFuZ2VzAAAIVXNlTmFtZUluc3RlYWRPZlRhZ0FzSWQAAAhTaGFwZVByZXZpb3VzbHlDcmVhdGVkAAEDRmlsbENvbG9yAFUAAAAQQQD/AAAAEFIAAAAAABBHAJEAAAAQQgDfAAAAAVNjQQAAAAAAAADwPwFTY1IAAAAAAAAAAAABU2NHAAAAAFQBAAAFUwEAAFcBAADnDwAAAAAAAAAAAAAAHB/SPwFTY0IAAAAAYPac5z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AAcAAAAOeKAiy84LzIwMuKAizQgRGFzaGJvYXJkIHYyAAJUZXh0SG9yaXpvbnRhbEFsaWdubWVudAAOAAAAbXNvQW5jaG9yTm9uZQACUGFyYWdyYXBoQWxpZ25tZW50AAIAAAAwAAJUZXh0VmVydGljYWxBbGlnbm1lbnQAEAAAAG1zb0FuY2hvck1pZGRsZQADRm9udFN0eWxlAEABAAAQRm9udEJhY2tncm91bmQAAAAAAAhGb250Qm9sZAAAA0ZvbnRDb2xvcgBVAAAAEEEA/wAAABBSABAAAAAQRwA4AAAAEEIATwAAAAFTY0EAAAAAAAAA8D8BU2NSAAAAAOA2OXU/AVNjRwAAAACAZz+kPwFTY0IAAAAAYBcEtD8AEEZvbnRUaGVtZUNvbG9yAAAAAAABRm9udFRpbnRBbmRTaGFkZQAAAAAAAAAAABBGb250U2NoZW1lQ29sb3IAAAAAAAhGb250SXRhbGljAAACRm9udE5hbWUABgAAAEFyaWFsAAFGb250U2l6ZQAAAAAAAAAgQAhGb250U3RyaWtldGhyb3VnaAAACEZvbnRTdWJzY3JpcHQAAAhGb250U3VwZXJzY3JpcHQAAAhGb250VW5kZXJsaW5lAAAACFNpemVUb1RleHRXaWR0aAAACFNpemVUb1RleHRIZWlnaHQAAANUZXh0TWFyZ2luAD8AAAABTGVmdAAAAAAAAAAAAAFUb3AAAAAAAAAAAAABUmlnaHQAAAAAAAAAAAABQm90dG9tAAAAAAAAAAAAAAJEaXNwbGF5VGV4dAAcAAAAOeKAiy84LzIwMuKAizQgRGFzaGJvYXJkIHYyAAFIZWlnaHQAAAAA4LFLJUABV2lkdGgAAAAAQBvgVkABVG9wAAAAAEAD1H9AAUxlZnQAAAAA4GHKikAIRmxpcEhvcml6b250YWxseQAACEZsaXBIb3Jpem9udGFsbHlBcHBsaWVkAAAIRmxpcFZlcnRpY2FsbHkAAAhGbGlwVmVydGljYWxseUFwcGxpZWQAAAFSb3RhdGlvbgAAAAAAAAAAAAFaT3JkZXIAAAAAAADAVE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Nvbm5lY3RvckxpbmUA4QYAAANTdGFydAAbAAAAAVgAAAAAgJDGikABWQAAAABgMFeAQAADRW5kABsAAAABWAAAAACAkMaKQAFZAAAAAGAwV4BAAAJTdGFydEFycm93SGVhZAARAAAAbXNvQXJyb3doZWFkTm9uZQACRW5kQXJyb3dIZWFkABEAAABtc29BcnJvd2hlYWROb25lAAVNYW5hZ2VkSWQAEAAAAARpGWwCKEhVSJWE5l2b7Z1RCEhhc0NoYW5nZXMAAAhVc2VOYW1lSW5zdGVhZE9mVGFnQXNJZAAACFNoYXBlUHJldmlvdXNseUNyZWF0ZWQAAA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A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AAAAAAABVG9wAAAAAGAwV4BAAUxlZnQAAAAAgJDGikAIRmxpcEhvcml6b250YWxseQAACEZsaXBIb3Jpem9udGFsbHlBcHBsaWVkAAAIRmxpcFZlcnRpY2FsbHkAAAhGbGlwVmVydGljYWxseUFwcGxpZWQAAAFSb3RhdGlvbgAAAAAAAAAAAAFaT3JkZXIAAAAAAABAVEADQm9yZGVyQ29sb3IAVQAAABBBAP8AAAAQUgAAAAAAEEcAkQAAABBCAN8AAAABU2NBAAAAAAAAAPA/AVNjUgAAAAAAAAAAAAFTY0cAAAAAABwf0j8BU2NCAAAAAGD2nOc/ABBCb3JkZXJUaGVtZUNvbG9yAAAAAAABQm9yZGVyVGludEFuZFNoYWRlAAAAAAAAAAAAEEJvcmRlclNjaGVtZUNvbG9yAAAAAAABQm9yZGVyVGhpY2tuZXNzAAAAAAAAAOA/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AJNaWxlc3RvbmVMYWJlbFBvc2l0aW9uAAkAAABUb3BSaWdodAAQSW5kZXgAAgAAAAJEZXNjcmlwdGlvbgAcAAAAOeKAiy84LzIwMuKAizQgRGFzaGJvYXJkIHYyAAJOYW1lAAoAAABNaWxlc3RvbmUACElzTGVhZGVyTGluZUluQXV0b01vZGUAAQlTdGFydFRpbWUAAL830JEBAAAAAAJOYW1lAAQAAABSb3cACElzSGlnaGxpZ2h0ZWQAAAhJc1NlcGFyYXRvckxpbmVWaXNpYmxlAAEDU3R5bGUAdAQAAAFEZWZhdWx0Rm9udFNpemUAAAAAAAAAJEABRm9udFNpemUAAAAAAAAAJEADRm9udENvbG9yAFUAAAAQQQD/AAAAEFIAEAAAABBHADgAAAAQQgBPAAAAAVNjQQAAAAAAAADwPwFTY1IAAAAA4DY5dT8BU2NHAAAAAIBnP6Q/AVNjQgAAAABgFwS0PwAQRm9udFRoZW1lQ29sb3IAAAAAABBGb250U2NoZW1lQ29sb3IAAAAAAAFGb250VGludEFuZFNoYWRlAAAAAAAAAAAAA1BhdHRlcm5Db2xvcgBVAAAAEEEAAAAAABBSAAAAAAAQRwAAAAAAEEIAAAAAAAFTY0EAAAAAAAAAAAABU2NSAAAAAAAAAAAAAVNjRwAAAAAAAAAAAAFTY0IAAAAAAAAAAAAAEFBhdHRlcm5UaGVtZUNvbG9yAAAAAAABUGF0dGVyblRpbnRBbmRTaGFkZQAAAAAAAAAAAANEYXRhU3R5bGVGb250Q29sb3JWYWx1ZQBVAAAAEEEA/wAAABBSABAAAAAQRwA4AAAAEEIATwAAAAFTY0EAAAAAAAAA8D8BU2NSAAAAAOA2OXU/AVNjRwAAAACAZz+kPwFTY0IAAAAAYBcEtD8ACERhdGFTdHlsZUZvbnRDb2xvckhhc1ZhbHVlAAEBSGVpZ2h0AAAAAAAAAAAAAkRhc2hVAQAABVIBAABWAQAA5w8AAAAAAAAAAAAAZQABAUhlaWdodAAAAAAAAAAAAAJEYXNoU3R5bGUADQAAAG1zb0xpbmVTb2xpZAAISGFzV2lzaEZpbGxDb2xvcgABA0ZpbGxDb2xvcgBVAAAAEEEAAAAAABBSAP8AAAAQRwD/AAAAEEIA/wAAAAFTY0EAAAAAAAAAAAABU2NSAAAAAAAAAPA/AVNjRwAAAAAAAADwPwFTY0IAAAAAAAAA8D8AEEZpbGxTY2hlbWVDb2xvcgAAAAAAEEZpbGxUaGVtZUNvbG9yAAAAAAABRmlsbFRpbnRBbmRTaGFkZQAAAAAAAAAAAANCb3JkZXJDb2xvcgBVAAAAEEEA/wAAABBSAOMAAAAQRwDjAAAAEEIA4wAAAAFTY0EAAAAAAAAA8D8BU2NSAAAAAMCxlOg/AVNjRwAAAADAsZToPwFTY0IAAAAAwLGU6D8AEEJvcmRlclRoZW1lQ29sb3IAAAAAAAFCb3JkZXJUaW50QW5kU2hhZGUAAAAAAAAAAAAISXNGaWxsZWQAAQJQYXR0ZXJuABAAAABtc29QYXR0ZXJuTWl4ZWQAAlNoYXBlVHlwZQAOAAAAbXNvU2hhcGVNaXhlZAADTGFiZWxPZmZzZXQAQgAAAAFYAAAAAAAAAAAAAVkAAAAAAAAAAAABTGVuZ3RoAAAAAAAAAAAAAUxlbmd0aFNxdWFyZWQAAAAAAAAAAAAAAUJvcmRlclRoaWNrbmVzcwAAAAAAAADwPwhJc0ZvbnRCb2xkAAAISXNGb250SXRhbGljAAAISXNGb250VW5kZXJsaW5lZAAACExhYmVsSGFzQmFja2dyb3VuZAAAAlRleHRBbGlnbm1lbnQABQAAAExlZnQAAAFSb3dUb3AAVa5ucoEjgEABUm93SGVpZ2h0AG41KjItBTlAA0xlZnROb3RlcwDHBAAAA1RleHRTdHlsZQBbBAAAAURlZmF1bHRGb250U2l6ZQAAAAAAAAAkQAFGb250U2l6ZQAAAAAAAAAkQANGb250Q29sb3IAVQAAABBBAP8AAAAQUgAQAAAAEEcAOAAAABBCAE8AAAABU2NBAAAAAAAAAPA/AVNjUgAAAADgNjl1PwFTY0cAAAAAgGc/pD8BU2NCAAAAAGAXBLQ/ABBGb250VGhlbWVDb2xvcgAAAAAAEEZvbnRTY2hlbWVDb2xvcgAAAAAAAUZvbnRUaW50QW5kU2hhZGUAAAAAAAAAAAADUGF0dGVybkNvbG9yAFUAAAAQQQAAAAAAEFIAAAAAABBHAAAAAAAQQgAAAAAAAVNjQQAAAAAAAAAAAAFTY1IAAAAAAAAAAAABU2NHAAAAAAAAAAAAAVNjQgAAAAAAAAAAAAAQUGF0dGVyblRoZW1lQ29sb3IAAAAAAAFQYXR0ZXJuVGludEFuZFNoYWRlAAAAAAAAAAAAA0RhdGFTdHlsZUZvbnRDb2xvclZhbHVlAFUAAAAQQQD/AAAAEFIAEAAAABBHADgAAAAQQgBPAAAAAVNjQQAAAAAAAADwPwFTY1IAAAAA4DY5dT8BU2NHAAAAAIBnP6Q/AVNjQgAAAABgFwS0PwAIRGF0YVN0eWxlRm9udENvbG9ySGFzVmFsdWUAAQFIZWlnaHQAAAAAAAAAAAACRGFzaFN0eWxlAA0AAABtc29MaW5lU29saWQACEhhc1dpc2hGaWxsQ29sb3IAAANGaWxsQ29sb3IAVQAAABBBAP8AAAAQUgAAAAAAEEcAAAAAABBCAAAAAAABU2NBAAAAAAAAAPA/AVNjUgAAAAAAAAAAAAFTY0cAAAAAAAAAAAABU2NCAAAAAAAAAAAAABBGaWxsU2NoZW1lQ29sb3IAAAAAABBGaWxsVGhlbWVDb2xvcgAAAAAAAUZpbGxUaW50QW5kU2hhZGUAAAAAAAAAAAADQm9yZGVyQ29sb3IAVQAAABBBAAAAAAAQUgAAAAAAEEcAAAAAABBCAAAAAAABU2NBAAAAAAAAAAAAAVNjUgAAAAAAAAAAAAFTY0cAAAAAAAAAAAABU2NCAAAAAAAAAAAAABBCb3JkZXJUaGVtZUNvbG9yAAAAAAABQm9yZGVyVGludEFuZFNoYWRlAAAAAAAAAAAACElzRmlsbGVkAAECUGF0dGVybgAQAAAAbXNvUGF0dGVybk1peGVkAAJTaGFwZVR5cGUADgAAAG1zb1NoYXBlTWl4ZWQAA0xhYmVsT2Zmc2V0AEIAAAABWAAAAAAAAAAAAAFZAAAAAAAAAAAAAUxlbmd0aAAAAAAAAAAAAAFMZW5ndGhTcXVhcmVkAAAAAAAAAAAAAAhJc0ZvbnRCb2xkAAAISXNGb250SXRhbGljAAAISXNGb250VW5kZXJsaW5lZAAACExhYmVsSGFzQmFja2dyb3VuZAAAAlRleHRBbGlnbm1lbnQABQAAAExlZnQAAAhIYXJ2ZXlCYWxsVmlzaWJsZQABEEhhcnZleUJhbGxWYWx1ZQAAAAAAAkNoZWNrQm94U3RhdGUABQAAAE5vbmUAAlRyYWZmaWNMaWdodFN0YXRlAAQAAABPZmYAAANSaWdodE5vdGVzAMcEAAADVGV4dFN0eWxlAFsEAAABRGVmYXVsdEZvbnRTaXplAAAAAAAAACRAAUZvbnRTaXplAAAAAAAAACRAA0ZvbnRDb2xvcgBVAAAAEEEA/wAAABBSABAAAAAQRwA4AAAAEEIATwAAAAFTY0EAAAAAAAAA8D8BU2NSAAAAAOA2OXU/AVNjRwAAAACAZz+kPwFTY0IAAAAAYBcEtD8AEEZvbnRUaGVtZUNvbG9yAAAAAAAQRm9udFNjaGVtZUNvbG9yAAAAAAABRm9udFRpbnRBbmRTaGFkZQAAAAAAAAAAAANQYXR0ZXJuQ29sb3IAVQAAABBBAAAAAAAQUgAAAAAAEEcAAAAAABBCAAAAAAABU2NBAAAAAAAAAAAAAVNjUgAAAAAAAAAAAAFTY0cAAAAAAAAAAAABU2NCAAAAAAAAAAAAABBQYXR0ZXJuVGhlbWVDb2xvcgAAAAAAAVBhdHRlcm5UaW50QW5kU2hhZGUAAAAAAAAAAAADRGF0YVN0eWxlRm9udENvbG9yVmFsdWUAVQAAABBBAP8AAAAQUgAQAAAAEEcAOAAAABBCAE8AAAABU2NBAAAAAAAAAPA/AVNjUgAAAADgNjl1PwFTY0cAAAAAgGc/pD8BU2NCAAAAAGAXBLQ/AAhEYXRhU3R5bGVGb250Q29sb3JIYXNWYWx1ZQABAUhlaWdodAAAAAAAAAAAAAJEYXNoU3R5bGUADQAAAG1zb0xpbmVTb2xpZAAISGFzV2lzaEZpbGxDb2xvcgAAA0ZpbGxDb2xvcgBVAAAAEEEA/wAAABBSAAAAAAAQRwAAAAAAEEIAAAAAAAFTY0EAAAAAAAAA8D8BU2NSAAAAAAAAAAAAAVNjRwAAAAAAAAAAAAFTY0IAAAAAAAAAAAAAEEZpbGxTY2hlbWVDb2xvcgAAAAAAEEZpbGxUaGVtZUNvbG9yAAAAAAABRmlsbFRpbnRBbmRTaGFkZQAAAAAAAAAAAANCb3JkZXJDb2xvcgBVAAAAEEEAAAAAABBSAAAAAAAQRwAAAAAAEEIAAAAAAAFTY0EAAAAAAAAAAAABU2NSAAAAAAAAAAAAAVNjRwAAAAAAAAAAAAFTY0IAAAAAAAAAAAAAEEJvcmRlclRoZW1lQ29sb3IAAAAAAAFCb3JkZXJUaW50QW5kU2hhZGUAAAAAAAAAAAAISXNGaWxsZWQAAQJQYXR0ZXJuABAAAABtc29QYXR0ZXJuTWl4ZWQAAlNoYXBlVHlwZQAOAAAAbXNvU2hhcGVNaXhlZAADTGFiZWxPZmZzZXQAQgAAAAFYAAAAAAAAAAAAAVkAAAAAAAAAAAABTGVuZ3RoAAAAAAAAAAAAAUxlbmd0aFNxdWFyZWQAAAAAAAAAAAAACElzRm9udEJvbGQAAAhJc0ZvbnRJdGFsaWMAAAhJc0ZvbnRVbmRlcmxpbmVkAAAITGFiZWxIYXNCYWNrZ3JvdW5kAAACVGV4dEFsaWdubWVudAAFAAAATGVmdAAACEhhcnZleUJhbGxWaXNpYmxlAAEQSGFydmV5QmFsbFZhbHVlAAAAAAACQ2hlY2tCb3hTdGF0ZQAFAAAATm9uZQACVHJhZmZpY0xpZ2h0U3RhdGUABAAAAE9mZgAAA0xlZnROb3Rlc1JlbmRlckluZm8AYRQAAANMYWJlbAB0BgAABU1hbmFnZWRJZAAQAAAABOq6xyuiIfxOs7Wm0mKT/8UISGFzQ2hhbmdlcwABCFVzZU5hbWVJbnN0ZWFkT2ZUYWdBc0lkAAAIU2hhcGVQcmV2aW91c2x5Q3JlYXRlZAAA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ACRmlsbFBhdHRlcm4AEAAAAG1zb1BhdHRlcm5NaXhlZAACVGV4dAABAAAA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VgEAAAVVAQAAWQEAAOcPAAAAAAAAAAAAAGRlcmxpbmUAAAAIU2l6ZVRvVGV4dFdpZHRoAAAIU2l6ZVRvVGV4dEhlaWdodAAAA1RleHRNYXJnaW4APwAAAAFMZWZ0AAAAAAAAAAAAAVRvcAAAAAAAAAAAAAFSaWdodAAAAAAAAAAAAAFCb3R0b20AAAAAAAAAAAAAAkRpc3BsYXlUZXh0AAEAAAAAAUhlaWdodAAAAAAAAADwPwFXaWR0aAAAAAAAAADwPwFUb3AAAAAAAIyWcUABTGVmdAAAAABAZfaNQAhGbGlwSG9yaXpvbnRhbGx5AAAIRmxpcEhvcml6b250YWxseUFwcGxpZWQAAAhGbGlwVmVydGljYWxseQAACEZsaXBWZXJ0aWNhbGx5QXBwbGllZAAAAVJvdGF0aW9uAAAAAAAAAAAAAVpPcmRlcgAAAAAAAAAAA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2VwYXJhdG9yTGluZQDhBgAAA1N0YXJ0ABsAAAABWADNzMwWMvONQAFZAAAAAOCq54BAAANFbmQAGwAAAAFYADMzM32Y+Y1AAVkAAAAA4KrngEAAAlN0YXJ0QXJyb3dIZWFkABEAAABtc29BcnJvd2hlYWROb25lAAJFbmRBcnJvd0hlYWQAEQAAAG1zb0Fycm93aGVhZE5vbmUABU1hbmFnZWRJZAAQAAAABKRWL5F0i4pPpj9IlHmkTAgISGFzQ2hhbmdlcwABCFVzZU5hbWVJbnN0ZWFkT2ZUYWdBc0lkAAAIU2hhcGVQcmV2aW91c2x5Q3JlYXRlZAAA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CgmZnpPwFUb3AAAAAA4KrngEABTGVmdAAAAAAgMvONQAhGbGlwSG9yaXpvbnRhbGx5AAAIRmxpcEhvcml6b250YWxseUFwcGxpZWQAAAhGbGlwVmVydGljYWxseQAACEZsaXBWZXJ0aWNhbGx5QXBwbGllZAAAAVJvdGF0aW9uAAAAAAAAAAAAAVpPcmRlcgAAAAAAAIBVQANCb3JkZXJDb2xvcgBVAAAAEEEA/wAAABBSAOMAAAAQRwDjAAAAEEIA4wAAAAFTY0EAAAAAAAAA8D8BU2NSAAAAAMCxlOg/AVNjRwAAAADAsZToPwFTY0IAAAAAwLGU6D8AEEJvcmRlclRoZW1lQ29sb3IAAAAAAAFCb3JkZXJUaW50QW5kU2hhZGUAAAAAAAAAAAAQQm9yZGVyU2NoZW1lQ29sb3IAAAAAAAFCb3JkZXJUaGlja25lc3MAAAAAAAAA8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mVjdGFuZ2xlAHQGAAACQXV0b1NoYXBlVHlwZQAKAAAAUmVjdGFuZ2xlAAVNYW5hZ2VkSWQAEAAAAARyTtWrHLhpR5RNzC5iceqJCEhhc0NoYW5nZXMAAQhVc2VOYW1lSW5zdGVhZE9mVGFnQXNJZAAACFNoYXBlUHJldmlvdXNseUNyZWF0ZWQAAANGaWxsQ29sb3IAVQAAABBBAAAAAAAQUgD/AAAAEEcA/wAAABBCAP8AAAABU2NBAAAAAAAAAAAAAVNjUgAAAAAAAADwPwFTY0cAAAAAAAAA8D8BU2NCAAAAAAAAAPA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A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QC0FOEABV2lkdGgAAAAAAAAAAAABVG9wAAAAAICBJ4BAAUxlZnQAAAAAQGXujUAIRmxpcEhvcml6b250YWxseQAACEZsaXBIb3Jpem9udGFsbHlBcHBsaWVkAAAIRmxpcFZlcnRpY2FsbHkAAAhGbGlwVmVydGljYWxseUFwcGxpZWQAAAFSb3RhdGlvbgAAAAAAAAAAAAFaT3JkZXIAAAAAAABAVU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lcBAAAFVAEAAFgBAADnDwAAAAAAAAAAAABTdHlsZQANAAAAbXNvTGluZVNvbGlkAAhIYXNXaXNoRmlsbENvbG9yAAEDRmlsbENvbG9yAFUAAAAQQQAAAAAAEFIA/wAAABBHAP8AAAAQQgD/AAAAAVNjQQAAAAAAAAAAAAFTY1IAAAAAAAAA8D8BU2NHAAAAAAAAAPA/AVNjQgAAAAAAAADwPwAQRmlsbFNjaGVtZUNvbG9yAAAAAAAQRmlsbFRoZW1lQ29sb3IAAAAAAAFGaWxsVGludEFuZFNoYWRlAAAAAAAAAAAAA0JvcmRlckNvbG9yAFUAAAAQQQD/AAAAEFIA4wAAABBHAOMAAAAQQgDjAAAAAVNjQQAAAAAAAADwPwFTY1IAAAAAwLGU6D8BU2NHAAAAAMCxlOg/AVNjQgAAAADAsZToPwAQQm9yZGVyVGhlbWVDb2xvcgAAAAAAAUJvcmRlclRpbnRBbmRTaGFkZQAAAAAAAAAAAAhJc0ZpbGxlZAABAlBhdHRlcm4AEAAAAG1zb1BhdHRlcm5NaXhlZAACU2hhcGVUeXBlAA4AAABtc29TaGFwZU1peGVkAANMYWJlbE9mZnNldABCAAAAAVgAAAAAAAAAAAABWQAAAAAAAAAAAAFMZW5ndGgAAAAAAAAAAAABTGVuZ3RoU3F1YXJlZAAAAAAAAAAAAAABQm9yZGVyVGhpY2tuZXNzAAAAAAAAAPA/CElzRm9udEJvbGQAAAhJc0ZvbnRJdGFsaWMAAAhJc0ZvbnRVbmRlcmxpbmVkAAAITGFiZWxIYXNCYWNrZ3JvdW5kAAACVGV4dEFsaWdubWVudAAFAAAATGVmdAAAAVJvd1RvcABVrm5ygSOAQAFSb3dIZWlnaHQAbjUqMi0FOUADTGVmdE5vdGVzAMcEAAADVGV4dFN0eWxlAFsEAAABRGVmYXVsdEZvbnRTaXplAAAAAAAAACRAAUZvbnRTaXplAAAAAAAAACRAA0ZvbnRDb2xvcgBVAAAAEEEA/wAAABBSABAAAAAQRwA4AAAAEEIATwAAAAFTY0EAAAAAAAAA8D8BU2NSAAAAAOA2OXU/AVNjRwAAAACAZz+kPwFTY0IAAAAAYBcEtD8AEEZvbnRUaGVtZUNvbG9yAAAAAAAQRm9udFNjaGVtZUNvbG9yAAAAAAABRm9udFRpbnRBbmRTaGFkZQAAAAAAAAAAAANQYXR0ZXJuQ29sb3IAVQAAABBBAAAAAAAQUgAAAAAAEEcAAAAAABBCAAAAAAABU2NBAAAAAAAAAAAAAVNjUgAAAAAAAAAAAAFTY0cAAAAAAAAAAAABU2NCAAAAAAAAAAAAABBQYXR0ZXJuVGhlbWVDb2xvcgAAAAAAAVBhdHRlcm5UaW50QW5kU2hhZGUAAAAAAAAAAAADRGF0YVN0eWxlRm9udENvbG9yVmFsdWUAVQAAABBBAP8AAAAQUgAQAAAAEEcAOAAAABBCAE8AAAABU2NBAAAAAAAAAPA/AVNjUgAAAADgNjl1PwFTY0cAAAAAgGc/pD8BU2NCAAAAAGAXBLQ/AAhEYXRhU3R5bGVGb250Q29sb3JIYXNWYWx1ZQABAUhlaWdodAAAAAAAAAAAAAJEYXNoU3R5bGUADQAAAG1zb0xpbmVTb2xpZAAISGFzV2lzaEZpbGxDb2xvcgAAA0ZpbGxDb2xvcgBVAAAAEEEA/wAAABBSAAAAAAAQRwAAAAAAEEIAAAAAAAFTY0EAAAAAAAAA8D8BU2NSAAAAAAAAAAAAAVNjRwAAAAAAAAAAAAFTY0IAAAAAAAAAAAAAEEZpbGxTY2hlbWVDb2xvcgAAAAAAEEZpbGxUaGVtZUNvbG9yAAAAAAABRmlsbFRpbnRBbmRTaGFkZQAAAAAAAAAAAANCb3JkZXJDb2xvcgBVAAAAEEEAAAAAABBSAAAAAAAQRwAAAAAAEEIAAAAAAAFTY0EAAAAAAAAAAAABU2NSAAAAAAAAAAAAAVNjRwAAAAAAAAAAAAFTY0IAAAAAAAAAAAAAEEJvcmRlclRoZW1lQ29sb3IAAAAAAAFCb3JkZXJUaW50QW5kU2hhZGUAAAAAAAAAAAAISXNGaWxsZWQAAQJQYXR0ZXJuABAAAABtc29QYXR0ZXJuTWl4ZWQAAlNoYXBlVHlwZQAOAAAAbXNvU2hhcGVNaXhlZAADTGFiZWxPZmZzZXQAQgAAAAFYAAAAAAAAAAAAAVkAAAAAAAAAAAABTGVuZ3RoAAAAAAAAAAAAAUxlbmd0aFNxdWFyZWQAAAAAAAAAAAAACElzRm9udEJvbGQAAAhJc0ZvbnRJdGFsaWMAAAhJc0ZvbnRVbmRlcmxpbmVkAAAITGFiZWxIYXNCYWNrZ3JvdW5kAAACVGV4dEFsaWdubWVudAAFAAAATGVmdAAACEhhcnZleUJhbGxWaXNpYmxlAAEQSGFydmV5QmFsbFZhbHVlAAAAAAACQ2hlY2tCb3hTdGF0ZQAFAAAATm9uZQACVHJhZmZpY0xpZ2h0U3RhdGUABAAAAE9mZgAAA1JpZ2h0Tm90ZXMAxwQAAANUZXh0U3R5bGUAWwQAAAFEZWZhdWx0Rm9udFNpemUAAAAAAAAAJEABRm9udFNpemUAAAAAAAAAJEADRm9udENvbG9yAFUAAAAQQQD/AAAAEFIAEAAAABBHADgAAAAQQgBPAAAAAVNjQQAAAAAAAADwPwFTY1IAAAAA4DY5dT8BU2NHAAAAAIBnP6Q/AVNjQgAAAABgFwS0PwAQRm9udFRoZW1lQ29sb3IAAAAAABBGb250U2NoZW1lQ29sb3IAAAAAAAFGb250VGludEFuZFNoYWRlAAAAAAAAAAAAA1BhdHRlcm5Db2xvcgBVAAAAEEEAAAAAABBSAAAAAAAQRwAAAAAAEEIAAAAAAAFTY0EAAAAAAAAAAAABU2NSAAAAAAAAAAAAAVNjRwAAAAAAAAAAAAFTY0IAAAAAAAAAAAAAEFBhdHRlcm5UaGVtZUNvbG9yAAAAAAABUGF0dGVyblRpbnRBbmRTaGFkZQAAAAAAAAAAAANEYXRhU3R5bGVGb250Q29sb3JWYWx1ZQBVAAAAEEEA/wAAABBSABAAAAAQRwA4AAAAEEIATwAAAAFTY0EAAAAAAAAA8D8BU2NSAAAAAOA2OXU/AVNjRwAAAACAZz+kPwFTY0IAAAAAYBcEtD8ACERhdGFTdHlsZUZvbnRDb2xvckhhc1ZhbHVlAAEBSGVpZ2h0AAAAAAAAAAAAAkRhc2hTdHlsZQANAAAAbXNvTGluZVNvbGlkAAhIYXNXaXNoRmlsbENvbG9yAAADRmlsbENvbG9yAFUAAAAQQQD/AAAAEFIAAAAAABBHAAAAAAAQQgAAAAAAAVNjQQAAAAAAAADwPwFTY1IAAAAAAAAAAAABU2NHAAAAAAAAAAAAAVNjQgAAAAAAAAAAAAAQRmlsbFNjaGVtZUNvbG9yAAAAAAAQRmlsbFRoZW1lQ29sb3IAAAAAAAFGaWxsVGludEFuZFNoYWRlAAAAAAAAAAAAA0JvcmRlckNvbG9yAFUAAAAQQQAAAAAAEFIAAAAAABBHAAAAAAAQQgAAAAAAAVNjQQAAAAAAAAAAAAFTY1IAAAAAAAAAAAABU2NHAAAAAAAAAAAAAVNjQgAAAAAAAAAAAAAQQm9yZGVyVGhlbWVDb2xvcgAAAAAAAUJvcmRlclRpbnRBbmRTaGFkZQAAAAAAAAAAAAhJc0ZpbGxlZAABAlBhdHRlcm4AEAAAAG1zb1BhdHRlcm5NaXhlZAACU2hhcGVUeXBlAA4AAABtc29TaGFwZU1peGVkAANMYWJlbE9mZnNldABCAAAAAVgAAAAAAAAAAAABWQAAAAAAAAAAAAFMZW5ndGgAAAAAAAAAAAABTGVuZ3RoU3F1YXJlZAAAAAAAAAAAAAAISXNGb250Qm9sZAAACElzRm9udEl0YWxpYwAACElzRm9udFVuZGVybGluZWQAAAhMYWJlbEhhc0JhY2tncm91bmQAAAJUZXh0QWxpZ25tZW50AAUAAABMZWZ0AAAISGFydmV5QmFsbFZpc2libGUAARBIYXJ2ZXlCYWxsVmFsdWUAAAAAAAJDaGVja0JveFN0YXRlAAUAAABOb25lAAJUcmFmZmljTGlnaHRTdGF0ZQAEAAAAT2ZmAAADTGVmdE5vdGVzUmVuZGVySW5mbwBhFAAAA0xhYmVsAHQGAAAFTWFuYWdlZElkABAAAAAE6rrHK6Ih/E6ztabSYpP/xQhIYXNDaGFuZ2VzAAEIVXNlTmFtZUluc3RlYWRPZlRhZ0FzSWQAAAhTaGFwZVByZXZpb3VzbHlDcmVhdGVkAAA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AJGaWxsUGF0dGVybgAQAAAAbXNvUGF0dGVybk1peGVkAAJUZXh0AAEAAAA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YAQAABVcBAABdAQAA5w8AAAAAAAAAAAAAdGgAAAhTaXplVG9UZXh0SGVpZ2h0AAADVGV4dE1hcmdpbgA/AAAAAUxlZnQAAAAAAAAAAAABVG9wAAAAAAAAAAAAAVJpZ2h0AAAAAAAAAAAAAUJvdHRvbQAAAAAAAAAAAAACRGlzcGxheVRleHQAAQAAAAABSGVpZ2h0AAAAAAAAAPA/AVdpZHRoAAAAAAAAAPA/AVRvcAAAAAAAjJZxQAFMZWZ0AAAAAEBl9o1ACEZsaXBIb3Jpem9udGFsbHkAAAhGbGlwSG9yaXpvbnRhbGx5QXBwbGllZAAACEZsaXBWZXJ0aWNhbGx5AAAIRmxpcFZlcnRpY2FsbHlBcHBsaWVkAAABUm90YXRpb24AAAAAAAAAAAABWk9yZGVyAAAAAAAAAAA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TZXBhcmF0b3JMaW5lAOEGAAADU3RhcnQAGwAAAAFYAM3MzBYy841AAVkAAAAA4KrngEAAA0VuZAAbAAAAAVgAMzMzfZj5jUABWQAAAADgqueAQAACU3RhcnRBcnJvd0hlYWQAEQAAAG1zb0Fycm93aGVhZE5vbmUAAkVuZEFycm93SGVhZAARAAAAbXNvQXJyb3doZWFkTm9uZQAFTWFuYWdlZElkABAAAAAEpFYvkXSLik+mP0iUeaRMCAhIYXNDaGFuZ2VzAAEIVXNlTmFtZUluc3RlYWRPZlRhZ0FzSWQAAAhTaGFwZVByZXZpb3VzbHlDcmVhdGVkAAA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AAAAAAAAVdpZHRoAAAAAKCZmek/AVRvcAAAAADgqueAQAFMZWZ0AAAAACAy841ACEZsaXBIb3Jpem9udGFsbHkAAAhGbGlwSG9yaXpvbnRhbGx5QXBwbGllZAAACEZsaXBWZXJ0aWNhbGx5AAAIRmxpcFZlcnRpY2FsbHlBcHBsaWVkAAABUm90YXRpb24AAAAAAAAAAAABWk9yZGVyAAAAAAAAgFVAA0JvcmRlckNvbG9yAFUAAAAQQQD/AAAAEFIA4wAAABBHAOMAAAAQQgDjAAAAAVNjQQAAAAAAAADwPwFTY1IAAAAAwLGU6D8BU2NHAAAAAMCxlOg/AVNjQgAAAADAsZToPwAQQm9yZGVyVGhlbWVDb2xvcgAAAAAAAUJvcmRlclRpbnRBbmRTaGFkZQAAAAAAAAAAABBCb3JkZXJTY2hlbWVDb2xvcgAAAAAAAUJvcmRlclRoaWNrbmVzcwAAAAAAAADw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SZWN0YW5nbGUAdAYAAAJBdXRvU2hhcGVUeXBlAAoAAABSZWN0YW5nbGUABU1hbmFnZWRJZAAQAAAABHJO1ascuGlHlE3MLmJx6okISGFzQ2hhbmdlcwABCFVzZU5hbWVJbnN0ZWFkT2ZUYWdBc0lkAAAIU2hhcGVQcmV2aW91c2x5Q3JlYXRlZAAAA0ZpbGxDb2xvcgBVAAAAEEEAAAAAABBSAP8AAAAQRwD/AAAAEEIA/wAAAAFTY0EAAAAAAAAAAAABU2NSAAAAAAAAAPA/AVNjRwAAAAAAAADwPwFTY0IAAAAAAAAA8D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A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BALQU4QAFXaWR0aAAAAAAAAAAAAAFUb3AAAAAAgIEngEABTGVmdAAAAABAZe6NQAhGbGlwSG9yaXpvbnRhbGx5AAAIRmxpcEhvcml6b250YWxseUFwcGxpZWQAAAhGbGlwVmVydGljYWxseQAACEZsaXBWZXJ0aWNhbGx5QXBwbGllZAAAAVJvdGF0aW9uAAAAAAAAAAAAAVpPcmRlcgAAAAAAAEBV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WQEAAAVWAQAAWgEAAOcPAAAAAAAAAAAAAHVsZUFmdGVyAAAITGluZVJ1bGVCZWZvcmUAAAhMaW5lUnVsZVdpdGhpbgAAAVJpZ2h0SW5kZW50AAAAAAAAAAAAAVNwYWNlQWZ0ZXIAAAAAAAAAAAABU3BhY2VCZWZvcmUAAAAAAAAAAAABU3BhY2VXaXRoaW4AAAAAAAAAAAAABFRyYWZmaWNMaWdodERhdGEABQAAAAAESGFydmV5QmFsbERhdGEABQAAAAACVHJhZmZpY0xpZ2h0U3RhdGUABAAAAE9mZgAEQ2hlY2tCb3hEYXRhAAUAAAAAAkNoZWNrQm94U3RhdGUABQAAAE5vbmUAAANSaWdodE5vdGVzUmVuZGVySW5mbwBhFAAAA0xhYmVsAHQGAAAFTWFuYWdlZElkABAAAAAEyx0Nr9mI2Um2qtknCgDueQhIYXNDaGFuZ2VzAAEIVXNlTmFtZUluc3RlYWRPZlRhZ0FzSWQAAAhTaGFwZVByZXZpb3VzbHlDcmVhdGVkAAA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AJGaWxsUGF0dGVybgAQAAAAbXNvUGF0dGVybk1peGVkAAJUZXh0AAEAAAA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JEaXNwbGF5VGV4dAABAAAAAAFIZWlnaHQAAAAAAAAA8D8BV2lkdGgAAAAAAAAA8D8BVG9wAAAAAACMlnFAAUxlZnQAAAAAQGX2jU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NlcGFyYXRvckxpbmUA4QYAAANTdGFydAAbAAAAAVgAzczMFjLzjUABWQAAAADgqueAQAADRW5kABsAAAABWAAzMzN9mPmNQAFZAAAAAOCq54BAAAJTdGFydEFycm93SGVhZAARAAAAbXNvQXJyb3doZWFkTm9uZQACRW5kQXJyb3dIZWFkABEAAABtc29BcnJvd2hlYWROb25lAAVNYW5hZ2VkSWQAEAAAAAQFh1kLs0PzS7+n7Wwss8d6CEhhc0NoYW5nZXMAAQhVc2VOYW1lSW5zdGVhZE9mVGFnQXNJZAAACFNoYXBlUHJldmlvdXNseUNyZWF0ZWQAAA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oJmZ6T8BVG9wAAAAAOCq54BAAUxlZnQAAAAAIDLzjUAIRmxpcEhvcml6b250YWxseQAACEZsaXBIb3Jpem9udGFsbHlBcHBsaWVkAAAIRmxpcFZlcnRpY2FsbHkAAAhGbGlwVmVydGljYWxseUFwcGxpZWQAAAFSb3RhdGlvbgAAAAAAAAAAAAFaT3JkZXIAAAAAAACAVUADQm9yZGVyQ29sb3IAVQAAABBBAP8AAAAQUgDjAAAAEEcA4wAAABBCAOMAAAABU2NBAAAAAAAAAPA/AVNjUgAAAADAsZToPwFTY0cAAAAAwLGU6D8BU2NCAAAAAMCxlOg/ABBCb3JkZXJUaGVtZUNvbG9yAAAAAAABQm9yZGVyVGludEFuZFNoYWRlAAAAAAAAAAAAEEJvcmRlclNjaGVtZUNvbG9yAAAAAAABQm9yZGVyVGhpY2tuZXNzAAAAAAAAAPA/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JlY3RhbmdsZQB0BgAAAkF1dG9TaGFwZVR5cGUACgAAAFJlY3RhbmdsZQAFTWFuYWdlZElkABAAAAAEtYJ+N5ERjkqMHtSnvxd6ywhIYXNDaGFuZ2VzAAEIVXNlTmFtZUluc3RlYWRPZlRhZ0FzSWQAAAhTaGFwZVByZXZpb3VzbHlDcmVhdGVkAAADRmlsbENvbG9yAFUAAAAQQQAAAAAAEFIA/wAAABBHAP8AAAAQQgD/AAAAAVNjQQAAAAAAAAAAAAFTY1IAAAAAAAAA8D8BU2NHAAAAAAAAAPA/AVNjQgAAAAAAAADwPwAQRmlsbFRoZW1lQ29sb3IAAAAAAAFGaWxsVGludEFuZFNoYWRlAAAAAAAAAAAAEEZpbGxTY2hlbWVDb2xvcgAAAAAAA1BhdHRlcm5Db2xvcgBVAAAAEEEAAAAAABBSAAAAAAAQRwAAAAAAEEIAAAAAAAFTY0EAAAAAAAAAAAABU2NSAFoBAAAFWQEAAFsBAADnDwAAAAAAAAAAAAAAAAAAAAAAAAFTY0cAAAAAAAAAAAABU2NCAAAAAAAAAAAAABBQYXR0ZXJuVGhlbWVDb2xvcgAAAAAAAVBhdHRlcm5UaW50QW5kU2hhZGUAAAAAAAAAAAAIRmlsbFZpc2libGUAAQhWaXNpYmxlAAA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BALQU4QAFXaWR0aAAAAAAAAAAAAAFUb3AAAAAAgIEngEABTGVmdAAAAABAZe6NQAhGbGlwSG9yaXpvbnRhbGx5AAAIRmxpcEhvcml6b250YWxseUFwcGxpZWQAAAhGbGlwVmVydGljYWxseQAACEZsaXBWZXJ0aWNhbGx5QXBwbGllZAAAAVJvdGF0aW9uAAAAAAAAAAAAAVpPcmRlcgAAAAAAAEBV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EVHJhZmZpY0xpZ2h0RGF0YQAFAAAAAARIYXJ2ZXlCYWxsRGF0YQAFAAAAAAJUcmFmZmljTGlnaHRTdGF0ZQAEAAAAT2ZmAARDaGVja0JveERhdGEABQAAAAACQ2hlY2tCb3hTdGF0ZQAFAAAATm9uZQAAA0xlZnRTaWRlUmVuZGVySW5mbwAXFAAAA0xhYmVsAJwGAAAFTWFuYWdlZElkABAAAAAE5bLdcf+j8UqLqiWz3JIcSwhIYXNDaGFuZ2VzAAAIVXNlTmFtZUluc3RlYWRPZlRhZ0FzSWQAAAhTaGFwZVByZXZpb3VzbHlDcmVhdGVkAAE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AAQAAABSb3cAAlRleHRIb3Jpem9udGFsQWxpZ25tZW50AA4AAABtc29BbmNob3JOb25lAAJQYXJhZ3JhcGhBbGlnbm1lbnQADQAAAG1zb0FsaWduTGVmdAACVGV4dFZlcnRpY2FsQWxpZ25tZW50ABAAAABtc29BbmNob3JNaWRkbGUAA0ZvbnRTdHlsZQBAAQAAEEZvbnRCYWNrZ3JvdW5kAAAAAAAIRm9udEJvbGQAAANGb250Q29sb3IAVQAAABBBAP8AAAAQUgAQAAAAEEcAOAAAABBCAE8AAAABU2NBAAAAAAAAAPA/AVNjUgAAAADgNjl1PwFTY0cAAAAAgGc/pD8BU2NCAAAAAGAXBLQ/ABBGb250VGhlbWVDb2xvcgAAAAAAAUZvbnRUaW50QW5kU2hhZGUAAAAAAAAAAAAQRm9udFNjaGVtZUNvbG9yAAAAAAAIRm9udEl0YWxpYwAAAkZvbnROYW1lAAYAAABBcmlhbAABRm9udFNpemUAAAAAAAAAJEAIRm9udFN0cmlrZXRocm91Z2gAAAhGb250U3Vic2NyaXB0AAAIRm9udFN1cGVyc2NyaXB0AAAIRm9udFVuZGVybGluZQAAAAhTaXplVG9UZXh0V2lkdGgAAAhTaXplVG9UZXh0SGVpZ2h0AAADVGV4dE1hcmdpbgA/AAAAAUxlZnQAAAAAAAAAAAABVG9wAAAAAAAAAAAAAVJpZ2h0AAAAAAAAAAAAAUJvdHRvbQAAAAAAAAAAAAACRGlzcGxheVRleHQABAAAAFJvdwABSGVpZ2h0AAAAAGDfCydAAVdpZHRoAAAAAOC0gThAAVRvcAAAAABgflmAQAFMZWZ0AAAAAEBJXDdACEZsaXBIb3Jpem9udGFsbHkAAAhGbGlwSG9yaXpvbnRhbGx5QXBwbGllZAAACEZsaXBWZXJ0aWNhbGx5AAAIRmxpcFZlcnRpY2FsbHlBcHBsaWVkAAABUm90YXRpb24AAAAAAAAAAAABWk9yZGVyAAAAAAAAAD5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SZWN0YW5nbGUAdAYAAAJBdXRvU2hhcGVUeXBlAAoAAABSZWN0YW5nbGUABU1hbmFnZWRJZAAQAAAABA0z/b5sUUVDjEN8+J4arr0ISGFzQ2hhbmdlcwAACFVzZU5hbWVJbnN0ZWFkT2ZUYWdBc0lkAAAIU2hhcGVQcmV2aW91c2x5Q3JlYXRlZAAAA0ZpbGxDb2xvcgBVAAAAEEEAAAAAABBSAP8AAAAQRwD/AAAAEEIA/wAAAAFTY0EAAAAAAAAAAAABU2NSAAAAAAAAAPA/AVNjRwAAAAAAAADwPwFTY0IAAAAAAAAA8D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A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bAQAABVoBAABcAQAA5w8AAAAAAAAAAAAAb1RleHRXaWR0aAAACFNpemVUb1RleHRIZWlnaHQAAANUZXh0TWFyZ2luAD8AAAABTGVmdAAAAAAAAAAAAAFUb3AAAAAAAAAAAAABUmlnaHQAAAAAAAAAAAABQm90dG9tAAAAAAAAAAAAAAFIZWlnaHQAAAAAQC0FOEABV2lkdGgAAAAAAIPbjUABVG9wAAAAAICBJ4BAAUxlZnQAAAAAAEriCkAIRmxpcEhvcml6b250YWxseQAACEZsaXBIb3Jpem9udGFsbHlBcHBsaWVkAAAIRmxpcFZlcnRpY2FsbHkAAAhGbGlwVmVydGljYWxseUFwcGxpZWQAAAFSb3RhdGlvbgAAAAAAAAAAAAFaT3JkZXIAAAAAAAAAJk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NlcGFyYXRvckxpbmUA4QYAAANTdGFydAAbAAAAAVgAzczMzBavB0ABWQAAAADcqueAQAADRW5kABsAAAABWAAzMzN9mPmNQAFZAAAAANyq54BAAAJTdGFydEFycm93SGVhZAARAAAAbXNvQXJyb3doZWFkTm9uZQACRW5kQXJyb3dIZWFkABEAAABtc29BcnJvd2hlYWROb25lAAVNYW5hZ2VkSWQAEAAAAARNKVhIK2PjR6L+6mF66Mb1CEhhc0NoYW5nZXMAAAhVc2VOYW1lSW5zdGVhZE9mVGFnQXNJZAAACFNoYXBlUHJldmlvdXNseUNyZWF0ZWQAAA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YOnhjUABVG9wAAAAAOCq54BAAUxlZnQAAAAAwBavB0AIRmxpcEhvcml6b250YWxseQAACEZsaXBIb3Jpem9udGFsbHlBcHBsaWVkAAAIRmxpcFZlcnRpY2FsbHkAAAhGbGlwVmVydGljYWxseUFwcGxpZWQAAAFSb3RhdGlvbgAAAAAAAAAAAAFaT3JkZXIAAAAAAAAAKEADQm9yZGVyQ29sb3IAVQAAABBBAP8AAAAQUgDjAAAAEEcA4wAAABBCAOMAAAABU2NBAAAAAAAAAPA/AVNjUgAAAADAsZToPwFTY0cAAAAAwLGU6D8BU2NCAAAAAMCxlOg/ABBCb3JkZXJUaGVtZUNvbG9yAAAAAAABQm9yZGVyVGludEFuZFNoYWRlAAAAAAAAAAAAEEJvcmRlclNjaGVtZUNvbG9yAAAAAAABQm9yZGVyVGhpY2tuZXNzAAAAAAAAAPA/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AAAAk5hbWUAHAAAAEZhaWx1cmUgTW9kZSBEYXRhIEFuYWx5dGljcwACU3VtbWFyeUxhYmVsABsAAAA04oCLLzE3LzIwMjQgLSA5LzgvMjAy4oCLNAAISXNMYWJlbEluc2lkZUJvdW5kcwABAkxhYmVsUG9zaXRpb24ABQAAAExlZnQACElzSGlnaGxpZ2h0ZWQAAAhJc1NlcGFyYXRvckxpbmVWaXNpYmxlAAEDTGVmdFNpZGVTdHlsZQB0BAAAAURlZmF1bHRGb250U2l6ZQAAAAAAAAAkQAFGb250U2l6ZQAAAAAAAAAoQANGb250Q29sb3IAVQAAABBBAP8AAAAQUgAQAAAAEEcAOAAAABBCAE8AAAABU2NBAAAAAAAAAPA/AVNjUgAAAADgNjl1PwFTY0cAAAAAgGc/pD8BU2NCAAAAAGAXBLQ/ABBGb250VGhlbWVDb2xvcgAAAAAAEEZvbnRTY2hlbWVDb2xvcgAAAAAAAUZvbnRUaW50QW5kU2hhZGUAAAAAAAAAAAADUGF0dGVybkNvbG9yAFUAAAAQQQAAAAAAEFIAAAAAABBHAAAAAAAQQgAAAAAAAVNjQQAAAAAAAAAAAAFTY1IAAAAAAAAAAAABU2NHAAAAAAAAAAAAAVNjQgAAAAAAAAAAAAAQUGF0dGVyblRoZW1lQ29sb3IAAAAAAAFQYXR0ZXJuVGludEFuZFNoYWRlAAAAAAAAAAAAA0RhdGFTdHlsZUZvbnRDb2xvclZhbHVlAFUAAAAQQQD/AAAAEFIAEAAAABBHADgAAAAQQgBPAAAAAVNjQQAAAAAAAADwPwFTY1IAAAAA4DY5dT8BU2NHAAAAAIBnP6Q/AVNjQgAAAABgFwS0PwAIRGF0YVN0eWxlRm9udENvbG9ySGFzVmFsdWUAAQFIZWlnaHQAAAAAAAAAAAACRGFzaFN0eWxlAA0AAABtc29MaW5lU29saWQACEhhc1dpc2hGaWxsQ29sb3IAAQNGaWxsQ29sb3IAVQAAABBBAAAAAAAQUgD/AAAAEEcA/wAAABBCAP8AAAABU2NBAAAAAAAAAAAAAVNjUgAAAAAAAADwPwFTY0cAAAAAAAAA8D8BU2NCAAAAAAAAAPA/ABBGaWxsU2NoZW1lQ29sb3IAAAAAABBGaWxsVGhlbWVDb2xvcgAAAAAAAUZpbGxUaW50QW5kU2hhZGUAAAAAAAAAAAADQm9yZGVyQ29sb3IAVQAAABBBAP8AAAAQUgDjAAAAEEcA4wAAABBCAOMAAAABU2NBAAAAAAAAAPA/AVNjUgAAAADAsZToPwFTY0cAAAAAwLGU6D8BU2NCAAAAAMCxlOg/ABBCb3JkZXJUaGVtZUNvbG9yAAAAAAABQm9yZGVyVGludEFuZFNoYWRlAAAAAAAAAAAACElzRmlsbGVkAAECUGF0dGVybgAQAAAAbXNvUGF0dGVybk1peGVkAAJTaGFwZVR5cGUADgAAAG1zb1NoYXBlTWl4ZWQAA0xhYmVsT2Zmc2V0AEIAAAABWAAAAAAAAAAAAAFZAAAAAAAAAAAAAUxlbmd0aAAAAAAAAAAAAAFMZW5ndGhTcXVhcmVkAAAAAAAAAAAAAAFCb3JkZXJUaGlja25lc3MAAAAAAAAA8D8ISXNGb250Qm9sZAAACElzRm9udEl0YWxpYwAACElzRm9udFVuZGVybGluZWQAAAhMYWJlbEhhc0JhY2tncm91bmQAAAJUZXh0QWxpZ25tZW50AAUAAABMZWZ0AAADU3VtbWFyeVN0eWxlAHQEAAABRGVmYXVsdEZvbnRTaXplAAAAAAAAACRAAUZvbnRTaXplAAAAAAAAACRAA0ZvbnRDb2xvcgBVAAAAEEEA/wAAABBSAP8AAAAQRwD/AAAAEEIA/wAAAAFTY0EAAAAAAAAA8D8BU2NSAAAAAAAAAPA/AVNjRwAAAAAAAADwPwFTY0IAAAAAAAAA8D8AEEZvbnRUaGVtZUNvbG9yAAAAAAAQRm9udFNjaGVtZUNvbG9yAAAAAAABRm9udFRpbnRBbmRTaGFkZQAAAAAAAAAAAANQYXR0ZXJuQ29sb3IAVQAAXAEAAAVbAQAAYQEAAOcPAAAAAAAAAAAAAAAQQQAAAAAAEFIAAAAAABBHAAAAAAAQQgAAAAAAAVNjQQAAAAAAAAAAAAFTY1IAAAAAAAAAAAABU2NHAAAAAAAAAAAAAVNjQgAAAAAAAAAAAAAQUGF0dGVyblRoZW1lQ29sb3IAAAAAAAFQYXR0ZXJuVGludEFuZFNoYWRlAAAAAAAAAAAAA0RhdGFTdHlsZUZvbnRDb2xvclZhbHVlAFUAAAAQQQAAAAAAEFIAAAAAABBHAAAAAAAQQgAAAAAAAVNjQQAAAAAAAAAAAAFTY1IAAAAAAAAAAAABU2NHAAAAAAAAAAAAAVNjQgAAAAAAAAAAAAAIRGF0YVN0eWxlRm9udENvbG9ySGFzVmFsdWUAAAFIZWlnaHQAAAAA4N0yKEACRGFzaFN0eWxlAA0AAABtc29MaW5lU29saWQACEhhc1dpc2hGaWxsQ29sb3IAAANGaWxsQ29sb3IAVQAAABBBAP8AAAAQUgBAAAAAEEcAYAAAABBCAHIAAAABU2NBAAAAAAAAAPA/AVNjUgAAAADA/T+qPwFTY0cAAAAAQMrxvT8BU2NCAAAAAADaicU/ABBGaWxsU2NoZW1lQ29sb3IAAAAAABBGaWxsVGhlbWVDb2xvcgAAAAAAAUZpbGxUaW50QW5kU2hhZGUAAAAAAAAAAAADQm9yZGVyQ29sb3IAVQAAABBBAP8AAAAQUgBAAAAAEEcAYAAAABBCAHIAAAABU2NBAAAAAAAAAPA/AVNjUgAAAADA/T+qPwFTY0cAAAAAQMrxvT8BU2NCAAAAAADaicU/ABBCb3JkZXJUaGVtZUNvbG9yAAAAAAABQm9yZGVyVGludEFuZFNoYWRlAAAAAAAAAAAACElzRmlsbGVkAAECUGF0dGVybgAQAAAAbXNvUGF0dGVybk1peGVkAAJTaGFwZVR5cGUADgAAAG1zb1NoYXBlTWl4ZWQAA0xhYmVsT2Zmc2V0AEIAAAABWAAAAAAAAAAAAAFZAAAAAAAAAAAAAUxlbmd0aAAAAAAAAAAAAAFMZW5ndGhTcXVhcmVkAAAAAAAAAAAAAAFCb3JkZXJUaGlja25lc3MAAAAAAAAA8D8ISXNGb250Qm9sZAAACElzRm9udEl0YWxpYwAACElzRm9udFVuZGVybGluZWQAAAhMYWJlbEhhc0JhY2tncm91bmQAAAJUZXh0QWxpZ25tZW50AAUAAABMZWZ0AAAIRGlzcGxheUxhYmVsAAEISXNDb2xsYXBzZWQAAAhJc0xlYWRlckxpbmVJbkF1dG9Nb2RlAAEBU2VjdGlvblRvcAC8BH2yLl9zQAFTZWN0aW9uSGVpZ2h0AIj2BQtO8GxAA0xlZnROb3RlcwDHBAAAA1RleHRTdHlsZQBbBAAAAURlZmF1bHRGb250U2l6ZQAAAAAAAAAkQAFGb250U2l6ZQAAAAAAAAAkQANGb250Q29sb3IAVQAAABBBAP8AAAAQUgAQAAAAEEcAOAAAABBCAE8AAAABU2NBAAAAAAAAAPA/AVNjUgAAAADgNjl1PwFTY0cAAAAAgGc/pD8BU2NCAAAAAGAXBLQ/ABBGb250VGhlbWVDb2xvcgAAAAAAEEZvbnRTY2hlbWVDb2xvcgAAAAAAAUZvbnRUaW50QW5kU2hhZGUAAAAAAAAAAAADUGF0dGVybkNvbG9yAFUAAAAQQQAAAAAAEFIAAAAAABBHAAAAAAAQQgAAAAAAAVNjQQAAAAAAAAAAAAFTY1IAAAAAAAAAAAABU2NHAAAAAAAAAAAAAVNjQgAAAAAAAAAAAAAQUGF0dGVyblRoZW1lQ29sb3IAAAAAAAFQYXR0ZXJuVGludEFuZFNoYWRlAAAAAAAAAAAAA0RhdGFTdHlsZUZvbnRDb2xvclZhbHVlAFUAAAAQQQD/AAAAEFIAEAAAABBHADgAAAAQQgBPAAAAAVNjQQAAAAAAAADwPwFTY1IAAAAA4DY5dT8BU2NHAAAAAIBnP6Q/AVNjQgAAAABgFwS0PwAIRGF0YVN0eWxlRm9udENvbG9ySGFzVmFsdWUAAQFIZWlnaHQAAAAAAAAAAAACRGFzaFN0eWxlAA0AAABtc29MaW5lU29saWQACEhhc1dpc2hGaWxsQ29sb3IAAANGaWxsQ29sb3IAVQAAABBBAP8AAAAQUgAAAAAAEEcAAAAAABBCAAAAAAABU2NBAAAAAAAAAPA/AVNjUgAAAAAAAAAAAAFTY0cAAAAAAAAAAAABU2NCAAAAAAAAAAAAABBGaWxsU2NoZW1lQ29sb3IAAAAAABBGaWxsVGhlbWVDb2xvcgAAAAAAAUZpbGxUaW50QW5kU2hhZGUAAAAAAAAAAAADQm9yZGVyQ29sb3IAVQAAABBBAAAAAAAQUgAAAAAAEEcAAAAAABBCAAAAAAABU2NBAAAAAAAAAAAAAVNjUgAAAAAAAAAAAAFTY0cAAAAAAAAAAAABU2NCAAAAAAAAAAAAABBCb3JkZXJUaGVtZUNvbG9yAAAAAAABQm9yZGVyVGludEFuZFNoYWRlAAAAAAAAAAAACElzRmlsbGVkAAECUGF0dGVybgAQAAAAbXNvUGF0dGVybk1peGVkAAJTaGFwZVR5cGUADgAAAG1zb1NoYXBlTWl4ZWQAA0xhYmVsT2Zmc2V0AEIAAAABWAAAAAAAAAAAAAFZAAAAAAAAAAAAAUxlbmd0aAAAAAAAAAAAAAFMZW5ndGhTcXVhcmVkAAAAAAAAAAAAAAhJc0ZvbnRCb2xkAAAISXNGb250SXRhbGljAAAISXNGb250VW5kZXJsaW5lZAAACExhYmVsSGFzQmFja2dyb3VuZAAAAlRleHRBbGlnbm1lbnQABQAAAExlZnQAAAhIYXJ2ZXlCYWxsVmlzaWJsZQABEEhhcnZleUJhbGxWYWx1ZQAAAAAAAkNoZWNrQm94U3RhdGUABQAAAE5vbmUAAlRyYWZmaWNMaWdodFN0YXRlAAQAAABPZmYAAANSaWdodE5vdGVzAMcEAAADVGV4dFN0eWxlAFsEAAABRGVmYXVsdEZvbnRTaXplAAAAAAAAACRAAUZvbnRTaXplAAAAAAAAACRAA0ZvbnRDb2xvcgBVAAAAEEEA/wAAABBSABAAAAAQRwA4AAAAEEIATwAAAAFTY0EAAAAAAAAA8D8BU2NSAAAAAOA2OXU/AVNjRwAAAACAZz+kPwFTY0IAAAAAYBcEtD8AEEZvbnRUaGVtZUNvbG9yAAAAAAAQRm9udFNjaGVtZUNvbG9yAAAAAAABRm9udFRpbnRBbmRTaGFkZQAAAAAAAAAAAANQYXR0ZXJuQ29sb3IAVQAAABBBAAAAAAAQUgAAAAAAEEcAAAAAABBCAAAAAAABU2NBAAAAAAAAAAAAAVNjUgAAAAAAAAAAAAFTY0cAAAAAAAAAAAABU2NCAAAAAAAAAAAAABBQYXR0ZXJuVGhlbWVDb2xvcgAAAAAAAVBhdHRlcm5UaW50QW5kU2hhZGUAAAAAAAAAAAADRGF0YVN0eWxlRm9udENvbG9yVmFsdWUAVQAAABBBAP8AAAAQUgAQAAAAEEcAOAAAABBCAE8AAAABU2NBAAAAAAAAAPA/AVNjUgAAAADgNjl1PwFTY0cAAAAAgGc/pD8BU2NCAAAAAGAXBLQ/AAhEYXRhU3R5bGVGb250Q29sb3JIYXNWYWx1ZQABAUhlaWdodAAAAAAAAAAAAAJEYXNoU3R5bGUADQAAAG1zb0xpbmVTb2xpZAAISGFzV2lzaEZpbGxDb2xvcgAAA0ZpbGxDb2xvcgBVAAAAEEEA/wAAABBSAAAAAAAQRwAAAAAAEEIAAAAAAAFTY0EAAAAAAAAA8D8BU2NSAAAAAAAAAAAAAVNjRwAAAAAAAAAAAAFTY0IAAAAAAAAAAAAAEEZpbGxTY2hlbWVDb2xvcgAAAAAAEEZpbGxUaGVtZUNvbG9yAAAAAAABRmlsbFRpbnRBbmRTaGFkZQAAAAAAAAAAAANCb3JkZXJDb2xvcgBVAAAAEEEAAAAAABBSAAAAAAAQRwAAAAAAEEIAAAAAAAFTY0EAAAAAAAAAAAABU2NSAAAAAAAAAAAAAVNjRwAAAAAAAAAAAAFTY0IAAAAAAAAAAAAAEEJvcmRlclRoZW1lQ29sb3IAAAAAAAFCb3JkZXJUaW50QW5kU2hhZGUAAAAAAAAAAAAISXNGaWxsZWQAAQJQYXR0ZXJuABAAAABtc29QYXR0ZXJuTWl4ZWQAAlNoYXBlVHlwZQAOAAAAbXNvU2hhcGVNaXhlZAADTGFiZWxPZmZzZXQAQgAAAAFYAAAAAAAAAAAAAVkAAAAAAAAAAAABTGVuZ3RoAAAAAAAAAAAAAUxlbmd0aFNxdWFyZWQAAAAAAAAAAAAACElzRm9udEJvbGQAAAhJc0ZvbnRJdGFsaWMAAAhJc0ZvbnRVbmRlcmxpbmVkAAAITGFiZWxIYXNCYWNrZ3JvdW5kAAACVGV4dEFsaWdubWVudAAFAAAATGVmdAAACEhhcnZleUJhbGxWaXNpYmxlAAEQSGFydmV5QmFsbFZhbHVlAAAAAAACQ2hlY2tCb3hTdGF0ZQAFAAAATm9uZQACVHJhZmZpY0xpZ2h0U3RhdGUABAAAAE9mZgAAA0xlZnROb3Rlc1JlbmRlckluZm8AYRQAAANMYWJlbAB0BgAABU1hbmFnZWRJZAAQAAAABPuynMuDur9OqGIHmMDGLTUISGFzQ2hhbmdlcwABCFVzZU5hbWVJbnN0ZWFkT2ZUYWdBc0lkAAAIU2hhcGVQcmV2aW91c2x5Q3JlYXRlZAAA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ACRmlsbFBhdHRlcm4AEAAAAG1zb1BhdHRlcm5NaXhlZAACVGV4dAABAAAAAAJUZXh0SG9yaXpvbnRhbEFsaWdubWVudAAOAAAAbXNvQW5jaG9yTm9uZQACUGFyYWdyYXBoQWxpZ25tZW50AAIAAAAwAAJUZXh0VmVydF0BAAAFWAEAAF4BAADnDwAAAAAAAAAAAABlAAAITGluZVJ1bGVXaXRoaW4AAAFSaWdodEluZGVudAAAAAAAAAAAAAFTcGFjZUFmdGVyAAAAAAAAAAAAAVNwYWNlQmVmb3JlAAAAAAAAAAAAAVNwYWNlV2l0aGluAAAAAAAAAAAAAARUcmFmZmljTGlnaHREYXRhAAUAAAAABEhhcnZleUJhbGxEYXRhAAUAAAAAAlRyYWZmaWNMaWdodFN0YXRlAAQAAABPZmYABENoZWNrQm94RGF0YQAFAAAAAAJDaGVja0JveFN0YXRlAAUAAABOb25lAAADUmlnaHROb3Rlc1JlbmRlckluZm8AYRQAAANMYWJlbAB0BgAABU1hbmFnZWRJZAAQAAAABMsdDa/ZiNlJtqrZJwoA7nkISGFzQ2hhbmdlcwABCFVzZU5hbWVJbnN0ZWFkT2ZUYWdBc0lkAAAIU2hhcGVQcmV2aW91c2x5Q3JlYXRlZAAA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ACRmlsbFBhdHRlcm4AEAAAAG1zb1BhdHRlcm5NaXhlZAACVGV4dAABAAAA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CRGlzcGxheVRleHQAAQAAAAABSGVpZ2h0AAAAAAAAAPA/AVdpZHRoAAAAAAAAAPA/AVRvcAAAAAAAjJZxQAFMZWZ0AAAAAEBl9o1ACEZsaXBIb3Jpem9udGFsbHkAAAhGbGlwSG9yaXpvbnRhbGx5QXBwbGllZAAACEZsaXBWZXJ0aWNhbGx5AAAIRmxpcFZlcnRpY2FsbHlBcHBsaWVkAAABUm90YXRpb24AAAAAAAAAAAABWk9yZGVyAAAAAAAAAAA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TZXBhcmF0b3JMaW5lAOEGAAADU3RhcnQAGwAAAAFYAM3MzBYy841AAVkAAAAA4KrngEAAA0VuZAAbAAAAAVgAMzMzfZj5jUABWQAAAADgqueAQAACU3RhcnRBcnJvd0hlYWQAEQAAAG1zb0Fycm93aGVhZE5vbmUAAkVuZEFycm93SGVhZAARAAAAbXNvQXJyb3doZWFkTm9uZQAFTWFuYWdlZElkABAAAAAEBYdZC7ND80u/p+1sLLPHeghIYXNDaGFuZ2VzAAEIVXNlTmFtZUluc3RlYWRPZlRhZ0FzSWQAAAhTaGFwZVByZXZpb3VzbHlDcmVhdGVkAAA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AAAAAAAAVdpZHRoAAAAAKCZmek/AVRvcAAAAADgqueAQAFMZWZ0AAAAACAy841ACEZsaXBIb3Jpem9udGFsbHkAAAhGbGlwSG9yaXpvbnRhbGx5QXBwbGllZAAACEZsaXBWZXJ0aWNhbGx5AAAIRmxpcFZlcnRpY2FsbHlBcHBsaWVkAAABUm90YXRpb24AAAAAAAAAAAABWk9yZGVyAAAAAAAAgFVAA0JvcmRlckNvbG9yAFUAAAAQQQD/AAAAEFIA4wAAABBHAOMAAAAQQgDjAAAAAVNjQQAAAAAAAADwPwFTY1IAAAAAwLGU6D8BU2NHAAAAAMCxlOg/AVNjQgAAAADAsZToPwAQQm9yZGVyVGhlbWVDb2xvcgAAAAAAAUJvcmRlclRpbnRBbmRTaGFkZQAAAAAAAAAAABBCb3JkZXJTY2hlbWVDb2xvcgAAAAAAAUJvcmRlclRoaWNrbmVzcwAAAAAAAADw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SZWN0YW5nbGUAdAYAAAJBdXRvU2hhcGVUeXBlAAoAAABSZWN0YW5nbGUABU1hbmFnZWRJZAAQAAAABLWCfjeREY5KjB7Up78XessISGFzQ2hhbmdlcwABCFVzZU5hbWVJbnN0ZWFkT2ZUYWdBc0lkAAAIU2hhcGVQcmV2aW91c2x5Q3JlYXRlZAAAA0ZpbGxDb2xvcgBVAAAAEEEAAAAAABBSAP8AAAAQRwD/AAAAEEIA/wAAAAFTY0EAAAAAAAAAAAABU2NSAAAAAAAAAPA/AVNjRwAAAAAAAADwPwFTY0IAAAAAAAAA8D8AEEZpbGxUaGVtZUNvbG9yAAAAAAABRmlsbFRpbnRBbmRTaGFkZQAAAAAAAAAAABBGaWxsU2NoZW1lQ29sb3IAAAAAAANQYXR0ZXJuQ29sb3IAVQAAABBBAAAAAAAQUgAAAAAAEEcAAAAAABBCAAAAAAABU2NBAAAAAAAAAAAAAVNjUgAAAAAAAAAAAAFTY0cAAAAAAAAAAAABU2NeAQAABV0BAABfAQAA5w8AAAAAAAAAAAAAQgAAAAAAAAAAAAAQUGF0dGVyblRoZW1lQ29sb3IAAAAAAAFQYXR0ZXJuVGludEFuZFNoYWRlAAAAAAAAAAAACEZpbGxWaXNpYmxlAAEIVmlzaWJsZQAA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QC0FOEABV2lkdGgAAAAAAAAAAAABVG9wAAAAAICBJ4BAAUxlZnQAAAAAQGXujUAIRmxpcEhvcml6b250YWxseQAACEZsaXBIb3Jpem9udGFsbHlBcHBsaWVkAAAIRmxpcFZlcnRpY2FsbHkAAAhGbGlwVmVydGljYWxseUFwcGxpZWQAAAFSb3RhdGlvbgAAAAAAAAAAAAFaT3JkZXIAAAAAAABAVU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BFRyYWZmaWNMaWdodERhdGEABQAAAAAESGFydmV5QmFsbERhdGEABQAAAAACVHJhZmZpY0xpZ2h0U3RhdGUABAAAAE9mZgAEQ2hlY2tCb3hEYXRhAAUAAAAAAkNoZWNrQm94U3RhdGUABQAAAE5vbmUAAANMZWZ0U2lkZVJlbmRlckluZm8AFxQAAANMYWJlbACcBgAABU1hbmFnZWRJZAAQAAAABOWy3XH/o/FKi6ols9ySHEsISGFzQ2hhbmdlcwAACFVzZU5hbWVJbnN0ZWFkT2ZUYWdBc0lkAAAIU2hhcGVQcmV2aW91c2x5Q3JlYXRlZAAB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AAEAAAAUm93AAJUZXh0SG9yaXpvbnRhbEFsaWdubWVudAAOAAAAbXNvQW5jaG9yTm9uZQACUGFyYWdyYXBoQWxpZ25tZW50AA0AAABtc29BbGlnbkxlZnQAAlRleHRWZXJ0aWNhbEFsaWdubWVudAAQAAAAbXNvQW5jaG9yTWlkZGxlAANGb250U3R5bGUAQAEAABBGb250QmFja2dyb3VuZAAAAAAACEZvbnRCb2xkAAADRm9udENvbG9yAFUAAAAQQQD/AAAAEFIAEAAAABBHADgAAAAQQgBPAAAAAVNjQQAAAAAAAADwPwFTY1IAAAAA4DY5dT8BU2NHAAAAAIBnP6Q/AVNjQgAAAABgFwS0PwAQRm9udFRoZW1lQ29sb3IAAAAAAAFGb250VGludEFuZFNoYWRlAAAAAAAAAAAAEEZvbnRTY2hlbWVDb2xvcgAAAAAACEZvbnRJdGFsaWMAAAJGb250TmFtZQAGAAAAQXJpYWwAAUZvbnRTaXplAAAAAAAAACRACEZvbnRTdHJpa2V0aHJvdWdoAAAIRm9udFN1YnNjcmlwdAAACEZvbnRTdXBlcnNjcmlwdAAACEZvbnRVbmRlcmxpbmUAAAAIU2l6ZVRvVGV4dFdpZHRoAAAIU2l6ZVRvVGV4dEhlaWdodAAAA1RleHRNYXJnaW4APwAAAAFMZWZ0AAAAAAAAAAAAAVRvcAAAAAAAAAAAAAFSaWdodAAAAAAAAAAAAAFCb3R0b20AAAAAAAAAAAAAAkRpc3BsYXlUZXh0AAQAAABSb3cAAUhlaWdodAAAAABg3wsnQAFXaWR0aAAAAADgtIE4QAFUb3AAAAAAYH5ZgEABTGVmdAAAAABASVw3QAhGbGlwSG9yaXpvbnRhbGx5AAAIRmxpcEhvcml6b250YWxseUFwcGxpZWQAAAhGbGlwVmVydGljYWxseQAACEZsaXBWZXJ0aWNhbGx5QXBwbGllZAAAAVJvdGF0aW9uAAAAAAAAAAAAAVpPcmRlcgAAAAAAAAA+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mVjdGFuZ2xlAHQGAAACQXV0b1NoYXBlVHlwZQAKAAAAUmVjdGFuZ2xlAAVNYW5hZ2VkSWQAEAAAAAQNM/2+bFFFQ4xDfPieGq69CEhhc0NoYW5nZXMAAAhVc2VOYW1lSW5zdGVhZE9mVGFnQXNJZAAACFNoYXBlUHJldmlvdXNseUNyZWF0ZWQAAANGaWxsQ29sb3IAVQAAABBBAAAAAAAQUgD/AAAAEEcA/wAAABBCAP8AAAABU2NBAAAAAAAAAAAAAVNjUgAAAAAAAADwPwFTY0cAAAAAAAAA8D8BU2NCAAAAAAAAAPA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A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XwEAAAVeAQAAYAEAAOcPAAAAAAAAAAAAAGVpZ2h0AAADVGV4dE1hcmdpbgA/AAAAAUxlZnQAAAAAAAAAAAABVG9wAAAAAAAAAAAAAVJpZ2h0AAAAAAAAAAAAAUJvdHRvbQAAAAAAAAAAAAABSGVpZ2h0AAAAAEAtBThAAVdpZHRoAAAAAACD241AAVRvcAAAAACAgSeAQAFMZWZ0AAAAAABK4gpACEZsaXBIb3Jpem9udGFsbHkAAAhGbGlwSG9yaXpvbnRhbGx5QXBwbGllZAAACEZsaXBWZXJ0aWNhbGx5AAAIRmxpcFZlcnRpY2FsbHlBcHBsaWVkAAABUm90YXRpb24AAAAAAAAAAAABWk9yZGVyAAAAAAAAACZ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TZXBhcmF0b3JMaW5lAOEGAAADU3RhcnQAGwAAAAFYAM3MzMwWrwdAAVkAAAAA3KrngEAAA0VuZAAbAAAAAVgAMzMzfZj5jUABWQAAAADcqueAQAACU3RhcnRBcnJvd0hlYWQAEQAAAG1zb0Fycm93aGVhZE5vbmUAAkVuZEFycm93SGVhZAARAAAAbXNvQXJyb3doZWFkTm9uZQAFTWFuYWdlZElkABAAAAAETSlYSCtj40ei/upheujG9QhIYXNDaGFuZ2VzAAAIVXNlTmFtZUluc3RlYWRPZlRhZ0FzSWQAAAhTaGFwZVByZXZpb3VzbHlDcmVhdGVkAAA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AAAAAAAAVdpZHRoAAAAAGDp4Y1AAVRvcAAAAADgqueAQAFMZWZ0AAAAAMAWrwdACEZsaXBIb3Jpem9udGFsbHkAAAhGbGlwSG9yaXpvbnRhbGx5QXBwbGllZAAACEZsaXBWZXJ0aWNhbGx5AAAIRmxpcFZlcnRpY2FsbHlBcHBsaWVkAAABUm90YXRpb24AAAAAAAAAAAABWk9yZGVyAAAAAAAAAChAA0JvcmRlckNvbG9yAFUAAAAQQQD/AAAAEFIA4wAAABBHAOMAAAAQQgDjAAAAAVNjQQAAAAAAAADwPwFTY1IAAAAAwLGU6D8BU2NHAAAAAMCxlOg/AVNjQgAAAADAsZToPwAQQm9yZGVyVGhlbWVDb2xvcgAAAAAAAUJvcmRlclRpbnRBbmRTaGFkZQAAAAAAAAAAABBCb3JkZXJTY2hlbWVDb2xvcgAAAAAAAUJvcmRlclRoaWNrbmVzcwAAAAAAAADw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AAAAJOYW1lABwAAABGYWlsdXJlIE1vZGUgRGF0YSBBbmFseXRpY3MAAlN1bW1hcnlMYWJlbAAbAAAANOKAiy8xNy8yMDI0IC0gOS84LzIwMuKAizQACElzTGFiZWxJbnNpZGVCb3VuZHMAAQJMYWJlbFBvc2l0aW9uAAUAAABMZWZ0AAhJc0hpZ2hsaWdodGVkAAAISXNTZXBhcmF0b3JMaW5lVmlzaWJsZQABA0xlZnRTaWRlU3R5bGUAdAQAAAFEZWZhdWx0Rm9udFNpemUAAAAAAAAAJEABRm9udFNpemUAAAAAAAAAKEADRm9udENvbG9yAFUAAAAQQQD/AAAAEFIAEAAAABBHADgAAAAQQgBPAAAAAVNjQQAAAAAAAADwPwFTY1IAAAAA4DY5dT8BU2NHAAAAAIBnP6Q/AVNjQgAAAABgFwS0PwAQRm9udFRoZW1lQ29sb3IAAAAAABBGb250U2NoZW1lQ29sb3IAAAAAAAFGb250VGludEFuZFNoYWRlAAAAAAAAAAAAA1BhdHRlcm5Db2xvcgBVAAAAEEEAAAAAABBSAAAAAAAQRwAAAAAAEEIAAAAAAAFTY0EAAAAAAAAAAAABU2NSAAAAAAAAAAAAAVNjRwAAAAAAAAAAAAFTY0IAAAAAAAAAAAAAEFBhdHRlcm5UaGVtZUNvbG9yAAAAAAABUGF0dGVyblRpbnRBbmRTaGFkZQAAAAAAAAAAAANEYXRhU3R5bGVGb250Q29sb3JWYWx1ZQBVAAAAEEEA/wAAABBSABAAAAAQRwA4AAAAEEIATwAAAAFTY0EAAAAAAAAA8D8BU2NSAAAAAOA2OXU/AVNjRwAAAACAZz+kPwFTY0IAAAAAYBcEtD8ACERhdGFTdHlsZUZvbnRDb2xvckhhc1ZhbHVlAAEBSGVpZ2h0AAAAAAAAAAAAAkRhc2hTdHlsZQANAAAAbXNvTGluZVNvbGlkAAhIYXNXaXNoRmlsbENvbG9yAAEDRmlsbENvbG9yAFUAAAAQQQAAAAAAEFIA/wAAABBHAP8AAAAQQgD/AAAAAVNjQQAAAAAAAAAAAAFTY1IAAAAAAAAA8D8BU2NHAAAAAAAAAPA/AVNjQgAAAAAAAADwPwAQRmlsbFNjaGVtZUNvbG9yAAAAAAAQRmlsbFRoZW1lQ29sb3IAAAAAAAFGaWxsVGludEFuZFNoYWRlAAAAAAAAAAAAA0JvcmRlckNvbG9yAFUAAAAQQQD/AAAAEFIA4wAAABBHAOMAAAAQQgDjAAAAAVNjQQAAAAAAAADwPwFTY1IAAAAAwLGU6D8BU2NHAAAAAMCxlOg/AVNjQgAAAADAsZToPwAQQm9yZGVyVGhlbWVDb2xvcgAAAAAAAUJvcmRlclRpbnRBbmRTaGFkZQAAAAAAAAAAAAhJc0ZpbGxlZAABAlBhdHRlcm4AEAAAAG1zb1BhdHRlcm5NaXhlZAACU2hhcGVUeXBlAA4AAABtc29TaGFwZU1peGVkAANMYWJlbE9mZnNldABCAAAAAVgAAAAAAAAAAAABWQAAAAAAAAAAAAFMZW5ndGgAAAAAAAAAAAABTGVuZ3RoU3F1YXJlZAAAAAAAAAAAAAABQm9yZGVyVGhpY2tuZXNzAAAAAAAAAPA/CElzRm9udEJvbGQAAAhJc0ZvbnRJdGFsaWMAAAhJc0ZvbnRVbmRlcmxpbmVkAAAITGFiZWxIYXNCYWNrZ3JvdW5kAAACVGV4dEFsaWdubWVudAAFAAAATGVmdAAAA1N1bW1hcnlTdHlsZQB0BAAAAURlZmF1bHRGb250U2l6ZQAAAAAAAAAkQAFGb250U2l6ZQAAAAAAAAAkQANGb250Q29sb3IAVQAAABBBAP8AAAAQUgD/AAAAEEcA/wAAABBCAP8AAAABU2NBAAAAAAAAAPA/AVNjUgAAAAAAAADwPwFTY0cAAAAAAAAA8D8BU2NCAAAAAAAAAPA/ABBGb250VGhlbWVDb2xvcgAAAAAAEEZvbnRTY2hlbWVDb2xvcgAAAAAAAUZvbnRUaW50QW5kU2hhZGUAAAAAAAAAAAADUGF0dGVybkNvbG9yAFUAAAAQQQAAAAAAEFIAAAAAABBHAAAAAAAQQmABAAAFXwEAAGMBAADnDwAAAAAAAAAAAAAAAAAAAAFTY0EAAAAAAAAAAAABU2NSAAAAAAAAAAAAAVNjRwAAAAAAAAAAAAFTY0IAAAAAAAAAAAAAEFBhdHRlcm5UaGVtZUNvbG9yAAAAAAABUGF0dGVyblRpbnRBbmRTaGFkZQAAAAAAAAAAAANEYXRhU3R5bGVGb250Q29sb3JWYWx1ZQBVAAAAEEEAAAAAABBSAAAAAAAQRwAAAAAAEEIAAAAAAAFTY0EAAAAAAAAAAAABU2NSAAAAAAAAAAAAAVNjRwAAAAAAAAAAAAFTY0IAAAAAAAAAAAAACERhdGFTdHlsZUZvbnRDb2xvckhhc1ZhbHVlAAABSGVpZ2h0AAAAAODdMihAAkRhc2hTdHlsZQANAAAAbXNvTGluZVNvbGlkAAhIYXNXaXNoRmlsbENvbG9yAAADRmlsbENvbG9yAFUAAAAQQQD/AAAAEFIAQAAAABBHAGAAAAAQQgByAAAAAVNjQQAAAAAAAADwPwFTY1IAAAAAwP0/qj8BU2NHAAAAAEDK8b0/AVNjQgAAAAAA2onFPwAQRmlsbFNjaGVtZUNvbG9yAAAAAAAQRmlsbFRoZW1lQ29sb3IAAAAAAAFGaWxsVGludEFuZFNoYWRlAAAAAAAAAAAAA0JvcmRlckNvbG9yAFUAAAAQQQD/AAAAEFIAQAAAABBHAGAAAAAQQgByAAAAAVNjQQAAAAAAAADwPwFTY1IAAAAAwP0/qj8BU2NHAAAAAEDK8b0/AVNjQgAAAAAA2onFPwAQQm9yZGVyVGhlbWVDb2xvcgAAAAAAAUJvcmRlclRpbnRBbmRTaGFkZQAAAAAAAAAAAAhJc0ZpbGxlZAABAlBhdHRlcm4AEAAAAG1zb1BhdHRlcm5NaXhlZAACU2hhcGVUeXBlAA4AAABtc29TaGFwZU1peGVkAANMYWJlbE9mZnNldABCAAAAAVgAAAAAAAAAAAABWQAAAAAAAAAAAAFMZW5ndGgAAAAAAAAAAAABTGVuZ3RoU3F1YXJlZAAAAAAAAAAAAAABQm9yZGVyVGhpY2tuZXNzAAAAAAAAAPA/CElzRm9udEJvbGQAAAhJc0ZvbnRJdGFsaWMAAAhJc0ZvbnRVbmRlcmxpbmVkAAAITGFiZWxIYXNCYWNrZ3JvdW5kAAACVGV4dEFsaWdubWVudAAFAAAATGVmdAAACERpc3BsYXlMYWJlbAABCERpc3BsYXlTdW1tYXJ5AAEISXNDb2xsYXBzZWQAAAFTZWN0aW9uVG9wALwEfbIuX3NAAVNlY3Rpb25IZWlnaHQAiPYFC07wbEADTGVmdE5vdGVzAMcEAAADVGV4dFN0eWxlAFsEAAABRGVmYXVsdEZvbnRTaXplAAAAAAAAACRAAUZvbnRTaXplAAAAAAAAACRAA0ZvbnRDb2xvcgBVAAAAEEEA/wAAABBSABAAAAAQRwA4AAAAEEIATwAAAAFTY0EAAAAAAAAA8D8BU2NSAAAAAOA2OXU/AVNjRwAAAACAZz+kPwFTY0IAAAAAYBcEtD8AEEZvbnRUaGVtZUNvbG9yAAAAAAAQRm9udFNjaGVtZUNvbG9yAAAAAAABRm9udFRpbnRBbmRTaGFkZQAAAAAAAAAAAANQYXR0ZXJuQ29sb3IAVQAAABBBAAAAAAAQUgAAAAAAEEcAAAAAABBCAAAAAAABU2NBAAAAAAAAAAAAAVNjUgAAAAAAAAAAAAFTY0cAAAAAAAAAAAABU2NCAAAAAAAAAAAAABBQYXR0ZXJuVGhlbWVDb2xvcgAAAAAAAVBhdHRlcm5UaW50QW5kU2hhZGUAAAAAAAAAAAADRGF0YVN0eWxlRm9udENvbG9yVmFsdWUAVQAAABBBAP8AAAAQUgAQAAAAEEcAOAAAABBCAE8AAAABU2NBAAAAAAAAAPA/AVNjUgAAAADgNjl1PwFTY0cAAAAAgGc/pD8BU2NCAAAAAGAXBLQ/AAhEYXRhU3R5bGVGb250Q29sb3JIYXNWYWx1ZQABAUhlaWdodAAAAAAAAAAAAAJEYXNoU3R5bGUADQAAAG1zb0xpbmVTb2xpZAAISGFzV2lzaEZpbGxDb2xvcgAAA0ZpbGxDb2xvcgBVAAAAEEEA/wAAABBSAAAAAAAQRwAAAAAAEEIAAAAAAAFTY0EAAAAAAAAA8D8BU2NSAAAAAAAAAAAAAVNjRwAAAAAAAAAAAAFTY0IAAAAAAAAAAAAAEEZpbGxTY2hlbWVDb2xvcgAAAAAAEEZpbGxUaGVtZUNvbG9yAAAAAAABRmlsbFRpbnRBbmRTaGFkZQAAAAAAAAAAAANCb3JkZXJDb2xvcgBVAAAAEEEAAAAAABBSAAAAAAAQRwAAAAAAEEIAAAAAAAFTY0EAAAAAAAAAAAABU2NSAAAAAAAAAAAAAVNjRwAAAAAAAAAAAAFTY0IAAAAAAAAAAAAAEEJvcmRlclRoZW1lQ29sb3IAAAAAAAFCb3JkZXJUaW50QW5kU2hhZGUAAAAAAAAAAAAISXNGaWxsZWQAAQJQYXR0ZXJuABAAAABtc29QYXR0ZXJuTWl4ZWQAAlNoYXBlVHlwZQAOAAAAbXNvU2hhcGVNaXhlZAADTGFiZWxPZmZzZXQAQgAAAAFYAAAAAAAAAAAAAVkAAAAAAAAAAAABTGVuZ3RoAAAAAAAAAAAAAUxlbmd0aFNxdWFyZWQAAAAAAAAAAAAACElzRm9udEJvbGQAAAhJc0ZvbnRJdGFsaWMAAAhJc0ZvbnRVbmRlcmxpbmVkAAAITGFiZWxIYXNCYWNrZ3JvdW5kAAACVGV4dEFsaWdubWVudAAFAAAATGVmdAAACEhhcnZleUJhbGxWaXNpYmxlAAEQSGFydmV5QmFsbFZhbHVlAAAAAAACQ2hlY2tCb3hTdGF0ZQAFAAAATm9uZQACVHJhZmZpY0xpZ2h0U3RhdGUABAAAAE9mZgAAA1JpZ2h0Tm90ZXMAxwQAAANUZXh0U3R5bGUAWwQAAAFEZWZhdWx0Rm9udFNpemUAAAAAAAAAJEABRm9udFNpemUAAAAAAAAAJEADRm9udENvbG9yAFUAAAAQQQD/AAAAEFIAEAAAABBHADgAAAAQQgBPAAAAAVNjQQAAAAAAAADwPwFTY1IAAAAA4DY5dT8BU2NHAAAAAIBnP6Q/AVNjQgAAAABgFwS0PwAQRm9udFRoZW1lQ29sb3IAAAAAABBGb250U2NoZW1lQ29sb3IAAAAAAAFGb250VGludEFuZFNoYWRlAAAAAAAAAAAAA1BhdHRlcm5Db2xvcgBVAAAAEEEAAAAAABBSAAAAAAAQRwAAAAAAEEIAAAAAAAFTY0EAAAAAAAAAAAABU2NSAAAAAAAAAAAAAVNjRwAAAAAAAAAAAAFTY0IAAAAAAAAAAAAAEFBhdHRlcm5UaGVtZUNvbG9yAAAAAAABUGF0dGVyblRpbnRBbmRTaGFkZQAAAAAAAAAAAANEYXRhU3R5bGVGb250Q29sb3JWYWx1ZQBVAAAAEEEA/wAAABBSABAAAAAQRwA4AAAAEEIATwAAAAFTY0EAAAAAAAAA8D8BU2NSAAAAAOA2OXU/AVNjRwAAAACAZz+kPwFTY0IAAAAAYBcEtD8ACERhdGFTdHlsZUZvbnRDb2xvckhhc1ZhbHVlAAEBSGVpZ2h0AAAAAAAAAAAAAkRhc2hTdHlsZQANAAAAbXNvTGluZVNvbGlkAAhIYXNXaXNoRmlsbENvbG9yAAADRmlsbENvbG9yAFUAAAAQQQD/AAAAEFIAAAAAABBHAAAAAAAQQgAAAAAAAVNjQQAAAAAAAADwPwFTY1IAAAAAAAAAAAABU2NHAAAAAAAAAAAAAVNjQgAAAAAAAAAAAAAQRmlsbFNjaGVtZUNvbG9yAAAAAAAQRmlsbFRoZW1lQ29sb3IAAAAAAAFGaWxsVGludEFuZFNoYWRlAAAAAAAAAAAAA0JvcmRlckNvbG9yAFUAAAAQQQAAAAAAEFIAAAAAABBHAAAAAAAQQgAAAAAAAVNjQQAAAAAAAAAAAAFTY1IAAAAAAAAAAAABU2NHAAAAAAAAAAAAAVNjQgAAAAAAAAAAAAAQQm9yZGVyVGhlbWVDb2xvcgAAAAAAAUJvcmRlclRpbnRBbmRTaGFkZQAAAAAAAAAAAAhJc0ZpbGxlZAABAlBhdHRlcm4AEAAAAG1zb1BhdHRlcm5NaXhlZAACU2hhcGVUeXBlAA4AAABtc29TaGFwZU1peGVkAANMYWJlbE9mZnNldABCAAAAAVgAAAAAAAAAAAABWQAAAAAAAAAAAAFMZW5ndGgAAAAAAAAAAAABTGVuZ3RoU3F1YXJlZAAAAAAAAAAAAAAISXNGb250Qm9sZAAACElzRm9udEl0YWxpYwAACElzRm9udFVuZGVybGluZWQAAAhMYWJlbEhhc0JhY2tncm91bmQAAAJUZXh0QWxpZ25tZW50AAUAAABMZWZ0AAAISGFydmV5QmFsbFZpc2libGUAARBIYXJ2ZXlCYWxsVmFsdWUAAAAAAAJDaGVja0JveFN0YXRlAAUAAABOb25lAAJUcmFmZmljTGlnaHRTdGF0ZQAEAAAAT2ZmAAADTGVmdE5vdGVzUmVuZGVySW5mbwBhFAAAA0xhYmVsAHQGAAAFTWFuYWdlZElkABAAAAAE+7Kcy4O6v06oYgeYwMYtNQhIYXNDaGFuZ2VzAAEIVXNlTmFtZUluc3RlYWRPZlRhZ0FzSWQAAAhTaGFwZVByZXZpb3VzbHlDcmVhdGVkAAA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AJGaWxsUGF0dGVybgAQAAAAbXNvUGF0dGVybk1peGVkAAJUZXh0AAEAAAAAAlRleHRIb3Jpem9udGFsQWxpZ25tZW50AA4AAABtc29BbmNob3JOb25lAAJQYXJhZ3JhcGhBbGlnbm1lbnQAAgAAADAAAlRleHRWZXJ0aWNhbEFsaWdubWVudAANAAAAbXNvQW5jaG9yVG9wAANhAQAABVwBAABiAQAA5w8AAAAAAAAAAAAA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JEaXNwbGF5VGV4dAABAAAAAAFIZWlnaHQAAAAAAAAA8D8BV2lkdGgAAAAAAAAA8D8BVG9wAAAAAACMlnFAAUxlZnQAAAAAQGX2jU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NlcGFyYXRvckxpbmUA4QYAAANTdGFydAAbAAAAAVgAzczMFjLzjUABWQAAAAAgv0x1QAADRW5kABsAAAABWAAzMzN9mPmNQAFZAAAAACC/THVAAAJTdGFydEFycm93SGVhZAARAAAAbXNvQXJyb3doZWFkTm9uZQACRW5kQXJyb3dIZWFkABEAAABtc29BcnJvd2hlYWROb25lAAVNYW5hZ2VkSWQAEAAAAATpS3WzgeHmRaFRr7izK8ixCEhhc0NoYW5nZXMAAQhVc2VOYW1lSW5zdGVhZE9mVGFnQXNJZAAACFNoYXBlUHJldmlvdXNseUNyZWF0ZWQAAA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oJmZ6T8BVG9wAAAAACC/THVAAUxlZnQAAAAAIDLzjUAIRmxpcEhvcml6b250YWxseQAACEZsaXBIb3Jpem9udGFsbHlBcHBsaWVkAAAIRmxpcFZlcnRpY2FsbHkAAAhGbGlwVmVydGljYWxseUFwcGxpZWQAAAFSb3RhdGlvbgAAAAAAAAAAAAFaT3JkZXIAAAAAAACAVUADQm9yZGVyQ29sb3IAVQAAABBBAP8AAAAQUgDjAAAAEEcA4wAAABBCAOMAAAABU2NBAAAAAAAAAPA/AVNjUgAAAADAsZToPwFTY0cAAAAAwLGU6D8BU2NCAAAAAMCxlOg/ABBCb3JkZXJUaGVtZUNvbG9yAAAAAAABQm9yZGVyVGludEFuZFNoYWRlAAAAAAAAAAAAEEJvcmRlclNjaGVtZUNvbG9yAAAAAAABQm9yZGVyVGhpY2tuZXNzAAAAAAAAAPA/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JlY3RhbmdsZQB0BgAAAkF1dG9TaGFwZVR5cGUACgAAAFJlY3RhbmdsZQAFTWFuYWdlZElkABAAAAAEMWPPJmucPkexgvMgZ+53QAhIYXNDaGFuZ2VzAAEIVXNlTmFtZUluc3RlYWRPZlRhZ0FzSWQAAAhTaGFwZVByZXZpb3VzbHlDcmVhdGVkAAADRmlsbENvbG9yAFUAAAAQQQAAAAAAEFIA/wAAABBHAP8AAAAQQgD/AAAAAVNjQQAAAAAAAAAAAAFTY1IAAAAAAAAA8D8BU2NHAAAAAAAAAPA/AVNjQgAAAAAAAADwP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A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MAGWT5AAVdpZHRoAAAAAAAAAAAAAVRvcAAAAADALmdzQAFMZWZ0AAAAAEBl7o1ACEZsaXBIb3Jpem9udGFsbHkAAAhGbGlwSG9yaXpvbnRhbGx5QXBwbGllZAAACEZsaXBWZXJ0aWNhbGx5AAAIRmxpcFZlcnRpY2FsbHlBcHBsaWVkAAABUm90YXRpb24AAAAAAAAAYgEAAAVhAQAAZQEAAOcPAAAAAAAAAAAAAAAAAVpPcmRlcgAAAAAAAEBV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EVHJhZmZpY0xpZ2h0RGF0YQAFAAAAAARIYXJ2ZXlCYWxsRGF0YQAFAAAAAAJUcmFmZmljTGlnaHRTdGF0ZQAEAAAAT2ZmAARDaGVja0JveERhdGEABQAAAAACQ2hlY2tCb3hTdGF0ZQAFAAAATm9uZQAAA1JpZ2h0Tm90ZXNSZW5kZXJJbmZvAGEUAAADTGFiZWwAdAYAAAVNYW5hZ2VkSWQAEAAAAARSs67E1IbFSKEV/0yWUFuICEhhc0NoYW5nZXMAAQhVc2VOYW1lSW5zdGVhZE9mVGFnQXNJZAAACFNoYXBlUHJldmlvdXNseUNyZWF0ZWQAAA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AAkZpbGxQYXR0ZXJuABAAAABtc29QYXR0ZXJuTWl4ZWQAAlRleHQAAQAAA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kRpc3BsYXlUZXh0AAEAAAAAAUhlaWdodAAAAAAAAADwPwFXaWR0aAAAAAAAAADwPwFUb3AAAAAAAIyWcUABTGVmdAAAAABAZfaNQAhGbGlwSG9yaXpvbnRhbGx5AAAIRmxpcEhvcml6b250YWxseUFwcGxpZWQAAAhGbGlwVmVydGljYWxseQAACEZsaXBWZXJ0aWNhbGx5QXBwbGllZAAAAVJvdGF0aW9uAAAAAAAAAAAAAVpPcmRlcgAAAAAAAAAAA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2VwYXJhdG9yTGluZQDhBgAAA1N0YXJ0ABsAAAABWADNzMwWMvONQAFZAAAAACC/THVAAANFbmQAGwAAAAFYADMzM32Y+Y1AAVkAAAAAIL9MdUAAAlN0YXJ0QXJyb3dIZWFkABEAAABtc29BcnJvd2hlYWROb25lAAJFbmRBcnJvd0hlYWQAEQAAAG1zb0Fycm93aGVhZE5vbmUABU1hbmFnZWRJZAAQAAAABP2bVcQkfxpIuJHg2C0PY7AISGFzQ2hhbmdlcwABCFVzZU5hbWVJbnN0ZWFkT2ZUYWdBc0lkAAAIU2hhcGVQcmV2aW91c2x5Q3JlYXRlZAAA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CgmZnpPwFUb3AAAAAAIL9MdUABTGVmdAAAAAAgMvONQAhGbGlwSG9yaXpvbnRhbGx5AAAIRmxpcEhvcml6b250YWxseUFwcGxpZWQAAAhGbGlwVmVydGljYWxseQAACEZsaXBWZXJ0aWNhbGx5QXBwbGllZAAAAVJvdGF0aW9uAAAAAAAAAAAAAVpPcmRlcgAAAAAAAIBVQANCb3JkZXJDb2xvcgBVAAAAEEEA/wAAABBSAOMAAAAQRwDjAAAAEEIA4wAAAAFTY0EAAAAAAAAA8D8BU2NSAAAAAMCxlOg/AVNjRwAAAADAsZToPwFTY0IAAAAAwLGU6D8AEEJvcmRlclRoZW1lQ29sb3IAAAAAAAFCb3JkZXJUaW50QW5kU2hhZGUAAAAAAAAAAAAQQm9yZGVyU2NoZW1lQ29sb3IAAAAAAAFCb3JkZXJUaGlja25lc3MAAAAAAAAA8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mVjdGFuZ2xlAHQGAAACQXV0b1NoYXBlVHlwZQAKAAAAUmMBAAAFYAEAAGQBAADnDwAAAAAAAAAAAAB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JEaXNwbGF5VGV4dAABAAAAAAFIZWlnaHQAAAAAAAAA8D8BV2lkdGgAAAAAAAAA8D8BVG9wAAAAAACMlnFAAUxlZnQAAAAAQGX2jU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NlcGFyYXRvckxpbmUA4QYAAANTdGFydAAbAAAAAVgAzczMFjLzjUABWQAAAAAgv0x1QAADRW5kABsAAAABWAAzMzN9mPmNQAFZAAAAACC/THVAAAJTdGFydEFycm93SGVhZAARAAAAbXNvQXJyb3doZWFkTm9uZQACRW5kQXJyb3dIZWFkABEAAABtc29BcnJvd2hlYWROb25lAAVNYW5hZ2VkSWQAEAAAAATpS3WzgeHmRaFRr7izK8ixCEhhc0NoYW5nZXMAAQhVc2VOYW1lSW5zdGVhZE9mVGFnQXNJZAAACFNoYXBlUHJldmlvdXNseUNyZWF0ZWQAAA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oJmZ6T8BVG9wAAAAACC/THVAAUxlZnQAAAAAIDLzjUAIRmxpcEhvcml6b250YWxseQAACEZsaXBIb3Jpem9udGFsbHlBcHBsaWVkAAAIRmxpcFZlcnRpY2FsbHkAAAhGbGlwVmVydGljYWxseUFwcGxpZWQAAAFSb3RhdGlvbgAAAAAAAAAAAAFaT3JkZXIAAAAAAACAVUADQm9yZGVyQ29sb3IAVQAAABBBAP8AAAAQUgDjAAAAEEcA4wAAABBCAOMAAAABU2NBAAAAAAAAAPA/AVNjUgAAAADAsZToPwFTY0cAAAAAwLGU6D8BU2NCAAAAAMCxlOg/ABBCb3JkZXJUaGVtZUNvbG9yAAAAAAABQm9yZGVyVGludEFuZFNoYWRlAAAAAAAAAAAAEEJvcmRlclNjaGVtZUNvbG9yAAAAAAABQm9yZGVyVGhpY2tuZXNzAAAAAAAAAPA/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JlY3RhbmdsZQB0BgAAAkF1dG9TaGFwZVR5cGUACgAAAFJlY3RhbmdsZQAFTWFuYWdlZElkABAAAAAEMWPPJmucPkexgvMgZ+53QAhIYXNDaGFuZ2VzAAEIVXNlTmFtZUluc3RlYWRPZlRhZ0FzSWQAAAhTaGFwZVByZXZpb3VzbHlDcmVhdGVkAAADRmlsbENvbG9yAFUAAAAQQQAAAAAAEFIA/wAAABBHAP8AAAAQQgD/AAAAAVNjQQAAAAAAAAAAAAFTY1IAAAAAAAAA8D8BU2NHAAAAAAAAAPA/AVNjQgAAAAAAAADwP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AJGaWxsUGF0dGVybgAQAAAAbXNvUGF0dGVybk1peGVkAAJUZXh0SG9yaXpvbnRhbEFsaWdubWVudAAOAAAAbXNvQW5jaG9yTm9uZQACUGFyYWdyYXBoQWxpZ25tZW50AAIAAAAw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MAGWT5AAVdpZHRoAAAAAAAAAAAAAVRvcAAAAADALmdzQAFMZWZ0AAAAAEBl7o1ACEZsaXBIb3Jpem9udGFsbHkAAAhGbGlwSG9yaXpvbnRhbGx5QXBwbGllZAAACEZsaXBWZXJ0aWNhbGx5AAAIRmxpcFZlcnRpY2FsbHlBcHBsaWVkAAABUm90YXRpb24AAAAAAAAAAAABWk9yZGVyAAAAAAAAQFVAA0JvcmRlckNvbG9yAFVkAQAABWMBAABnAQAA5w8AAAAAAAAAAAAA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EVHJhZmZpY0xpZ2h0RGF0YQAFAAAAAARIYXJ2ZXlCYWxsRGF0YQAFAAAAAAJUcmFmZmljTGlnaHRTdGF0ZQAEAAAAT2ZmAARDaGVja0JveERhdGEABQAAAAACQ2hlY2tCb3hTdGF0ZQAFAAAATm9uZQAAA1JpZ2h0Tm90ZXNSZW5kZXJJbmZvAGEUAAADTGFiZWwAdAYAAAVNYW5hZ2VkSWQAEAAAAARSs67E1IbFSKEV/0yWUFuICEhhc0NoYW5nZXMAAQhVc2VOYW1lSW5zdGVhZE9mVGFnQXNJZAAACFNoYXBlUHJldmlvdXNseUNyZWF0ZWQAAA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AAkZpbGxQYXR0ZXJuABAAAABtc29QYXR0ZXJuTWl4ZWQAAlRleHQAAQAAA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kRpc3BsYXlUZXh0AAEAAAAAAUhlaWdodAAAAAAAAADwPwFXaWR0aAAAAAAAAADwPwFUb3AAAAAAAIyWcUABTGVmdAAAAABAZfaNQAhGbGlwSG9yaXpvbnRhbGx5AAAIRmxpcEhvcml6b250YWxseUFwcGxpZWQAAAhGbGlwVmVydGljYWxseQAACEZsaXBWZXJ0aWNhbGx5QXBwbGllZAAAAVJvdGF0aW9uAAAAAAAAAAAAAVpPcmRlcgAAAAAAAAAAA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2VwYXJhdG9yTGluZQDhBgAAA1N0YXJ0ABsAAAABWADNzMwWMvONQAFZAAAAACC/THVAAANFbmQAGwAAAAFYADMzM32Y+Y1AAVkAAAAAIL9MdUAAAlN0YXJ0QXJyb3dIZWFkABEAAABtc29BcnJvd2hlYWROb25lAAJFbmRBcnJvd0hlYWQAEQAAAG1zb0Fycm93aGVhZE5vbmUABU1hbmFnZWRJZAAQAAAABP2bVcQkfxpIuJHg2C0PY7AISGFzQ2hhbmdlcwABCFVzZU5hbWVJbnN0ZWFkT2ZUYWdBc0lkAAAIU2hhcGVQcmV2aW91c2x5Q3JlYXRlZAAA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CgmZnpPwFUb3AAAAAAIL9MdUABTGVmdAAAAAAgMvONQAhGbGlwSG9yaXpvbnRhbGx5AAAIRmxpcEhvcml6b250YWxseUFwcGxpZWQAAAhGbGlwVmVydGljYWxseQAACEZsaXBWZXJ0aWNhbGx5QXBwbGllZAAAAVJvdGF0aW9uAAAAAAAAAAAAAVpPcmRlcgAAAAAAAIBVQANCb3JkZXJDb2xvcgBVAAAAEEEA/wAAABBSAOMAAAAQRwDjAAAAEEIA4wAAAAFTY0EAAAAAAAAA8D8BU2NSAAAAAMCxlOg/AVNjRwAAAADAsZToPwFTY0IAAAAAwLGU6D8AEEJvcmRlclRoZW1lQ29sb3IAAAAAAAFCb3JkZXJUaW50QW5kU2hhZGUAAAAAAAAAAAAQQm9yZGVyU2NoZW1lQ29sb3IAAAAAAAFCb3JkZXJUaGlja25lc3MAAAAAAAAA8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mVjdGFuZ2xlAHQGAAACQXV0b1NoYXBlVHlwZQAKAAAAUmVjdGFuZ2xlAAVNYW5hZ2VkSWQAEAAAAASIcj5iE+1EZQEAAAViAQAAZgEAAOcPAAAAAAAAAAAAAGVjdGFuZ2xlAAVNYW5hZ2VkSWQAEAAAAASIcj5iE+1ESLg8zcO4NeukCEhhc0NoYW5nZXMAAQhVc2VOYW1lSW5zdGVhZE9mVGFnQXNJZAAACFNoYXBlUHJldmlvdXNseUNyZWF0ZWQAAANGaWxsQ29sb3IAVQAAABBBAAAAAAAQUgD/AAAAEEcA/wAAABBCAP8AAAABU2NBAAAAAAAAAAAAAVNjUgAAAAAAAADwPwFTY0cAAAAAAAAA8D8BU2NCAAAAAAAAAPA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A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wAZZPkABV2lkdGgAAAAAAAAAAAABVG9wAAAAAMAuZ3NAAUxlZnQAAAAAQGXujUAIRmxpcEhvcml6b250YWxseQAACEZsaXBIb3Jpem9udGFsbHlBcHBsaWVkAAAIRmxpcFZlcnRpY2FsbHkAAAhGbGlwVmVydGljYWxseUFwcGxpZWQAAAFSb3RhdGlvbgAAAAAAAAAAAAFaT3JkZXIAAAAAAABAVU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BFRyYWZmaWNMaWdodERhdGEABQAAAAAESGFydmV5QmFsbERhdGEABQAAAAACVHJhZmZpY0xpZ2h0U3RhdGUABAAAAE9mZgAEQ2hlY2tCb3hEYXRhAAUAAAAAAkNoZWNrQm94U3RhdGUABQAAAE5vbmUAAANMZWZ0U2lkZVJlbmRlckluZm8ARRQAAANMYWJlbADKBgAABU1hbmFnZWRJZAAQAAAABONdnBCqnQNFnHIJKH1FrO4ISGFzQ2hhbmdlcwAACFVzZU5hbWVJbnN0ZWFkT2ZUYWdBc0lkAAAIU2hhcGVQcmV2aW91c2x5Q3JlYXRlZAAB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AAcAAAARmFpbHVyZSBNb2RlIERhdGEgQW5hbHl0aWNzAAJUZXh0SG9yaXpvbnRhbEFsaWdubWVudAAOAAAAbXNvQW5jaG9yTm9uZQACUGFyYWdyYXBoQWxpZ25tZW50AA0AAABtc29BbGlnbkxlZnQAAlRleHRWZXJ0aWNhbEFsaWdubWVudAANAAAAbXNvQW5jaG9yVG9wAANGb250U3R5bGUAQAEAABBGb250QmFja2dyb3VuZAAAAAAACEZvbnRCb2xkAAADRm9udENvbG9yAFUAAAAQQQD/AAAAEFIAEAAAABBHADgAAAAQQgBPAAAAAVNjQQAAAAAAAADwPwFTY1IAAAAA4DY5dT8BU2NHAAAAAIBnP6Q/AVNjQgAAAABgFwS0PwAQRm9udFRoZW1lQ29sb3IAAAAAAAFGb250VGludEFuZFNoYWRlAAAAAAAAAAAAEEZvbnRTY2hlbWVDb2xvcgAAAAAACEZvbnRJdGFsaWMAAAJGb250TmFtZQAGAAAAQXJpYWwAAUZvbnRTaXplAAAAAAAAAChACEZvbnRTdHJpa2V0aHJvdWdoAAAIRm9udFN1YnNjcmlwdAAACEZvbnRTdXBlcnNjcmlwdAAACEZvbnRVbmRlcmxpbmUAAAAIU2l6ZVRvVGV4dFdpZHRoAAAIU2l6ZVRvVGV4dEhlaWdodAAAA1RleHRNYXJnaW4APwAAAAFMZWZ0AAAAAAAAAAAAAVRvcAAAAAAAAAAAAAFSaWdodAAAAAAAAAAAAAFCb3R0b20AAAAAAAAAAAAAAkRpc3BsYXlUZXh0AB0AAABGYWlsdXJlIE1vZGUNCkRhdGEgQW5hbHl0aWNzAAFIZWlnaHQAAAAAwAZZP0ABV2lkdGgAAAAAwFgiVEABVG9wAAAAAMAuYXNAAUxlZnQAAAAAgJK4KkAIRmxpcEhvcml6b250YWxseQAACEZsaXBIb3Jpem9udGFsbHlBcHBsaWVkAAAIRmxpcFZlcnRpY2FsbHkAAAhGbGlwVmVydGljYWxseUFwcGxpZWQAAAFSb3RhdGlvbgAAAAAAAAAAAAFaT3JkZXIAAAAAAAAAPk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JlY3RhbmdsZQB0BgAAAkF1dG9TaGFwZVR5cGUACgAAAFJlY3RhbmdsZQAFTWFuYWdlZElkABAAAAAEBo8hthomSkeCN2Ml1FzPaQhIYXNDaGFuZ2VzAAAIVXNlTmFtZUluc3RlYWRPZlRhZ0FzSWQAAAhTaGFwZVByZXZpb3VzbHlDcmVhdGVkAAADRmlsbENvbG9yAFUAAAAQQQAAAAAAEFIA/wAAABBHAP8AAAAQQgD/AAAAAVNjQQAAAAAAAAAAAAFTY1IAAAAAAAAA8D8BU2NHAAAAAAAAAPA/AVNjQgAAAAAAAADwP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AJGaWxsUGF0dGVybgAQAAAAbXNvUGF0dGVybk1peGVkAAJUZXh0SG9yaXpvbnRhbEFsaWdubWVudAAOAAAAbXNvQW5jaG9yTm9uZQACUGFyYWYBAAAFZQEAAGkBAADnDwAAAAAAAAAAAAB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DABlk+QAFXaWR0aAAAAAAAg9uNQAFUb3AAAAAAwC5nc0ABTGVmdAAAAAAASuIKQAhGbGlwSG9yaXpvbnRhbGx5AAAIRmxpcEhvcml6b250YWxseUFwcGxpZWQAAAhGbGlwVmVydGljYWxseQAACEZsaXBWZXJ0aWNhbGx5QXBwbGllZAAAAVJvdGF0aW9uAAAAAAAAAAAAAVpPcmRlcgAAAAAAAAAm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2VwYXJhdG9yTGluZQDhBgAAA1N0YXJ0ABsAAAABWADNzMzMFq8HQAFZAEnl6h6/THVAAANFbmQAGwAAAAFYADMzM32Y+Y1AAVkASeXqHr9MdUAAAlN0YXJ0QXJyb3dIZWFkABEAAABtc29BcnJvd2hlYWROb25lAAJFbmRBcnJvd0hlYWQAEQAAAG1zb0Fycm93aGVhZE5vbmUABU1hbmFnZWRJZAAQAAAABFS+cxIPfCRPt9i5+Hjp8HYISGFzQ2hhbmdlcwAACFVzZU5hbWVJbnN0ZWFkT2ZUYWdBc0lkAAAIU2hhcGVQcmV2aW91c2x5Q3JlYXRlZAAA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Bg6eGNQAFUb3AAAAAAIL9MdUABTGVmdAAAAADAFq8HQAhGbGlwSG9yaXpvbnRhbGx5AAAIRmxpcEhvcml6b250YWxseUFwcGxpZWQAAAhGbGlwVmVydGljYWxseQAACEZsaXBWZXJ0aWNhbGx5QXBwbGllZAAAAVJvdGF0aW9uAAAAAAAAAAAAAVpPcmRlcgAAAAAAAAAoQANCb3JkZXJDb2xvcgBVAAAAEEEA/wAAABBSAOMAAAAQRwDjAAAAEEIA4wAAAAFTY0EAAAAAAAAA8D8BU2NSAAAAAMCxlOg/AVNjRwAAAADAsZToPwFTY0IAAAAAwLGU6D8AEEJvcmRlclRoZW1lQ29sb3IAAAAAAAFCb3JkZXJUaW50QW5kU2hhZGUAAAAAAAAAAAAQQm9yZGVyU2NoZW1lQ29sb3IAAAAAAAFCb3JkZXJUaGlja25lc3MAAAAAAAAA8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AA1N1bW1hcnlSZW5kZXJJbmZvAAcXAAADRnJlZWZvcm1SZWN0YW5nbGUA/AgAAARWZXJ0aWNlcwCbAgAAAzAALAAAABBJbmRleDAAAAAAABBJbmRleDEAAAAAAAFWYWx1ZQAAAABA2HFfQAADMQAsAAAAEEluZGV4MAAAAAAAEEluZGV4MQABAAAAAVZhbHVlAAAAAIAr+XNAAAMyACwAAAAQSW5kZXgwAAEAAAAQSW5kZXgxAAAAAAABVmFsdWUAAAAAIOxYYEAAAzMALAAAABBJbmRleDAAAQAAABBJbmRleDEAAQAAAAFWYWx1ZQAAAAAA91l0QAADNAAsAAAAEEluZGV4MAACAAAAEEluZGV4MQAAAAAAAVZhbHVlAAAAAEDYcV9AAAM1ACwAAAAQSW5kZXgwAAIAAAAQSW5kZXgxAAEAAAABVmFsdWUAAAAAYMK6dEAAAzYALAAAABBJbmRleDAAAwAAABBJbmRleDEAAAAAAAFWYWx1ZQAAAABA9s6KQAADNwAsAAAAEEluZGV4MAADAAAAEEluZGV4MQABAAAAAVZhbHVlAAAAAGDCunRAAAM4ACwAAAAQSW5kZXgwAAQAAAAQSW5kZXgxAAAAAAABVmFsdWUAAAAAQPb2ikAAAzkALAAAABBJbmRleDAABAAAABBJbmRleDEAAQAAAAFWYWx1ZQAAAAAA91l0QAADMTAALAAAABBJbmRleDAABQAAABBJbmRleDEAAAAAAAFWYWx1ZQAAAABA9s6KQAADMTEALAAAABBJbmRleDAABQAAABBJbmRleDEAAQAAAAFWYWx1ZQAAAACAK/lzQAADMTIALAAAABBJbmRleDAABgAAABBJbmRleDEAAAAAAAFWYWx1ZQAAAABA2HFfQAADMTMALAAAABBJbmRleDAABgAAABBJbmRleDEAAQAAAAFWYWx1ZQAAAACAK/lzQAAABU1hbmFnZWRJZAAQAAAABB3+fIj5OpFBiFHLe9vFdAYISGFzQ2hhbmdlcwAACFVzZU5hbWVJbnN0ZWFkT2ZUYWdBc0lkAAAIU2hhcGVQcmV2aW91c2x5Q3JlYXRlZAAAA0ZpbGxDb2xvcgBVAAAAEEEA/wAAABBSAEAAAAAQRwBgAAAAEEIAcgAAAAFTY0EAAAAAAAAA8D8BU2NSAAAAAMD9P6o/AVNjRwAAAABAyvG9PwFTY0IAAAAAANqJxT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ECRmlsbFBhdHRlcm4AEAAAAG1zb1BhdHRlcm5NaXhlZABnAQAABWQBAABoAQAA5w8AAAAAAAAAAAAASLg8zcO4NeukCEhhc0NoYW5nZXMAAQhVc2VOYW1lSW5zdGVhZE9mVGFnQXNJZAAACFNoYXBlUHJldmlvdXNseUNyZWF0ZWQAAANGaWxsQ29sb3IAVQAAABBBAAAAAAAQUgD/AAAAEEcA/wAAABBCAP8AAAABU2NBAAAAAAAAAAAAAVNjUgAAAAAAAADwPwFTY0cAAAAAAAAA8D8BU2NCAAAAAAAAAPA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A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wAZZPkABV2lkdGgAAAAAAAAAAAABVG9wAAAAAMAuZ3NAAUxlZnQAAAAAQGXujUAIRmxpcEhvcml6b250YWxseQAACEZsaXBIb3Jpem9udGFsbHlBcHBsaWVkAAAIRmxpcFZlcnRpY2FsbHkAAAhGbGlwVmVydGljYWxseUFwcGxpZWQAAAFSb3RhdGlvbgAAAAAAAAAAAAFaT3JkZXIAAAAAAABAVU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BFRyYWZmaWNMaWdodERhdGEABQAAAAAESGFydmV5QmFsbERhdGEABQAAAAACVHJhZmZpY0xpZ2h0U3RhdGUABAAAAE9mZgAEQ2hlY2tCb3hEYXRhAAUAAAAAAkNoZWNrQm94U3RhdGUABQAAAE5vbmUAAANMZWZ0U2lkZVJlbmRlckluZm8ARRQAAANMYWJlbADKBgAABU1hbmFnZWRJZAAQAAAABONdnBCqnQNFnHIJKH1FrO4ISGFzQ2hhbmdlcwAACFVzZU5hbWVJbnN0ZWFkT2ZUYWdBc0lkAAAIU2hhcGVQcmV2aW91c2x5Q3JlYXRlZAAB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AAcAAAARmFpbHVyZSBNb2RlIERhdGEgQW5hbHl0aWNzAAJUZXh0SG9yaXpvbnRhbEFsaWdubWVudAAOAAAAbXNvQW5jaG9yTm9uZQACUGFyYWdyYXBoQWxpZ25tZW50AA0AAABtc29BbGlnbkxlZnQAAlRleHRWZXJ0aWNhbEFsaWdubWVudAANAAAAbXNvQW5jaG9yVG9wAANGb250U3R5bGUAQAEAABBGb250QmFja2dyb3VuZAAAAAAACEZvbnRCb2xkAAADRm9udENvbG9yAFUAAAAQQQD/AAAAEFIAEAAAABBHADgAAAAQQgBPAAAAAVNjQQAAAAAAAADwPwFTY1IAAAAA4DY5dT8BU2NHAAAAAIBnP6Q/AVNjQgAAAABgFwS0PwAQRm9udFRoZW1lQ29sb3IAAAAAAAFGb250VGludEFuZFNoYWRlAAAAAAAAAAAAEEZvbnRTY2hlbWVDb2xvcgAAAAAACEZvbnRJdGFsaWMAAAJGb250TmFtZQAGAAAAQXJpYWwAAUZvbnRTaXplAAAAAAAAAChACEZvbnRTdHJpa2V0aHJvdWdoAAAIRm9udFN1YnNjcmlwdAAACEZvbnRTdXBlcnNjcmlwdAAACEZvbnRVbmRlcmxpbmUAAAAIU2l6ZVRvVGV4dFdpZHRoAAAIU2l6ZVRvVGV4dEhlaWdodAAAA1RleHRNYXJnaW4APwAAAAFMZWZ0AAAAAAAAAAAAAVRvcAAAAAAAAAAAAAFSaWdodAAAAAAAAAAAAAFCb3R0b20AAAAAAAAAAAAAAkRpc3BsYXlUZXh0AB0AAABGYWlsdXJlIE1vZGUNCkRhdGEgQW5hbHl0aWNzAAFIZWlnaHQAAAAAwAZZP0ABV2lkdGgAAAAAwFgiVEABVG9wAAAAAMAuYXNAAUxlZnQAAAAAgJK4KkAIRmxpcEhvcml6b250YWxseQAACEZsaXBIb3Jpem9udGFsbHlBcHBsaWVkAAAIRmxpcFZlcnRpY2FsbHkAAAhGbGlwVmVydGljYWxseUFwcGxpZWQAAAFSb3RhdGlvbgAAAAAAAAAAAAFaT3JkZXIAAAAAAAAAPk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JlY3RhbmdsZQB0BgAAAkF1dG9TaGFwZVR5cGUACgAAAFJlY3RhbmdsZQAFTWFuYWdlZElkABAAAAAEBo8hthomSkeCN2Ml1FzPaQhIYXNDaGFuZ2VzAAAIVXNlTmFtZUluc3RlYWRPZlRhZ0FzSWQAAAhTaGFwZVByZXZpb3VzbHlDcmVhdGVkAAADRmlsbENvbG9yAFUAAAAQQQAAAAAAEFIA/wAAABBHAP8AAAAQQgD/AAAAAVNjQQAAAAAAAAAAAAFTY1IAAAAAAAAA8D8BU2NHAAAAAAAAAPA/AVNjQgAAAAAAAADwP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AJGaWxsUGF0dGVybgAQAAAAbXNvUGF0dGVybk1peGVkAAJUZXh0SG9yaXpvbnRhbEFsaWdubWVudAAOAAAAbXNvQW5jaG9yTm9uZQACUGFyYWdyYXBoQWxpZ25tZW50AAIAAAAwAAJUZXh0VmVydGljaAEAAAVnAQAAawEAAOcPAAAAAAAAAAAAAG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DABlk+QAFXaWR0aAAAAAAAg9uNQAFUb3AAAAAAwC5nc0ABTGVmdAAAAAAASuIKQAhGbGlwSG9yaXpvbnRhbGx5AAAIRmxpcEhvcml6b250YWxseUFwcGxpZWQAAAhGbGlwVmVydGljYWxseQAACEZsaXBWZXJ0aWNhbGx5QXBwbGllZAAAAVJvdGF0aW9uAAAAAAAAAAAAAVpPcmRlcgAAAAAAAAAm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2VwYXJhdG9yTGluZQDhBgAAA1N0YXJ0ABsAAAABWADNzMzMFq8HQAFZAEnl6h6/THVAAANFbmQAGwAAAAFYADMzM32Y+Y1AAVkASeXqHr9MdUAAAlN0YXJ0QXJyb3dIZWFkABEAAABtc29BcnJvd2hlYWROb25lAAJFbmRBcnJvd0hlYWQAEQAAAG1zb0Fycm93aGVhZE5vbmUABU1hbmFnZWRJZAAQAAAABFS+cxIPfCRPt9i5+Hjp8HYISGFzQ2hhbmdlcwAACFVzZU5hbWVJbnN0ZWFkT2ZUYWdBc0lkAAAIU2hhcGVQcmV2aW91c2x5Q3JlYXRlZAAA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Bg6eGNQAFUb3AAAAAAIL9MdUABTGVmdAAAAADAFq8HQAhGbGlwSG9yaXpvbnRhbGx5AAAIRmxpcEhvcml6b250YWxseUFwcGxpZWQAAAhGbGlwVmVydGljYWxseQAACEZsaXBWZXJ0aWNhbGx5QXBwbGllZAAAAVJvdGF0aW9uAAAAAAAAAAAAAVpPcmRlcgAAAAAAAAAoQANCb3JkZXJDb2xvcgBVAAAAEEEA/wAAABBSAOMAAAAQRwDjAAAAEEIA4wAAAAFTY0EAAAAAAAAA8D8BU2NSAAAAAMCxlOg/AVNjRwAAAADAsZToPwFTY0IAAAAAwLGU6D8AEEJvcmRlclRoZW1lQ29sb3IAAAAAAAFCb3JkZXJUaW50QW5kU2hhZGUAAAAAAAAAAAAQQm9yZGVyU2NoZW1lQ29sb3IAAAAAAAFCb3JkZXJUaGlja25lc3MAAAAAAAAA8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AA1N1bW1hcnlSZW5kZXJJbmZvAAcXAAADRnJlZWZvcm1SZWN0YW5nbGUA/AgAAARWZXJ0aWNlcwCbAgAAAzAALAAAABBJbmRleDAAAAAAABBJbmRleDEAAAAAAAFWYWx1ZQAAAABA2HFfQAADMQAsAAAAEEluZGV4MAAAAAAAEEluZGV4MQABAAAAAVZhbHVlAAAAAIAr+XNAAAMyACwAAAAQSW5kZXgwAAEAAAAQSW5kZXgxAAAAAAABVmFsdWUAAAAAIOxYYEAAAzMALAAAABBJbmRleDAAAQAAABBJbmRleDEAAQAAAAFWYWx1ZQAAAAAA91l0QAADNAAsAAAAEEluZGV4MAACAAAAEEluZGV4MQAAAAAAAVZhbHVlAAAAAEDYcV9AAAM1ACwAAAAQSW5kZXgwAAIAAAAQSW5kZXgxAAEAAAABVmFsdWUAAAAAYMK6dEAAAzYALAAAABBJbmRleDAAAwAAABBJbmRleDEAAAAAAAFWYWx1ZQAAAABA9s6KQAADNwAsAAAAEEluZGV4MAADAAAAEEluZGV4MQABAAAAAVZhbHVlAAAAAGDCunRAAAM4ACwAAAAQSW5kZXgwAAQAAAAQSW5kZXgxAAAAAAABVmFsdWUAAAAAQPb2ikAAAzkALAAAABBJbmRleDAABAAAABBJbmRleDEAAQAAAAFWYWx1ZQAAAAAA91l0QAADMTAALAAAABBJbmRleDAABQAAABBJbmRleDEAAAAAAAFWYWx1ZQAAAABA9s6KQAADMTEALAAAABBJbmRleDAABQAAABBJbmRleDEAAQAAAAFWYWx1ZQAAAACAK/lzQAADMTIALAAAABBJbmRleDAABgAAABBJbmRleDEAAAAAAAFWYWx1ZQAAAABA2HFfQAADMTMALAAAABBJbmRleDAABgAAABBJbmRleDEAAQAAAAFWYWx1ZQAAAACAK/lzQAAABU1hbmFnZWRJZAAQAAAABB3+fIj5OpFBiFHLe9vFdAYISGFzQ2hhbmdlcwAACFVzZU5hbWVJbnN0ZWFkT2ZUYWdBc0lkAAAIU2hhcGVQcmV2aW91c2x5Q3JlYXRlZAAAA0ZpbGxDb2xvcgBVAAAAEEEA/wAAABBSAEAAAAAQRwBgAAAAEEIAcgAAAAFTY0EAAAAAAAAA8D8BU2NSAAAAAMD9P6o/AVNjRwAAAABAyvG9PwFTY0IAAAAAANqJxT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ECRmlsbFBhdHRlcm4AEAAAAG1zb1BhdHRlcm5NaXhlZAACVGV4dEhvcml6b250YWxBbGlnbm1lbnQADgAAAG1zb2kBAAAFZgEAAGoBAADnDwAAAAAAAAAAAAACVGV4dEhvcml6b250YWxBbGlnbm1lbnQADgAAAG1zb0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DA3TIoQAFXaWR0aAAAAABAuwiHQAFUb3AAAAAAgCv5c0ABTGVmdAAAAABA2HFfQAhGbGlwSG9yaXpvbnRhbGx5AAAIRmxpcEhvcml6b250YWxseUFwcGxpZWQAAAhGbGlwVmVydGljYWxseQAACEZsaXBWZXJ0aWNhbGx5QXBwbGllZAAAAVJvdGF0aW9uAAAAAAAAAAAAAVpPcmRlcgAAAAAAAABOQANCb3JkZXJDb2xvcgBVAAAAEEEA/wAAABBSAEAAAAAQRwBgAAAAEEIAcgAAAAFTY0EAAAAAAAAA8D8BU2NSAAAAAMD9P6o/AVNjRwAAAABAyvG9PwFTY0IAAAAAANqJxT8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QmFyU3R5bGVEYXRhACQAAAACQmFyU3R5bGVTaGFwZVR5cGUACAAAAENoZXZyb24AAANMYWJlbADKBgAABU1hbmFnZWRJZAAQAAAABGEdLlWu4DhFo3vzAPtwfm0ISGFzQ2hhbmdlcwAACFVzZU5hbWVJbnN0ZWFkT2ZUYWdBc0lkAAAIU2hhcGVQcmV2aW91c2x5Q3JlYXRlZAABA0ZpbGxDb2xvcgBVAAAAEEEA/wAAABBSAEAAAAAQRwBgAAAAEEIAcgAAAAFTY0EAAAAAAAAA8D8BU2NSAAAAAMD9P6o/AVNjRwAAAABAyvG9PwFTY0IAAAAAANqJxT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AAbAAAANOKAiy8xNy8yMDI0IC0gOS84LzIwMuKAizQAAlRleHRIb3Jpem9udGFsQWxpZ25tZW50AA4AAABtc29BbmNob3JOb25lAAJQYXJhZ3JhcGhBbGlnbm1lbnQADQAAAG1zb0FsaWduTGVmdAACVGV4dFZlcnRpY2FsQWxpZ25tZW50ABAAAABtc29BbmNob3JNaWRkbGUAA0ZvbnRTdHlsZQBAAQAAEEZvbnRCYWNrZ3JvdW5kAAAAAAAIRm9udEJvbGQAAANGb250Q29sb3IAVQAAABBBAP8AAAAQUgD/AAAAEEcA/wAAABBCAP8AAAABU2NBAAAAAAAAAPA/AVNjUgAAAAAAAADwPwFTY0cAAAAAAAAA8D8BU2NCAAAAAAAAAPA/ABBGb250VGhlbWVDb2xvcgAAAAAAAUZvbnRUaW50QW5kU2hhZGUAAAAAAAAAAAAQRm9udFNjaGVtZUNvbG9yAAAAAAAIRm9udEl0YWxpYwAAAkZvbnROYW1lAAYAAABBcmlhbAABRm9udFNpemUAAAAAAAAAJEAIRm9udFN0cmlrZXRocm91Z2gAAAhGb250U3Vic2NyaXB0AAAIRm9udFN1cGVyc2NyaXB0AAAIRm9udFVuZGVybGluZQAAAAhTaXplVG9UZXh0V2lkdGgAAAhTaXplVG9UZXh0SGVpZ2h0AAADVGV4dE1hcmdpbgA/AAAAAUxlZnQAAAAAAAAAAAABVG9wAAAAAAAAAAAAAVJpZ2h0AAAAAAAAAAAAAUJvdHRvbQAAAAAAAAAAAAACRGlzcGxheVRleHQAGwAAADTigIsvMTcvMjAyNCAtIDkvOC8yMDLigIs0AAFIZWlnaHQAAAAAYN8LJ0ABV2lkdGgAAAAAoEcRV0ABVG9wAAAAAIDC/XNAAUxlZnQAAAAAAIP6YEAIRmxpcEhvcml6b250YWxseQAACEZsaXBIb3Jpem9udGFsbHlBcHBsaWVkAAAIRmxpcFZlcnRpY2FsbHkAAAhGbGlwVmVydGljYWxseUFwcGxpZWQAAAFSb3RhdGlvbgAAAAAAAAAAAAFaT3JkZXIAAAAAAACATk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Nvbm5lY3RvckxpbmUA4QYAAANTdGFydAAbAAAAAVgAAAAAQNhxX0ABWQAAAACAK/lzQAADRW5kABsAAAABWAAAAABA2HFfQAFZAAAAAIAr+XNAAAJTdGFydEFycm93SGVhZAARAAAAbXNvQXJyb3doZWFkTm9uZQACRW5kQXJyb3dIZWFkABEAAABtc29BcnJvd2hlYWROb25lAAVNYW5hZ2VkSWQAEAAAAAQ5HFEbNFSCT5txsRkKeCI3CEhhc0NoYW5nZXMAAAhVc2VOYW1lSW5zdGVhZE9mVGFnQXNJZAAACFNoYXBlUHJldmlvdXNseUNyZWF0ZWQAAA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A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BqAQAABWkBAAD/////4gIFDQAAAAAAAAAAAVJpZ2h0AAAAAAAAAAAAAUJvdHRvbQAAAAAAAAAAAAABSGVpZ2h0AAAAAAAAAAAAAVdpZHRoAAAAAAAAAAAAAVRvcAAAAACAK/lzQAFMZWZ0AAAAAEDYcV9ACEZsaXBIb3Jpem9udGFsbHkAAAhGbGlwSG9yaXpvbnRhbGx5QXBwbGllZAAACEZsaXBWZXJ0aWNhbGx5AAAIRmxpcFZlcnRpY2FsbHlBcHBsaWVkAAABUm90YXRpb24AAAAAAAAAAAABWk9yZGVyAAAAAAAAgE5AA0JvcmRlckNvbG9yAFUAAAAQQQD/AAAAEFIAQAAAABBHAGAAAAAQQgByAAAAAVNjQQAAAAAAAADwPwFTY1IAAAAAwP0/qj8BU2NHAAAAAEDK8b0/AVNjQgAAAAAA2onFPw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ACVGV4dEhvcml6b250YWxBbGlnbm1lbnQAAgAAADAAAAACTmFtZQAJAAAAU2VjdGlvbnMAEFZlcnNpb24ABgAAAAlMYXN0V3JpdGUAJESp94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AAAVoAQAAbAEAAOcPAAAAAAAAAAAAAEFuY2hvck5vbmUAAlBhcmFncmFwaEFsaWdubWVudAACAAAAMA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DA3TIoQAFXaWR0aAAAAABAuwiHQAFUb3AAAAAAgCv5c0ABTGVmdAAAAABA2HFfQAhGbGlwSG9yaXpvbnRhbGx5AAAIRmxpcEhvcml6b250YWxseUFwcGxpZWQAAAhGbGlwVmVydGljYWxseQAACEZsaXBWZXJ0aWNhbGx5QXBwbGllZAAAAVJvdGF0aW9uAAAAAAAAAAAAAVpPcmRlcgAAAAAAAABOQANCb3JkZXJDb2xvcgBVAAAAEEEA/wAAABBSAEAAAAAQRwBgAAAAEEIAcgAAAAFTY0EAAAAAAAAA8D8BU2NSAAAAAMD9P6o/AVNjRwAAAABAyvG9PwFTY0IAAAAAANqJxT8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QmFyU3R5bGVEYXRhACQAAAACQmFyU3R5bGVTaGFwZVR5cGUACAAAAENoZXZyb24AAANMYWJlbADKBgAABU1hbmFnZWRJZAAQAAAABGEdLlWu4DhFo3vzAPtwfm0ISGFzQ2hhbmdlcwAACFVzZU5hbWVJbnN0ZWFkT2ZUYWdBc0lkAAAIU2hhcGVQcmV2aW91c2x5Q3JlYXRlZAABA0ZpbGxDb2xvcgBVAAAAEEEA/wAAABBSAEAAAAAQRwBgAAAAEEIAcgAAAAFTY0EAAAAAAAAA8D8BU2NSAAAAAMD9P6o/AVNjRwAAAABAyvG9PwFTY0IAAAAAANqJxT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AAbAAAANOKAiy8xNy8yMDI0IC0gOS84LzIwMuKAizQAAlRleHRIb3Jpem9udGFsQWxpZ25tZW50AA4AAABtc29BbmNob3JOb25lAAJQYXJhZ3JhcGhBbGlnbm1lbnQADQAAAG1zb0FsaWduTGVmdAACVGV4dFZlcnRpY2FsQWxpZ25tZW50ABAAAABtc29BbmNob3JNaWRkbGUAA0ZvbnRTdHlsZQBAAQAAEEZvbnRCYWNrZ3JvdW5kAAAAAAAIRm9udEJvbGQAAANGb250Q29sb3IAVQAAABBBAP8AAAAQUgD/AAAAEEcA/wAAABBCAP8AAAABU2NBAAAAAAAAAPA/AVNjUgAAAAAAAADwPwFTY0cAAAAAAAAA8D8BU2NCAAAAAAAAAPA/ABBGb250VGhlbWVDb2xvcgAAAAAAAUZvbnRUaW50QW5kU2hhZGUAAAAAAAAAAAAQRm9udFNjaGVtZUNvbG9yAAAAAAAIRm9udEl0YWxpYwAAAkZvbnROYW1lAAYAAABBcmlhbAABRm9udFNpemUAAAAAAAAAJEAIRm9udFN0cmlrZXRocm91Z2gAAAhGb250U3Vic2NyaXB0AAAIRm9udFN1cGVyc2NyaXB0AAAIRm9udFVuZGVybGluZQAAAAhTaXplVG9UZXh0V2lkdGgAAAhTaXplVG9UZXh0SGVpZ2h0AAADVGV4dE1hcmdpbgA/AAAAAUxlZnQAAAAAAAAAAAABVG9wAAAAAAAAAAAAAVJpZ2h0AAAAAAAAAAAAAUJvdHRvbQAAAAAAAAAAAAACRGlzcGxheVRleHQAGwAAADTigIsvMTcvMjAyNCAtIDkvOC8yMDLigIs0AAFIZWlnaHQAAAAAYN8LJ0ABV2lkdGgAAAAAoEcRV0ABVG9wAAAAAIDC/XNAAUxlZnQAAAAAAIP6YEAIRmxpcEhvcml6b250YWxseQAACEZsaXBIb3Jpem9udGFsbHlBcHBsaWVkAAAIRmxpcFZlcnRpY2FsbHkAAAhGbGlwVmVydGljYWxseUFwcGxpZWQAAAFSb3RhdGlvbgAAAAAAAAAAAAFaT3JkZXIAAAAAAACATk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0Nvbm5lY3RvckxpbmUA4QYAAANTdGFydAAbAAAAAVgAAAAAQNhxX0ABWQAAAACAK/lzQAADRW5kABsAAAABWAAAAABA2HFfQAFZAAAAAIAr+XNAAAJTdGFydEFycm93SGVhZAARAAAAbXNvQXJyb3doZWFkTm9uZQACRW5kQXJyb3dIZWFkABEAAABtc29BcnJvd2hlYWROb25lAAVNYW5hZ2VkSWQAEAAAAAQ5HFEbNFSCT5txsRkKeCI3CEhhc0NoYW5nZXMAAAhVc2VOYW1lSW5zdGVhZE9mVGFnQXNJZAAACFNoYXBlUHJldmlvdXNseUNyZWF0ZWQAAA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AAkZpbGxQYXR0ZXJuABAAAABtc29QYXR0ZXJuTWl4ZWQAAlRleHRIb3Jpem9udGFsQWxpZ25tZW50AA4AAABtc29BbmNob3JOb25lAAJQYXJhZ3JhcGhBbGlnbm1lbnQAAgAAADA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GwBAAAFawEAAP/////CAiUNAAAAAAAAAAABSGVpZ2h0AAAAAAAAAAAAAVdpZHRoAAAAAAAAAAAAAVRvcAAAAACAK/lzQAFMZWZ0AAAAAEDYcV9ACEZsaXBIb3Jpem9udGFsbHkAAAhGbGlwSG9yaXpvbnRhbGx5QXBwbGllZAAACEZsaXBWZXJ0aWNhbGx5AAAIRmxpcFZlcnRpY2FsbHlBcHBsaWVkAAABUm90YXRpb24AAAAAAAAAAAABWk9yZGVyAAAAAAAAgE5AA0JvcmRlckNvbG9yAFUAAAAQQQD/AAAAEFIAQAAAABBHAGAAAAAQQgByAAAAAVNjQQAAAAAAAADwPwFTY1IAAAAAwP0/qj8BU2NHAAAAAEDK8b0/AVNjQgAAAAAA2onFPw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ACVGV4dEhvcml6b250YWxBbGlnbm1lbnQAAgAAADAAAAACTmFtZQAJAAAAU2VjdGlvbnMAEFZlcnNpb24ABQAAAAlMYXN0V3JpdGUA1UOp94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="/>
  <p:tag name="EMPOWERCHARTSPROPERTIES_SLOT" val="B"/>
  <p:tag name="EMPOWERCHARTSPROPERTIES_LASTWRITEDATE" val="638491488494233227"/>
  <p:tag name="EMPOWERCHARTSPROPERTIES_B_LENGTH" val="1495040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b9de20f2-b317-44dc-8461-df3dbd9a9b10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164b1e7b-2d6c-4b08-aa98-15b79be5d726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14ab2c7c-e771-48e9-8a4c-32ce86b5b033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cfbefee0-94df-4a54-9159-2034d8f6285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9e119b0f-8ef5-4096-b1d3-39be38717f7b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36616ec5-5dfe-4663-8d99-6d3784475ba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08eec28b-2e3b-4301-abaf-fd620167f250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0e2e6e0c-2a7f-4d78-8f51-f212b29f8d0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6a07f4a6-5c71-42f2-8217-b6458d0a3ead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714c5d4f-2e54-4f5d-8074-3356cf858bad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b48274d8-04b8-424a-99b2-79bcf477d37d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3436989c-4be7-494d-92c2-398c72b38ef5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56c18566-3d7a-45de-b1b0-86e663d6c697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b8023ed5-b9cc-4a70-a6ce-159bab1096f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add3abf7-8489-41e6-b22c-9341ae08211d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45d811b0-919f-4fd8-b73c-9cc5c3c064e3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bc15edd4-4369-4d17-a78a-82d4a2e676b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4f51d31e-9962-4964-95be-977de2292ea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eb9ba3bc-ed83-414f-b758-780c7b09a46b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ec7b1a58-9ea2-4938-b9ae-ab37390ed08b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4f466e51-4084-488d-8fc0-f54a17745cdb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33f122b6-6240-417c-bd67-89aa84500856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78db8fa8-99df-4470-a06f-28c496d62615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14d30e71-e431-4efd-b07d-bed23472fa87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4ea4e144-482e-4dee-bc7b-4b7473883608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09a6e64d-b5a0-4750-851c-c34a7c4fbba0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b919e2c2-6267-48cf-a9ba-fa552fe0693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93f9ef46-d8fd-4fa4-9e92-6cf98a893f5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c827bb50-d36c-4aae-aeb4-e009e1d626dd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6b3872f2-7e53-473c-902e-905e9cc63b5b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e1e6bb4c-f60e-41d5-bd79-01caa6d8265b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c37032a9-d5fb-408a-a21f-45c5942e918d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b0a2904d-4902-48f1-be0a-076ab9f40c17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9c2ea7ba-ddcc-48b5-857d-a98311b4313d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b07ea6b6-fce7-4d4d-a174-7c391ddd4783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f5822cc7-1469-48bd-8956-ec3c15d9bb0f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4d2b5d87-b1f4-49f3-aecd-7adc153adc8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d2d1375f-87ed-4cb3-b34e-d6c0809fd81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109c5de3-9daa-4503-9c72-09287d45ace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3b1756bd-e05b-4303-ba16-9f479f60831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7add34c6-77fe-46a1-8209-5ff839a47642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a067e06c-8ff6-461c-8576-c723454cc87f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67532e15-51f0-46f0-a47c-246556b3cf7c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6aaa6172-6509-4789-b188-5e6796d9cb50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44bfbb2c-dab2-4ce5-9dce-37a825023597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d411c8c1-dec0-4faf-8c97-0d813a602642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9fffe0f9-c201-44ca-a166-cc9484a76760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fa0d5f9b-85e0-4314-aa90-3c08bd47b895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651bcfdc-f8dc-45ed-859c-34d879042ce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71ddb2e5-a3ff-4af1-8baa-25b3dc921c4b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b69249af-8240-4825-8b66-ab59197b0239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23cc2247-95d2-4e95-990a-7b19c3982a95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552e1d61-e0ae-4538-a37b-f300fb707e6d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2f0c5743-0cb6-42d1-91e7-e997a8d6034c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428d2c45-8276-44b7-91fb-d8c82a7b3a3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07686c80-ee7a-4ebb-ac6e-85b9b6983c97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ba78bee3-4b0f-450a-b1d4-112a49765eef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8faaafd3-b63b-4799-802f-b0b1fc624ef8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a1572fe2-5520-416b-905b-77ac9d1ee3b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a9ef9288-4715-40e7-9a7a-f201ddf4be73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e1d5fba0-defe-4418-8f15-9bb729044925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53bf2060-15a7-4838-907c-b560ece23156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7db897af-2b93-4070-bf37-cd5409f738f5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3b973f57-7ab3-4512-a6b9-ea5f9c460845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d19edc32-bd26-4ca2-a976-244adebbaba9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451d46f0-b885-4e3e-810a-a80f4afc3b88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e115322e-7601-42e4-ae06-c04489151f9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00088f5c-df86-4c98-b340-76c9b2e5525c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d5f2a17c-e3e0-4707-84f8-545bb2a7fb6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d0a405c1-2635-4cb5-84d9-c41dac2abe5d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4bfaa7be-704b-4e58-a5b3-4d924b80fe68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14d1d3e6-a014-425e-bd35-e07327e37a81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5391a8cd-249d-4aef-9948-4e1de73e015c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577d9999-a035-40f6-af71-529419e3ecd1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37e78446-3564-41d8-8381-8f14657b27fd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eb5ffa17-f0cb-45d7-b0c9-245f63a75de7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2edabe93-1522-4b99-94c6-f22f153ab0f8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29b31488-fa66-466d-b72e-216a5cb947b3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d1397780-bb06-4d58-9aee-7cde3d681c68"/>
</p:tagLst>
</file>

<file path=ppt/theme/theme1.xml><?xml version="1.0" encoding="utf-8"?>
<a:theme xmlns:a="http://schemas.openxmlformats.org/drawingml/2006/main" name="PR_BAG_PPT-master_16-9">
  <a:themeElements>
    <a:clrScheme name="Bayer 2017">
      <a:dk1>
        <a:srgbClr val="000000"/>
      </a:dk1>
      <a:lt1>
        <a:srgbClr val="FFFFFF"/>
      </a:lt1>
      <a:dk2>
        <a:srgbClr val="FF3162"/>
      </a:dk2>
      <a:lt2>
        <a:srgbClr val="624963"/>
      </a:lt2>
      <a:accent1>
        <a:srgbClr val="10384F"/>
      </a:accent1>
      <a:accent2>
        <a:srgbClr val="00BCFF"/>
      </a:accent2>
      <a:accent3>
        <a:srgbClr val="004422"/>
      </a:accent3>
      <a:accent4>
        <a:srgbClr val="89D329"/>
      </a:accent4>
      <a:accent5>
        <a:srgbClr val="443247"/>
      </a:accent5>
      <a:accent6>
        <a:srgbClr val="D30F4B"/>
      </a:accent6>
      <a:hlink>
        <a:srgbClr val="00BCFF"/>
      </a:hlink>
      <a:folHlink>
        <a:srgbClr val="89D329"/>
      </a:folHlink>
    </a:clrScheme>
    <a:fontScheme name="Arial">
      <a:majorFont>
        <a:latin typeface="Arial"/>
        <a:ea typeface="Arial Unicode MS"/>
        <a:cs typeface="Arial"/>
      </a:majorFont>
      <a:minorFont>
        <a:latin typeface="Arial"/>
        <a:ea typeface="Arial Unicode MS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>
          <a:defRPr dirty="0" err="1"/>
        </a:defPPr>
      </a:lstStyle>
    </a:txDef>
  </a:objectDefaults>
  <a:extraClrSchemeLst/>
  <a:custClrLst>
    <a:custClr name="Raspberry">
      <a:srgbClr val="D30F4B"/>
    </a:custClr>
    <a:custClr name="Fuchsia">
      <a:srgbClr val="FF3162"/>
    </a:custClr>
    <a:custClr name="DarkPurple">
      <a:srgbClr val="443247"/>
    </a:custClr>
    <a:custClr name="MidPurple">
      <a:srgbClr val="624963"/>
    </a:custClr>
    <a:custClr name="DarkBlue">
      <a:srgbClr val="10384F"/>
    </a:custClr>
    <a:custClr name="MidBlue">
      <a:srgbClr val="00617F"/>
    </a:custClr>
    <a:custClr name="Blue">
      <a:srgbClr val="0091DF"/>
    </a:custClr>
    <a:custClr name="BrightBlue">
      <a:srgbClr val="00BCFF"/>
    </a:custClr>
    <a:custClr name="DarkGreen">
      <a:srgbClr val="004422"/>
    </a:custClr>
    <a:custClr name="MidGreen">
      <a:srgbClr val="2B6636"/>
    </a:custClr>
    <a:custClr name="Green">
      <a:srgbClr val="66B512"/>
    </a:custClr>
    <a:custClr name="BrightGreen">
      <a:srgbClr val="89D329"/>
    </a:custClr>
    <a:custClr name="TrafficLightRed">
      <a:srgbClr val="CC0000"/>
    </a:custClr>
    <a:custClr name="TrafficLightYellow">
      <a:srgbClr val="FFCC00"/>
    </a:custClr>
    <a:custClr name="TrafficLightGreen">
      <a:srgbClr val="66B512"/>
    </a:custClr>
  </a:custClrLst>
  <a:extLst>
    <a:ext uri="{05A4C25C-085E-4340-85A3-A5531E510DB2}">
      <thm15:themeFamily xmlns:thm15="http://schemas.microsoft.com/office/thememl/2012/main" name="Default Theme.pptx" id="{A6C1D056-E96E-47EE-9A19-74708943FFDC}" vid="{36D34E00-A443-4771-941A-F80D85C576D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305</TotalTime>
  <Words>253</Words>
  <Application>Microsoft Office PowerPoint</Application>
  <PresentationFormat>Widescreen</PresentationFormat>
  <Paragraphs>91</Paragraphs>
  <Slides>2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5" baseType="lpstr">
      <vt:lpstr>Arial</vt:lpstr>
      <vt:lpstr>Calibri</vt:lpstr>
      <vt:lpstr>PR_BAG_PPT-master_16-9</vt:lpstr>
      <vt:lpstr>RoadMap Digital Ecosystem 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icardo Omar Hernandez</dc:creator>
  <cp:lastModifiedBy>Ricardo Omar Hernandez</cp:lastModifiedBy>
  <cp:revision>1</cp:revision>
  <dcterms:created xsi:type="dcterms:W3CDTF">2024-04-18T16:39:39Z</dcterms:created>
  <dcterms:modified xsi:type="dcterms:W3CDTF">2024-04-19T18:40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2c76c141-ac86-40e5-abf2-c6f60e474cee_Enabled">
    <vt:lpwstr>true</vt:lpwstr>
  </property>
  <property fmtid="{D5CDD505-2E9C-101B-9397-08002B2CF9AE}" pid="3" name="MSIP_Label_2c76c141-ac86-40e5-abf2-c6f60e474cee_SetDate">
    <vt:lpwstr>2024-04-18T16:43:49Z</vt:lpwstr>
  </property>
  <property fmtid="{D5CDD505-2E9C-101B-9397-08002B2CF9AE}" pid="4" name="MSIP_Label_2c76c141-ac86-40e5-abf2-c6f60e474cee_Method">
    <vt:lpwstr>Standard</vt:lpwstr>
  </property>
  <property fmtid="{D5CDD505-2E9C-101B-9397-08002B2CF9AE}" pid="5" name="MSIP_Label_2c76c141-ac86-40e5-abf2-c6f60e474cee_Name">
    <vt:lpwstr>2c76c141-ac86-40e5-abf2-c6f60e474cee</vt:lpwstr>
  </property>
  <property fmtid="{D5CDD505-2E9C-101B-9397-08002B2CF9AE}" pid="6" name="MSIP_Label_2c76c141-ac86-40e5-abf2-c6f60e474cee_SiteId">
    <vt:lpwstr>fcb2b37b-5da0-466b-9b83-0014b67a7c78</vt:lpwstr>
  </property>
  <property fmtid="{D5CDD505-2E9C-101B-9397-08002B2CF9AE}" pid="7" name="MSIP_Label_2c76c141-ac86-40e5-abf2-c6f60e474cee_ActionId">
    <vt:lpwstr>ff1734eb-b698-44a2-9244-4666091ca16e</vt:lpwstr>
  </property>
  <property fmtid="{D5CDD505-2E9C-101B-9397-08002B2CF9AE}" pid="8" name="MSIP_Label_2c76c141-ac86-40e5-abf2-c6f60e474cee_ContentBits">
    <vt:lpwstr>2</vt:lpwstr>
  </property>
  <property fmtid="{D5CDD505-2E9C-101B-9397-08002B2CF9AE}" pid="9" name="ClassificationContentMarkingFooterLocations">
    <vt:lpwstr>Office Theme:8</vt:lpwstr>
  </property>
  <property fmtid="{D5CDD505-2E9C-101B-9397-08002B2CF9AE}" pid="10" name="ClassificationContentMarkingFooterText">
    <vt:lpwstr>RESTRICTED</vt:lpwstr>
  </property>
</Properties>
</file>